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ink/ink1.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02" r:id="rId4"/>
    <p:sldMasterId id="2147484112" r:id="rId5"/>
    <p:sldMasterId id="2147484117" r:id="rId6"/>
    <p:sldMasterId id="2147484140" r:id="rId7"/>
    <p:sldMasterId id="2147484159" r:id="rId8"/>
    <p:sldMasterId id="2147484165" r:id="rId9"/>
    <p:sldMasterId id="2147484176" r:id="rId10"/>
    <p:sldMasterId id="2147484193" r:id="rId11"/>
    <p:sldMasterId id="2147484209" r:id="rId12"/>
  </p:sldMasterIdLst>
  <p:notesMasterIdLst>
    <p:notesMasterId r:id="rId45"/>
  </p:notesMasterIdLst>
  <p:handoutMasterIdLst>
    <p:handoutMasterId r:id="rId46"/>
  </p:handoutMasterIdLst>
  <p:sldIdLst>
    <p:sldId id="256" r:id="rId13"/>
    <p:sldId id="362" r:id="rId14"/>
    <p:sldId id="260" r:id="rId15"/>
    <p:sldId id="325" r:id="rId16"/>
    <p:sldId id="303" r:id="rId17"/>
    <p:sldId id="339" r:id="rId18"/>
    <p:sldId id="281" r:id="rId19"/>
    <p:sldId id="344" r:id="rId20"/>
    <p:sldId id="336" r:id="rId21"/>
    <p:sldId id="297" r:id="rId22"/>
    <p:sldId id="326" r:id="rId23"/>
    <p:sldId id="287" r:id="rId24"/>
    <p:sldId id="338" r:id="rId25"/>
    <p:sldId id="346" r:id="rId26"/>
    <p:sldId id="347" r:id="rId27"/>
    <p:sldId id="348" r:id="rId28"/>
    <p:sldId id="349" r:id="rId29"/>
    <p:sldId id="350" r:id="rId30"/>
    <p:sldId id="357" r:id="rId31"/>
    <p:sldId id="358" r:id="rId32"/>
    <p:sldId id="323" r:id="rId33"/>
    <p:sldId id="2242" r:id="rId34"/>
    <p:sldId id="2243" r:id="rId35"/>
    <p:sldId id="284" r:id="rId36"/>
    <p:sldId id="2186" r:id="rId37"/>
    <p:sldId id="2244" r:id="rId38"/>
    <p:sldId id="353" r:id="rId39"/>
    <p:sldId id="295" r:id="rId40"/>
    <p:sldId id="345" r:id="rId41"/>
    <p:sldId id="870" r:id="rId42"/>
    <p:sldId id="342" r:id="rId43"/>
    <p:sldId id="273" r:id="rId44"/>
  </p:sldIdLst>
  <p:sldSz cx="9906000" cy="6858000" type="A4"/>
  <p:notesSz cx="7010400" cy="9296400"/>
  <p:custDataLst>
    <p:tags r:id="rId4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D6"/>
    <a:srgbClr val="7030A0"/>
    <a:srgbClr val="88D5ED"/>
    <a:srgbClr val="E01E8D"/>
    <a:srgbClr val="BA0065"/>
    <a:srgbClr val="99FF33"/>
    <a:srgbClr val="C8FF16"/>
    <a:srgbClr val="95E616"/>
    <a:srgbClr val="15636B"/>
    <a:srgbClr val="A200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972" y="102"/>
      </p:cViewPr>
      <p:guideLst>
        <p:guide orient="horz" pos="935"/>
        <p:guide orient="horz" pos="1117"/>
        <p:guide pos="172"/>
        <p:guide pos="6068"/>
        <p:guide pos="3120"/>
      </p:guideLst>
    </p:cSldViewPr>
  </p:slideViewPr>
  <p:notesTextViewPr>
    <p:cViewPr>
      <p:scale>
        <a:sx n="3" d="2"/>
        <a:sy n="3" d="2"/>
      </p:scale>
      <p:origin x="0" y="0"/>
    </p:cViewPr>
  </p:notesTextViewPr>
  <p:notesViewPr>
    <p:cSldViewPr snapToGrid="0">
      <p:cViewPr>
        <p:scale>
          <a:sx n="1" d="2"/>
          <a:sy n="1" d="2"/>
        </p:scale>
        <p:origin x="0" y="0"/>
      </p:cViewPr>
      <p:guideLst>
        <p:guide orient="horz" pos="2929"/>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FDD4C0-1700-4FC9-AFEA-255D2D3A9B6E}" type="doc">
      <dgm:prSet loTypeId="urn:microsoft.com/office/officeart/2005/8/layout/bProcess3" loCatId="process" qsTypeId="urn:microsoft.com/office/officeart/2005/8/quickstyle/simple1" qsCatId="simple" csTypeId="urn:microsoft.com/office/officeart/2005/8/colors/colorful5" csCatId="colorful" phldr="1"/>
      <dgm:spPr/>
      <dgm:t>
        <a:bodyPr/>
        <a:lstStyle/>
        <a:p>
          <a:endParaRPr lang="en-US"/>
        </a:p>
      </dgm:t>
    </dgm:pt>
    <dgm:pt modelId="{75912339-771F-4C82-90CC-D5DFF2F11908}">
      <dgm:prSet phldrT="[Text]" custT="1"/>
      <dgm:spPr>
        <a:xfrm>
          <a:off x="6502" y="245248"/>
          <a:ext cx="1494673" cy="1295962"/>
        </a:xfrm>
        <a:prstGeom prst="rect">
          <a:avLst/>
        </a:prstGeom>
        <a:solidFill>
          <a:srgbClr val="0098CC">
            <a:hueOff val="0"/>
            <a:satOff val="0"/>
            <a:lumOff val="0"/>
            <a:alphaOff val="0"/>
          </a:srgbClr>
        </a:solidFill>
        <a:ln w="25400" cap="flat" cmpd="sng" algn="ctr">
          <a:noFill/>
          <a:prstDash val="sysDot"/>
        </a:ln>
        <a:effectLst/>
      </dgm:spPr>
      <dgm:t>
        <a:bodyPr/>
        <a:lstStyle/>
        <a:p>
          <a:r>
            <a:rPr lang="en-US" sz="1400">
              <a:solidFill>
                <a:sysClr val="window" lastClr="FFFFFF"/>
              </a:solidFill>
              <a:latin typeface="Arial" pitchFamily="34" charset="0"/>
              <a:ea typeface="+mn-ea"/>
              <a:cs typeface="Arial" pitchFamily="34" charset="0"/>
            </a:rPr>
            <a:t>Set aside time to meet.</a:t>
          </a:r>
        </a:p>
      </dgm:t>
    </dgm:pt>
    <dgm:pt modelId="{94589B2F-3F8D-49D4-8E84-C5E22BD0D6C9}" type="parTrans" cxnId="{DDFD8E32-EE7A-4338-9CD1-391E8D593F5A}">
      <dgm:prSet/>
      <dgm:spPr/>
      <dgm:t>
        <a:bodyPr/>
        <a:lstStyle/>
        <a:p>
          <a:endParaRPr lang="en-US"/>
        </a:p>
      </dgm:t>
    </dgm:pt>
    <dgm:pt modelId="{F98FD7F9-4D0E-4801-AEB8-509D27CA11D0}" type="sibTrans" cxnId="{DDFD8E32-EE7A-4338-9CD1-391E8D593F5A}">
      <dgm:prSet custT="1"/>
      <dgm:spPr>
        <a:xfrm>
          <a:off x="1499376" y="847509"/>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1600">
            <a:solidFill>
              <a:srgbClr val="3C3C3C">
                <a:hueOff val="0"/>
                <a:satOff val="0"/>
                <a:lumOff val="0"/>
                <a:alphaOff val="0"/>
              </a:srgbClr>
            </a:solidFill>
            <a:latin typeface="Arial" pitchFamily="34" charset="0"/>
            <a:ea typeface="+mn-ea"/>
            <a:cs typeface="Arial" pitchFamily="34" charset="0"/>
          </a:endParaRPr>
        </a:p>
      </dgm:t>
    </dgm:pt>
    <dgm:pt modelId="{FEEFD0A2-39F9-4FCF-A7C7-3D71DFDDF34E}">
      <dgm:prSet phldrT="[Text]" custT="1"/>
      <dgm:spPr>
        <a:xfrm>
          <a:off x="1844951" y="245248"/>
          <a:ext cx="1494673" cy="1295962"/>
        </a:xfrm>
        <a:prstGeom prst="rect">
          <a:avLst/>
        </a:prstGeom>
        <a:solidFill>
          <a:srgbClr val="0098CC">
            <a:hueOff val="-1266361"/>
            <a:satOff val="-1822"/>
            <a:lumOff val="1446"/>
            <a:alphaOff val="0"/>
          </a:srgbClr>
        </a:solidFill>
        <a:ln w="25400" cap="flat" cmpd="sng" algn="ctr">
          <a:noFill/>
          <a:prstDash val="sysDot"/>
        </a:ln>
        <a:effectLst/>
      </dgm:spPr>
      <dgm:t>
        <a:bodyPr/>
        <a:lstStyle/>
        <a:p>
          <a:r>
            <a:rPr lang="en-US" sz="1400">
              <a:solidFill>
                <a:sysClr val="window" lastClr="FFFFFF"/>
              </a:solidFill>
              <a:latin typeface="Arial" pitchFamily="34" charset="0"/>
              <a:ea typeface="+mn-ea"/>
              <a:cs typeface="Arial" pitchFamily="34" charset="0"/>
            </a:rPr>
            <a:t>Discuss your </a:t>
          </a:r>
          <a:r>
            <a:rPr lang="en-US" sz="1400" b="1">
              <a:solidFill>
                <a:sysClr val="window" lastClr="FFFFFF"/>
              </a:solidFill>
              <a:latin typeface="Arial" pitchFamily="34" charset="0"/>
              <a:ea typeface="+mn-ea"/>
              <a:cs typeface="Arial" pitchFamily="34" charset="0"/>
            </a:rPr>
            <a:t>career progression </a:t>
          </a:r>
        </a:p>
        <a:p>
          <a:r>
            <a:rPr lang="en-US" sz="1400" b="1">
              <a:solidFill>
                <a:sysClr val="window" lastClr="FFFFFF"/>
              </a:solidFill>
              <a:latin typeface="Arial" pitchFamily="34" charset="0"/>
              <a:ea typeface="+mn-ea"/>
              <a:cs typeface="Arial" pitchFamily="34" charset="0"/>
            </a:rPr>
            <a:t>so far.</a:t>
          </a:r>
        </a:p>
      </dgm:t>
    </dgm:pt>
    <dgm:pt modelId="{4781E5E1-4925-4614-8450-9A18CFCC1210}" type="parTrans" cxnId="{384AA889-CF67-4C73-800B-824EEBAEA491}">
      <dgm:prSet/>
      <dgm:spPr/>
      <dgm:t>
        <a:bodyPr/>
        <a:lstStyle/>
        <a:p>
          <a:endParaRPr lang="en-US"/>
        </a:p>
      </dgm:t>
    </dgm:pt>
    <dgm:pt modelId="{0380BE8A-B206-4935-8968-6B5FC3C1CF2E}" type="sibTrans" cxnId="{384AA889-CF67-4C73-800B-824EEBAEA491}">
      <dgm:prSet custT="1"/>
      <dgm:spPr>
        <a:xfrm>
          <a:off x="3337824" y="847509"/>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1600">
            <a:solidFill>
              <a:srgbClr val="3C3C3C">
                <a:hueOff val="0"/>
                <a:satOff val="0"/>
                <a:lumOff val="0"/>
                <a:alphaOff val="0"/>
              </a:srgbClr>
            </a:solidFill>
            <a:latin typeface="Arial" pitchFamily="34" charset="0"/>
            <a:ea typeface="+mn-ea"/>
            <a:cs typeface="Arial" pitchFamily="34" charset="0"/>
          </a:endParaRPr>
        </a:p>
      </dgm:t>
    </dgm:pt>
    <dgm:pt modelId="{60044FB0-9EA8-48F8-B157-440DF7659C72}">
      <dgm:prSet phldrT="[Text]" custT="1"/>
      <dgm:spPr>
        <a:xfrm>
          <a:off x="3683399" y="245248"/>
          <a:ext cx="1494673" cy="1295962"/>
        </a:xfrm>
        <a:prstGeom prst="rect">
          <a:avLst/>
        </a:prstGeom>
        <a:solidFill>
          <a:srgbClr val="0098CC">
            <a:hueOff val="-2532723"/>
            <a:satOff val="-3644"/>
            <a:lumOff val="2892"/>
            <a:alphaOff val="0"/>
          </a:srgbClr>
        </a:solidFill>
        <a:ln w="25400" cap="flat" cmpd="sng" algn="ctr">
          <a:noFill/>
          <a:prstDash val="sysDot"/>
        </a:ln>
        <a:effectLst/>
      </dgm:spPr>
      <dgm:t>
        <a:bodyPr/>
        <a:lstStyle/>
        <a:p>
          <a:r>
            <a:rPr lang="en-US" sz="1400">
              <a:solidFill>
                <a:sysClr val="window" lastClr="FFFFFF"/>
              </a:solidFill>
              <a:latin typeface="Arial" pitchFamily="34" charset="0"/>
              <a:ea typeface="+mn-ea"/>
              <a:cs typeface="Arial" pitchFamily="34" charset="0"/>
            </a:rPr>
            <a:t>Discuss your </a:t>
          </a:r>
          <a:r>
            <a:rPr lang="en-US" sz="1400" b="1">
              <a:solidFill>
                <a:sysClr val="window" lastClr="FFFFFF"/>
              </a:solidFill>
              <a:latin typeface="Arial" pitchFamily="34" charset="0"/>
              <a:ea typeface="+mn-ea"/>
              <a:cs typeface="Arial" pitchFamily="34" charset="0"/>
            </a:rPr>
            <a:t>aspirations and roles available </a:t>
          </a:r>
          <a:r>
            <a:rPr lang="en-US" sz="1400">
              <a:solidFill>
                <a:sysClr val="window" lastClr="FFFFFF"/>
              </a:solidFill>
              <a:latin typeface="Arial" pitchFamily="34" charset="0"/>
              <a:ea typeface="+mn-ea"/>
              <a:cs typeface="Arial" pitchFamily="34" charset="0"/>
            </a:rPr>
            <a:t>to progress.</a:t>
          </a:r>
        </a:p>
      </dgm:t>
    </dgm:pt>
    <dgm:pt modelId="{C2B345CD-F50D-431A-8457-D516DB285AED}" type="parTrans" cxnId="{635D39BF-4C80-40CD-941D-D5E99F2B5C75}">
      <dgm:prSet/>
      <dgm:spPr/>
      <dgm:t>
        <a:bodyPr/>
        <a:lstStyle/>
        <a:p>
          <a:endParaRPr lang="en-US"/>
        </a:p>
      </dgm:t>
    </dgm:pt>
    <dgm:pt modelId="{9B1497E1-961C-4D28-AA42-5EBE73F48C15}" type="sibTrans" cxnId="{635D39BF-4C80-40CD-941D-D5E99F2B5C75}">
      <dgm:prSet custT="1"/>
      <dgm:spPr>
        <a:xfrm>
          <a:off x="753839" y="1539411"/>
          <a:ext cx="3676897" cy="313174"/>
        </a:xfrm>
        <a:custGeom>
          <a:avLst/>
          <a:gdLst/>
          <a:ahLst/>
          <a:cxnLst/>
          <a:rect l="0" t="0" r="0" b="0"/>
          <a:pathLst>
            <a:path>
              <a:moveTo>
                <a:pt x="3676897" y="0"/>
              </a:moveTo>
              <a:lnTo>
                <a:pt x="3676897" y="173687"/>
              </a:lnTo>
              <a:lnTo>
                <a:pt x="0" y="173687"/>
              </a:lnTo>
              <a:lnTo>
                <a:pt x="0" y="313174"/>
              </a:lnTo>
            </a:path>
          </a:pathLst>
        </a:custGeom>
        <a:noFill/>
        <a:ln w="9525" cap="flat" cmpd="sng" algn="ctr">
          <a:solidFill>
            <a:scrgbClr r="0" g="0" b="0">
              <a:shade val="95000"/>
              <a:satMod val="105000"/>
            </a:scrgbClr>
          </a:solidFill>
          <a:prstDash val="sysDot"/>
          <a:tailEnd type="arrow"/>
        </a:ln>
        <a:effectLst/>
      </dgm:spPr>
      <dgm:t>
        <a:bodyPr/>
        <a:lstStyle/>
        <a:p>
          <a:endParaRPr lang="en-US" sz="1600">
            <a:solidFill>
              <a:srgbClr val="3C3C3C">
                <a:hueOff val="0"/>
                <a:satOff val="0"/>
                <a:lumOff val="0"/>
                <a:alphaOff val="0"/>
              </a:srgbClr>
            </a:solidFill>
            <a:latin typeface="Arial" pitchFamily="34" charset="0"/>
            <a:ea typeface="+mn-ea"/>
            <a:cs typeface="Arial" pitchFamily="34" charset="0"/>
          </a:endParaRPr>
        </a:p>
      </dgm:t>
    </dgm:pt>
    <dgm:pt modelId="{7D0CD1D2-DE1B-43AF-9192-12B05BDDEFC2}">
      <dgm:prSet phldrT="[Text]" custT="1"/>
      <dgm:spPr>
        <a:xfrm>
          <a:off x="6502" y="1884986"/>
          <a:ext cx="1494673" cy="1804540"/>
        </a:xfrm>
        <a:prstGeom prst="rect">
          <a:avLst/>
        </a:prstGeom>
        <a:solidFill>
          <a:srgbClr val="0098CC">
            <a:hueOff val="-3799084"/>
            <a:satOff val="-5466"/>
            <a:lumOff val="4338"/>
            <a:alphaOff val="0"/>
          </a:srgbClr>
        </a:solidFill>
        <a:ln w="25400" cap="flat" cmpd="sng" algn="ctr">
          <a:noFill/>
          <a:prstDash val="sysDot"/>
        </a:ln>
        <a:effectLst/>
      </dgm:spPr>
      <dgm:t>
        <a:bodyPr/>
        <a:lstStyle/>
        <a:p>
          <a:r>
            <a:rPr lang="en-US" sz="1400">
              <a:solidFill>
                <a:srgbClr val="3C3C3C"/>
              </a:solidFill>
              <a:latin typeface="Arial" pitchFamily="34" charset="0"/>
              <a:ea typeface="+mn-ea"/>
              <a:cs typeface="Arial" pitchFamily="34" charset="0"/>
            </a:rPr>
            <a:t>Agree on </a:t>
          </a:r>
          <a:r>
            <a:rPr lang="en-US" sz="1400" b="1">
              <a:solidFill>
                <a:srgbClr val="3C3C3C"/>
              </a:solidFill>
              <a:latin typeface="Arial" pitchFamily="34" charset="0"/>
              <a:ea typeface="+mn-ea"/>
              <a:cs typeface="Arial" pitchFamily="34" charset="0"/>
            </a:rPr>
            <a:t>critical competencies and performance standards </a:t>
          </a:r>
          <a:r>
            <a:rPr lang="en-US" sz="1400">
              <a:solidFill>
                <a:srgbClr val="3C3C3C"/>
              </a:solidFill>
              <a:latin typeface="Arial" pitchFamily="34" charset="0"/>
              <a:ea typeface="+mn-ea"/>
              <a:cs typeface="Arial" pitchFamily="34" charset="0"/>
            </a:rPr>
            <a:t>defined in the </a:t>
          </a:r>
          <a:r>
            <a:rPr lang="en-US" sz="1400" b="1">
              <a:solidFill>
                <a:srgbClr val="3C3C3C"/>
              </a:solidFill>
              <a:latin typeface="Arial" pitchFamily="34" charset="0"/>
              <a:ea typeface="+mn-ea"/>
              <a:cs typeface="Arial" pitchFamily="34" charset="0"/>
            </a:rPr>
            <a:t>Career Framework.</a:t>
          </a:r>
        </a:p>
      </dgm:t>
    </dgm:pt>
    <dgm:pt modelId="{C002D6EA-2293-4464-895E-46391803B333}" type="parTrans" cxnId="{F6556B6E-507C-4A30-8BD5-9671C7C21E33}">
      <dgm:prSet/>
      <dgm:spPr/>
      <dgm:t>
        <a:bodyPr/>
        <a:lstStyle/>
        <a:p>
          <a:endParaRPr lang="en-US"/>
        </a:p>
      </dgm:t>
    </dgm:pt>
    <dgm:pt modelId="{C975F8DD-B4AB-4077-A173-8BCB6CF98D9D}" type="sibTrans" cxnId="{F6556B6E-507C-4A30-8BD5-9671C7C21E33}">
      <dgm:prSet custT="1"/>
      <dgm:spPr>
        <a:xfrm>
          <a:off x="1499376" y="2741536"/>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1600">
            <a:solidFill>
              <a:srgbClr val="3C3C3C">
                <a:hueOff val="0"/>
                <a:satOff val="0"/>
                <a:lumOff val="0"/>
                <a:alphaOff val="0"/>
              </a:srgbClr>
            </a:solidFill>
            <a:latin typeface="Arial" pitchFamily="34" charset="0"/>
            <a:ea typeface="+mn-ea"/>
            <a:cs typeface="Arial" pitchFamily="34" charset="0"/>
          </a:endParaRPr>
        </a:p>
      </dgm:t>
    </dgm:pt>
    <dgm:pt modelId="{A6F736B3-6DB1-4C1E-AB91-8C3F663B576D}">
      <dgm:prSet phldrT="[Text]" custT="1"/>
      <dgm:spPr>
        <a:xfrm>
          <a:off x="1844951" y="1884986"/>
          <a:ext cx="1494673" cy="1804540"/>
        </a:xfrm>
        <a:prstGeom prst="rect">
          <a:avLst/>
        </a:prstGeom>
        <a:solidFill>
          <a:srgbClr val="0098CC">
            <a:hueOff val="-5065446"/>
            <a:satOff val="-7287"/>
            <a:lumOff val="5785"/>
            <a:alphaOff val="0"/>
          </a:srgbClr>
        </a:solidFill>
        <a:ln w="25400" cap="flat" cmpd="sng" algn="ctr">
          <a:noFill/>
          <a:prstDash val="sysDot"/>
        </a:ln>
        <a:effectLst/>
      </dgm:spPr>
      <dgm:t>
        <a:bodyPr/>
        <a:lstStyle/>
        <a:p>
          <a:r>
            <a:rPr lang="en-US" sz="1400">
              <a:solidFill>
                <a:srgbClr val="3C3C3C"/>
              </a:solidFill>
              <a:latin typeface="Arial" pitchFamily="34" charset="0"/>
              <a:ea typeface="+mn-ea"/>
              <a:cs typeface="Arial" pitchFamily="34" charset="0"/>
            </a:rPr>
            <a:t>Discuss strengths and perceived areas of development that are </a:t>
          </a:r>
          <a:r>
            <a:rPr lang="en-US" sz="1400" b="1">
              <a:solidFill>
                <a:srgbClr val="3C3C3C"/>
              </a:solidFill>
              <a:latin typeface="Arial" pitchFamily="34" charset="0"/>
              <a:ea typeface="+mn-ea"/>
              <a:cs typeface="Arial" pitchFamily="34" charset="0"/>
            </a:rPr>
            <a:t>critical to success.</a:t>
          </a:r>
        </a:p>
      </dgm:t>
    </dgm:pt>
    <dgm:pt modelId="{ACEF3D6A-D19D-45F0-AD3C-EFB2083D71FF}" type="parTrans" cxnId="{832F6E09-6A5F-48CE-995D-D95A7281A2C6}">
      <dgm:prSet/>
      <dgm:spPr/>
      <dgm:t>
        <a:bodyPr/>
        <a:lstStyle/>
        <a:p>
          <a:endParaRPr lang="en-US"/>
        </a:p>
      </dgm:t>
    </dgm:pt>
    <dgm:pt modelId="{643F6110-8BF2-4CAD-8CA0-3F5561B90304}" type="sibTrans" cxnId="{832F6E09-6A5F-48CE-995D-D95A7281A2C6}">
      <dgm:prSet custT="1"/>
      <dgm:spPr>
        <a:xfrm>
          <a:off x="3337824" y="2741536"/>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500">
            <a:solidFill>
              <a:srgbClr val="3C3C3C">
                <a:hueOff val="0"/>
                <a:satOff val="0"/>
                <a:lumOff val="0"/>
                <a:alphaOff val="0"/>
              </a:srgbClr>
            </a:solidFill>
            <a:latin typeface="Arial"/>
            <a:ea typeface="+mn-ea"/>
            <a:cs typeface="+mn-cs"/>
          </a:endParaRPr>
        </a:p>
      </dgm:t>
    </dgm:pt>
    <dgm:pt modelId="{6A0C3A57-2D1A-4E07-BC50-DDBEA2502705}">
      <dgm:prSet phldrT="[Text]" custT="1"/>
      <dgm:spPr>
        <a:xfrm>
          <a:off x="3683399" y="1884986"/>
          <a:ext cx="1494673" cy="1804540"/>
        </a:xfrm>
        <a:prstGeom prst="rect">
          <a:avLst/>
        </a:prstGeom>
        <a:solidFill>
          <a:srgbClr val="0098CC">
            <a:hueOff val="-6331807"/>
            <a:satOff val="-9109"/>
            <a:lumOff val="7231"/>
            <a:alphaOff val="0"/>
          </a:srgbClr>
        </a:solidFill>
        <a:ln w="25400" cap="flat" cmpd="sng" algn="ctr">
          <a:noFill/>
          <a:prstDash val="sysDot"/>
        </a:ln>
        <a:effectLst/>
      </dgm:spPr>
      <dgm:t>
        <a:bodyPr/>
        <a:lstStyle/>
        <a:p>
          <a:r>
            <a:rPr lang="en-US" sz="1400">
              <a:solidFill>
                <a:srgbClr val="3C3C3C"/>
              </a:solidFill>
              <a:latin typeface="Arial" pitchFamily="34" charset="0"/>
              <a:ea typeface="+mn-ea"/>
              <a:cs typeface="Arial" pitchFamily="34" charset="0"/>
            </a:rPr>
            <a:t>Co-create your development plan. Finalize on </a:t>
          </a:r>
          <a:r>
            <a:rPr lang="en-US" sz="1400" b="1">
              <a:solidFill>
                <a:srgbClr val="3C3C3C"/>
              </a:solidFill>
              <a:latin typeface="Arial" pitchFamily="34" charset="0"/>
              <a:ea typeface="+mn-ea"/>
              <a:cs typeface="Arial" pitchFamily="34" charset="0"/>
            </a:rPr>
            <a:t>MyPath</a:t>
          </a:r>
          <a:r>
            <a:rPr lang="en-US" sz="1400">
              <a:solidFill>
                <a:srgbClr val="3C3C3C"/>
              </a:solidFill>
              <a:latin typeface="Arial" pitchFamily="34" charset="0"/>
              <a:ea typeface="+mn-ea"/>
              <a:cs typeface="Arial" pitchFamily="34" charset="0"/>
            </a:rPr>
            <a:t> (performance mgmt. system)</a:t>
          </a:r>
        </a:p>
      </dgm:t>
    </dgm:pt>
    <dgm:pt modelId="{ACD84A3F-5381-4DA1-A4F9-55AB7B2836B8}" type="parTrans" cxnId="{F07F104F-154D-4C43-B7DB-B3A4FBE03218}">
      <dgm:prSet/>
      <dgm:spPr/>
      <dgm:t>
        <a:bodyPr/>
        <a:lstStyle/>
        <a:p>
          <a:endParaRPr lang="en-US"/>
        </a:p>
      </dgm:t>
    </dgm:pt>
    <dgm:pt modelId="{A8FD46F1-B4AC-49DE-A084-71553FD9BC77}" type="sibTrans" cxnId="{F07F104F-154D-4C43-B7DB-B3A4FBE03218}">
      <dgm:prSet custT="1"/>
      <dgm:spPr>
        <a:xfrm>
          <a:off x="753839" y="3687727"/>
          <a:ext cx="3676897" cy="387627"/>
        </a:xfrm>
        <a:custGeom>
          <a:avLst/>
          <a:gdLst/>
          <a:ahLst/>
          <a:cxnLst/>
          <a:rect l="0" t="0" r="0" b="0"/>
          <a:pathLst>
            <a:path>
              <a:moveTo>
                <a:pt x="3676897" y="0"/>
              </a:moveTo>
              <a:lnTo>
                <a:pt x="3676897" y="210913"/>
              </a:lnTo>
              <a:lnTo>
                <a:pt x="0" y="210913"/>
              </a:lnTo>
              <a:lnTo>
                <a:pt x="0" y="387627"/>
              </a:lnTo>
            </a:path>
          </a:pathLst>
        </a:custGeom>
        <a:noFill/>
        <a:ln w="9525" cap="flat" cmpd="sng" algn="ctr">
          <a:solidFill>
            <a:scrgbClr r="0" g="0" b="0">
              <a:shade val="95000"/>
              <a:satMod val="105000"/>
            </a:scrgbClr>
          </a:solidFill>
          <a:prstDash val="sysDot"/>
          <a:tailEnd type="arrow"/>
        </a:ln>
        <a:effectLst/>
      </dgm:spPr>
      <dgm:t>
        <a:bodyPr/>
        <a:lstStyle/>
        <a:p>
          <a:endParaRPr lang="en-US" sz="500">
            <a:solidFill>
              <a:srgbClr val="3C3C3C">
                <a:hueOff val="0"/>
                <a:satOff val="0"/>
                <a:lumOff val="0"/>
                <a:alphaOff val="0"/>
              </a:srgbClr>
            </a:solidFill>
            <a:latin typeface="Arial"/>
            <a:ea typeface="+mn-ea"/>
            <a:cs typeface="+mn-cs"/>
          </a:endParaRPr>
        </a:p>
      </dgm:t>
    </dgm:pt>
    <dgm:pt modelId="{161BBFCE-0B35-4099-8A3A-E5DE94855F48}">
      <dgm:prSet phldrT="[Text]" custT="1"/>
      <dgm:spPr>
        <a:xfrm>
          <a:off x="6502" y="4107754"/>
          <a:ext cx="1494673" cy="1116117"/>
        </a:xfrm>
        <a:prstGeom prst="rect">
          <a:avLst/>
        </a:prstGeom>
        <a:solidFill>
          <a:srgbClr val="0098CC">
            <a:hueOff val="-7598168"/>
            <a:satOff val="-10931"/>
            <a:lumOff val="8677"/>
            <a:alphaOff val="0"/>
          </a:srgbClr>
        </a:solidFill>
        <a:ln w="25400" cap="flat" cmpd="sng" algn="ctr">
          <a:noFill/>
          <a:prstDash val="sysDot"/>
        </a:ln>
        <a:effectLst/>
      </dgm:spPr>
      <dgm:t>
        <a:bodyPr/>
        <a:lstStyle/>
        <a:p>
          <a:r>
            <a:rPr lang="en-US" sz="1400">
              <a:solidFill>
                <a:srgbClr val="3C3C3C"/>
              </a:solidFill>
              <a:latin typeface="Arial" pitchFamily="34" charset="0"/>
              <a:ea typeface="+mn-ea"/>
              <a:cs typeface="Arial" pitchFamily="34" charset="0"/>
            </a:rPr>
            <a:t>Decide how you will </a:t>
          </a:r>
          <a:r>
            <a:rPr lang="en-US" sz="1400" b="1">
              <a:solidFill>
                <a:srgbClr val="3C3C3C"/>
              </a:solidFill>
              <a:latin typeface="Arial" pitchFamily="34" charset="0"/>
              <a:ea typeface="+mn-ea"/>
              <a:cs typeface="Arial" pitchFamily="34" charset="0"/>
            </a:rPr>
            <a:t>track and report progress.</a:t>
          </a:r>
        </a:p>
      </dgm:t>
    </dgm:pt>
    <dgm:pt modelId="{4BD8BEBC-9081-49E7-98AD-F944FF60830B}" type="parTrans" cxnId="{29484B01-C0CA-4CD9-B679-6B676C7679E5}">
      <dgm:prSet/>
      <dgm:spPr/>
      <dgm:t>
        <a:bodyPr/>
        <a:lstStyle/>
        <a:p>
          <a:endParaRPr lang="en-US"/>
        </a:p>
      </dgm:t>
    </dgm:pt>
    <dgm:pt modelId="{E264A8EF-3993-4BA0-B916-974EAB05C2B3}" type="sibTrans" cxnId="{29484B01-C0CA-4CD9-B679-6B676C7679E5}">
      <dgm:prSet custT="1"/>
      <dgm:spPr>
        <a:xfrm>
          <a:off x="1499376" y="4620093"/>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500">
            <a:solidFill>
              <a:srgbClr val="3C3C3C">
                <a:hueOff val="0"/>
                <a:satOff val="0"/>
                <a:lumOff val="0"/>
                <a:alphaOff val="0"/>
              </a:srgbClr>
            </a:solidFill>
            <a:latin typeface="Arial"/>
            <a:ea typeface="+mn-ea"/>
            <a:cs typeface="+mn-cs"/>
          </a:endParaRPr>
        </a:p>
      </dgm:t>
    </dgm:pt>
    <dgm:pt modelId="{6C4CE47F-121D-4FA9-83C9-F6F8D209B497}">
      <dgm:prSet phldrT="[Text]" custT="1"/>
      <dgm:spPr>
        <a:xfrm>
          <a:off x="1844951" y="4107754"/>
          <a:ext cx="1494673" cy="1116117"/>
        </a:xfrm>
        <a:prstGeom prst="rect">
          <a:avLst/>
        </a:prstGeom>
        <a:solidFill>
          <a:srgbClr val="0098CC">
            <a:hueOff val="-8864530"/>
            <a:satOff val="-12753"/>
            <a:lumOff val="10123"/>
            <a:alphaOff val="0"/>
          </a:srgbClr>
        </a:solidFill>
        <a:ln w="25400" cap="flat" cmpd="sng" algn="ctr">
          <a:noFill/>
          <a:prstDash val="sysDot"/>
        </a:ln>
        <a:effectLst/>
      </dgm:spPr>
      <dgm:t>
        <a:bodyPr/>
        <a:lstStyle/>
        <a:p>
          <a:r>
            <a:rPr lang="en-US" sz="1400" b="1">
              <a:solidFill>
                <a:srgbClr val="3C3C3C"/>
              </a:solidFill>
              <a:latin typeface="Arial" pitchFamily="34" charset="0"/>
              <a:ea typeface="+mn-ea"/>
              <a:cs typeface="Arial" pitchFamily="34" charset="0"/>
            </a:rPr>
            <a:t>Follow through and make progress visible.</a:t>
          </a:r>
        </a:p>
      </dgm:t>
    </dgm:pt>
    <dgm:pt modelId="{3DE24498-C22E-489E-9FB9-C9C32F5D88BD}" type="parTrans" cxnId="{CAB066C6-5419-4721-B01E-4A87B04BA524}">
      <dgm:prSet/>
      <dgm:spPr/>
      <dgm:t>
        <a:bodyPr/>
        <a:lstStyle/>
        <a:p>
          <a:endParaRPr lang="en-US"/>
        </a:p>
      </dgm:t>
    </dgm:pt>
    <dgm:pt modelId="{FA21B8CD-1FEA-4C78-83DE-A74FCF2474A5}" type="sibTrans" cxnId="{CAB066C6-5419-4721-B01E-4A87B04BA524}">
      <dgm:prSet custT="1"/>
      <dgm:spPr>
        <a:xfrm>
          <a:off x="3337824" y="4620093"/>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tailEnd type="arrow"/>
        </a:ln>
        <a:effectLst/>
      </dgm:spPr>
      <dgm:t>
        <a:bodyPr/>
        <a:lstStyle/>
        <a:p>
          <a:endParaRPr lang="en-US" sz="500">
            <a:solidFill>
              <a:srgbClr val="3C3C3C">
                <a:hueOff val="0"/>
                <a:satOff val="0"/>
                <a:lumOff val="0"/>
                <a:alphaOff val="0"/>
              </a:srgbClr>
            </a:solidFill>
            <a:latin typeface="Arial"/>
            <a:ea typeface="+mn-ea"/>
            <a:cs typeface="+mn-cs"/>
          </a:endParaRPr>
        </a:p>
      </dgm:t>
    </dgm:pt>
    <dgm:pt modelId="{8C9D2051-5C7F-42A6-872E-835BEEC51816}">
      <dgm:prSet phldrT="[Text]" custT="1"/>
      <dgm:spPr>
        <a:xfrm>
          <a:off x="3683399" y="4107754"/>
          <a:ext cx="1494673" cy="1116117"/>
        </a:xfrm>
        <a:prstGeom prst="rect">
          <a:avLst/>
        </a:prstGeom>
        <a:solidFill>
          <a:srgbClr val="ED771A">
            <a:lumMod val="75000"/>
          </a:srgbClr>
        </a:solidFill>
        <a:ln w="25400" cap="flat" cmpd="sng" algn="ctr">
          <a:noFill/>
          <a:prstDash val="sysDot"/>
        </a:ln>
        <a:effectLst/>
      </dgm:spPr>
      <dgm:t>
        <a:bodyPr/>
        <a:lstStyle/>
        <a:p>
          <a:r>
            <a:rPr lang="en-US" sz="1400">
              <a:solidFill>
                <a:sysClr val="window" lastClr="FFFFFF"/>
              </a:solidFill>
              <a:latin typeface="Arial" pitchFamily="34" charset="0"/>
              <a:ea typeface="+mn-ea"/>
              <a:cs typeface="Arial" pitchFamily="34" charset="0"/>
            </a:rPr>
            <a:t>Ask for </a:t>
          </a:r>
          <a:r>
            <a:rPr lang="en-US" sz="1400" b="1">
              <a:solidFill>
                <a:sysClr val="window" lastClr="FFFFFF"/>
              </a:solidFill>
              <a:latin typeface="Arial" pitchFamily="34" charset="0"/>
              <a:ea typeface="+mn-ea"/>
              <a:cs typeface="Arial" pitchFamily="34" charset="0"/>
            </a:rPr>
            <a:t>feedback regularly.</a:t>
          </a:r>
        </a:p>
      </dgm:t>
    </dgm:pt>
    <dgm:pt modelId="{D5E1B4E3-05C2-4CB6-A159-D7ADAD7BE8DA}" type="parTrans" cxnId="{78C6A9F4-9135-4730-AE34-C051FCB65133}">
      <dgm:prSet/>
      <dgm:spPr/>
      <dgm:t>
        <a:bodyPr/>
        <a:lstStyle/>
        <a:p>
          <a:endParaRPr lang="en-US"/>
        </a:p>
      </dgm:t>
    </dgm:pt>
    <dgm:pt modelId="{8C06C800-F647-44D9-9EEF-E8953D2B68C3}" type="sibTrans" cxnId="{78C6A9F4-9135-4730-AE34-C051FCB65133}">
      <dgm:prSet/>
      <dgm:spPr/>
      <dgm:t>
        <a:bodyPr/>
        <a:lstStyle/>
        <a:p>
          <a:endParaRPr lang="en-US"/>
        </a:p>
      </dgm:t>
    </dgm:pt>
    <dgm:pt modelId="{98872E36-2C1A-4724-A3F3-FCD6F7356F2F}" type="pres">
      <dgm:prSet presAssocID="{66FDD4C0-1700-4FC9-AFEA-255D2D3A9B6E}" presName="Name0" presStyleCnt="0">
        <dgm:presLayoutVars>
          <dgm:dir/>
          <dgm:resizeHandles val="exact"/>
        </dgm:presLayoutVars>
      </dgm:prSet>
      <dgm:spPr/>
    </dgm:pt>
    <dgm:pt modelId="{DF99866B-7DF2-49FC-BAE8-843FF2641617}" type="pres">
      <dgm:prSet presAssocID="{75912339-771F-4C82-90CC-D5DFF2F11908}" presName="node" presStyleLbl="node1" presStyleIdx="0" presStyleCnt="9" custScaleY="144509" custLinFactNeighborY="3684">
        <dgm:presLayoutVars>
          <dgm:bulletEnabled val="1"/>
        </dgm:presLayoutVars>
      </dgm:prSet>
      <dgm:spPr/>
    </dgm:pt>
    <dgm:pt modelId="{85F95F72-E6F9-4DB8-A2FC-A865FCF340EC}" type="pres">
      <dgm:prSet presAssocID="{F98FD7F9-4D0E-4801-AEB8-509D27CA11D0}" presName="sibTrans" presStyleLbl="sibTrans1D1" presStyleIdx="0" presStyleCnt="8"/>
      <dgm:spPr/>
    </dgm:pt>
    <dgm:pt modelId="{FD1E9EC5-BB48-491D-9DE5-5FC16188D227}" type="pres">
      <dgm:prSet presAssocID="{F98FD7F9-4D0E-4801-AEB8-509D27CA11D0}" presName="connectorText" presStyleLbl="sibTrans1D1" presStyleIdx="0" presStyleCnt="8"/>
      <dgm:spPr/>
    </dgm:pt>
    <dgm:pt modelId="{AA73E772-15A2-423F-A122-FA61CD9A5C49}" type="pres">
      <dgm:prSet presAssocID="{FEEFD0A2-39F9-4FCF-A7C7-3D71DFDDF34E}" presName="node" presStyleLbl="node1" presStyleIdx="1" presStyleCnt="9" custScaleY="144509" custLinFactNeighborY="3684">
        <dgm:presLayoutVars>
          <dgm:bulletEnabled val="1"/>
        </dgm:presLayoutVars>
      </dgm:prSet>
      <dgm:spPr/>
    </dgm:pt>
    <dgm:pt modelId="{6BCDA217-3D56-4307-BC59-321E9DC6A056}" type="pres">
      <dgm:prSet presAssocID="{0380BE8A-B206-4935-8968-6B5FC3C1CF2E}" presName="sibTrans" presStyleLbl="sibTrans1D1" presStyleIdx="1" presStyleCnt="8"/>
      <dgm:spPr/>
    </dgm:pt>
    <dgm:pt modelId="{63C99998-7D75-4A31-8998-E7B3E12F328E}" type="pres">
      <dgm:prSet presAssocID="{0380BE8A-B206-4935-8968-6B5FC3C1CF2E}" presName="connectorText" presStyleLbl="sibTrans1D1" presStyleIdx="1" presStyleCnt="8"/>
      <dgm:spPr/>
    </dgm:pt>
    <dgm:pt modelId="{E37907B2-8944-4953-AB73-7B5E34863CE6}" type="pres">
      <dgm:prSet presAssocID="{60044FB0-9EA8-48F8-B157-440DF7659C72}" presName="node" presStyleLbl="node1" presStyleIdx="2" presStyleCnt="9" custScaleY="144509" custLinFactNeighborY="3684">
        <dgm:presLayoutVars>
          <dgm:bulletEnabled val="1"/>
        </dgm:presLayoutVars>
      </dgm:prSet>
      <dgm:spPr/>
    </dgm:pt>
    <dgm:pt modelId="{B47E3F89-8C58-4E91-A6A1-50B0C3A45685}" type="pres">
      <dgm:prSet presAssocID="{9B1497E1-961C-4D28-AA42-5EBE73F48C15}" presName="sibTrans" presStyleLbl="sibTrans1D1" presStyleIdx="2" presStyleCnt="8"/>
      <dgm:spPr/>
    </dgm:pt>
    <dgm:pt modelId="{DA90EA4F-9088-4BA0-B2D1-A349BBB05552}" type="pres">
      <dgm:prSet presAssocID="{9B1497E1-961C-4D28-AA42-5EBE73F48C15}" presName="connectorText" presStyleLbl="sibTrans1D1" presStyleIdx="2" presStyleCnt="8"/>
      <dgm:spPr/>
    </dgm:pt>
    <dgm:pt modelId="{F715498C-CB8F-404C-AFBF-FD47528144D7}" type="pres">
      <dgm:prSet presAssocID="{7D0CD1D2-DE1B-43AF-9192-12B05BDDEFC2}" presName="node" presStyleLbl="node1" presStyleIdx="3" presStyleCnt="9" custScaleY="201219" custLinFactNeighborY="3684">
        <dgm:presLayoutVars>
          <dgm:bulletEnabled val="1"/>
        </dgm:presLayoutVars>
      </dgm:prSet>
      <dgm:spPr/>
    </dgm:pt>
    <dgm:pt modelId="{9C432E1A-4860-4331-B441-AD3CA780A3BA}" type="pres">
      <dgm:prSet presAssocID="{C975F8DD-B4AB-4077-A173-8BCB6CF98D9D}" presName="sibTrans" presStyleLbl="sibTrans1D1" presStyleIdx="3" presStyleCnt="8"/>
      <dgm:spPr/>
    </dgm:pt>
    <dgm:pt modelId="{3EDF74F4-6258-4A17-BF76-7A911438EBCA}" type="pres">
      <dgm:prSet presAssocID="{C975F8DD-B4AB-4077-A173-8BCB6CF98D9D}" presName="connectorText" presStyleLbl="sibTrans1D1" presStyleIdx="3" presStyleCnt="8"/>
      <dgm:spPr/>
    </dgm:pt>
    <dgm:pt modelId="{115D3319-9348-462A-87A3-9306F7A0425D}" type="pres">
      <dgm:prSet presAssocID="{A6F736B3-6DB1-4C1E-AB91-8C3F663B576D}" presName="node" presStyleLbl="node1" presStyleIdx="4" presStyleCnt="9" custScaleY="201219" custLinFactNeighborY="3684">
        <dgm:presLayoutVars>
          <dgm:bulletEnabled val="1"/>
        </dgm:presLayoutVars>
      </dgm:prSet>
      <dgm:spPr/>
    </dgm:pt>
    <dgm:pt modelId="{94DEC7D6-563F-4B6D-B220-4AA484EEECB1}" type="pres">
      <dgm:prSet presAssocID="{643F6110-8BF2-4CAD-8CA0-3F5561B90304}" presName="sibTrans" presStyleLbl="sibTrans1D1" presStyleIdx="4" presStyleCnt="8"/>
      <dgm:spPr/>
    </dgm:pt>
    <dgm:pt modelId="{C2CBEBFE-34BC-499E-BEA3-239FE3FC889F}" type="pres">
      <dgm:prSet presAssocID="{643F6110-8BF2-4CAD-8CA0-3F5561B90304}" presName="connectorText" presStyleLbl="sibTrans1D1" presStyleIdx="4" presStyleCnt="8"/>
      <dgm:spPr/>
    </dgm:pt>
    <dgm:pt modelId="{9C74E8A8-0865-4422-A46A-5CF38D59E257}" type="pres">
      <dgm:prSet presAssocID="{6A0C3A57-2D1A-4E07-BC50-DDBEA2502705}" presName="node" presStyleLbl="node1" presStyleIdx="5" presStyleCnt="9" custScaleY="201219" custLinFactNeighborY="3684">
        <dgm:presLayoutVars>
          <dgm:bulletEnabled val="1"/>
        </dgm:presLayoutVars>
      </dgm:prSet>
      <dgm:spPr/>
    </dgm:pt>
    <dgm:pt modelId="{2233AEE7-AC0B-4DFE-AF65-29030F95ADCD}" type="pres">
      <dgm:prSet presAssocID="{A8FD46F1-B4AC-49DE-A084-71553FD9BC77}" presName="sibTrans" presStyleLbl="sibTrans1D1" presStyleIdx="5" presStyleCnt="8"/>
      <dgm:spPr/>
    </dgm:pt>
    <dgm:pt modelId="{807922AA-FFC2-4920-822C-357896AFFCAB}" type="pres">
      <dgm:prSet presAssocID="{A8FD46F1-B4AC-49DE-A084-71553FD9BC77}" presName="connectorText" presStyleLbl="sibTrans1D1" presStyleIdx="5" presStyleCnt="8"/>
      <dgm:spPr/>
    </dgm:pt>
    <dgm:pt modelId="{D33FF430-DB59-4526-901E-4BC6AC53F7DD}" type="pres">
      <dgm:prSet presAssocID="{161BBFCE-0B35-4099-8A3A-E5DE94855F48}" presName="node" presStyleLbl="node1" presStyleIdx="6" presStyleCnt="9" custScaleY="124455" custLinFactNeighborY="11986">
        <dgm:presLayoutVars>
          <dgm:bulletEnabled val="1"/>
        </dgm:presLayoutVars>
      </dgm:prSet>
      <dgm:spPr/>
    </dgm:pt>
    <dgm:pt modelId="{FE587FD4-A406-4272-B2A2-80966CF96C73}" type="pres">
      <dgm:prSet presAssocID="{E264A8EF-3993-4BA0-B916-974EAB05C2B3}" presName="sibTrans" presStyleLbl="sibTrans1D1" presStyleIdx="6" presStyleCnt="8"/>
      <dgm:spPr/>
    </dgm:pt>
    <dgm:pt modelId="{C66F5E7C-1AD5-4051-A3E2-A6C54A2DCC80}" type="pres">
      <dgm:prSet presAssocID="{E264A8EF-3993-4BA0-B916-974EAB05C2B3}" presName="connectorText" presStyleLbl="sibTrans1D1" presStyleIdx="6" presStyleCnt="8"/>
      <dgm:spPr/>
    </dgm:pt>
    <dgm:pt modelId="{AC6F1B6D-D922-4898-A3F6-EF6312976734}" type="pres">
      <dgm:prSet presAssocID="{6C4CE47F-121D-4FA9-83C9-F6F8D209B497}" presName="node" presStyleLbl="node1" presStyleIdx="7" presStyleCnt="9" custScaleY="124455" custLinFactNeighborY="11986">
        <dgm:presLayoutVars>
          <dgm:bulletEnabled val="1"/>
        </dgm:presLayoutVars>
      </dgm:prSet>
      <dgm:spPr/>
    </dgm:pt>
    <dgm:pt modelId="{C8E1EA50-7431-48D8-9746-F9EE2D405B29}" type="pres">
      <dgm:prSet presAssocID="{FA21B8CD-1FEA-4C78-83DE-A74FCF2474A5}" presName="sibTrans" presStyleLbl="sibTrans1D1" presStyleIdx="7" presStyleCnt="8"/>
      <dgm:spPr/>
    </dgm:pt>
    <dgm:pt modelId="{C3373F57-E871-4249-A490-DAB15A64D497}" type="pres">
      <dgm:prSet presAssocID="{FA21B8CD-1FEA-4C78-83DE-A74FCF2474A5}" presName="connectorText" presStyleLbl="sibTrans1D1" presStyleIdx="7" presStyleCnt="8"/>
      <dgm:spPr/>
    </dgm:pt>
    <dgm:pt modelId="{A23BC3A5-4187-4251-A1BB-7FCF4D0B62F7}" type="pres">
      <dgm:prSet presAssocID="{8C9D2051-5C7F-42A6-872E-835BEEC51816}" presName="node" presStyleLbl="node1" presStyleIdx="8" presStyleCnt="9" custScaleY="124455" custLinFactNeighborY="11986">
        <dgm:presLayoutVars>
          <dgm:bulletEnabled val="1"/>
        </dgm:presLayoutVars>
      </dgm:prSet>
      <dgm:spPr/>
    </dgm:pt>
  </dgm:ptLst>
  <dgm:cxnLst>
    <dgm:cxn modelId="{29484B01-C0CA-4CD9-B679-6B676C7679E5}" srcId="{66FDD4C0-1700-4FC9-AFEA-255D2D3A9B6E}" destId="{161BBFCE-0B35-4099-8A3A-E5DE94855F48}" srcOrd="6" destOrd="0" parTransId="{4BD8BEBC-9081-49E7-98AD-F944FF60830B}" sibTransId="{E264A8EF-3993-4BA0-B916-974EAB05C2B3}"/>
    <dgm:cxn modelId="{E2620809-D137-41B2-8D69-0E3AAF579258}" type="presOf" srcId="{8C9D2051-5C7F-42A6-872E-835BEEC51816}" destId="{A23BC3A5-4187-4251-A1BB-7FCF4D0B62F7}" srcOrd="0" destOrd="0" presId="urn:microsoft.com/office/officeart/2005/8/layout/bProcess3"/>
    <dgm:cxn modelId="{832F6E09-6A5F-48CE-995D-D95A7281A2C6}" srcId="{66FDD4C0-1700-4FC9-AFEA-255D2D3A9B6E}" destId="{A6F736B3-6DB1-4C1E-AB91-8C3F663B576D}" srcOrd="4" destOrd="0" parTransId="{ACEF3D6A-D19D-45F0-AD3C-EFB2083D71FF}" sibTransId="{643F6110-8BF2-4CAD-8CA0-3F5561B90304}"/>
    <dgm:cxn modelId="{51D66D14-A41C-43CE-9165-1E5B1FAAB506}" type="presOf" srcId="{6A0C3A57-2D1A-4E07-BC50-DDBEA2502705}" destId="{9C74E8A8-0865-4422-A46A-5CF38D59E257}" srcOrd="0" destOrd="0" presId="urn:microsoft.com/office/officeart/2005/8/layout/bProcess3"/>
    <dgm:cxn modelId="{972AEE23-9CD4-45B3-ADF4-1EC031B86DA0}" type="presOf" srcId="{C975F8DD-B4AB-4077-A173-8BCB6CF98D9D}" destId="{9C432E1A-4860-4331-B441-AD3CA780A3BA}" srcOrd="0" destOrd="0" presId="urn:microsoft.com/office/officeart/2005/8/layout/bProcess3"/>
    <dgm:cxn modelId="{3C7D3A2A-0976-4FDE-B6D5-FC66F3131483}" type="presOf" srcId="{E264A8EF-3993-4BA0-B916-974EAB05C2B3}" destId="{FE587FD4-A406-4272-B2A2-80966CF96C73}" srcOrd="0" destOrd="0" presId="urn:microsoft.com/office/officeart/2005/8/layout/bProcess3"/>
    <dgm:cxn modelId="{DDFD8E32-EE7A-4338-9CD1-391E8D593F5A}" srcId="{66FDD4C0-1700-4FC9-AFEA-255D2D3A9B6E}" destId="{75912339-771F-4C82-90CC-D5DFF2F11908}" srcOrd="0" destOrd="0" parTransId="{94589B2F-3F8D-49D4-8E84-C5E22BD0D6C9}" sibTransId="{F98FD7F9-4D0E-4801-AEB8-509D27CA11D0}"/>
    <dgm:cxn modelId="{CC74BB3A-B0FF-4F81-945E-FA9D4F632299}" type="presOf" srcId="{A8FD46F1-B4AC-49DE-A084-71553FD9BC77}" destId="{807922AA-FFC2-4920-822C-357896AFFCAB}" srcOrd="1" destOrd="0" presId="urn:microsoft.com/office/officeart/2005/8/layout/bProcess3"/>
    <dgm:cxn modelId="{F678AD46-1C20-403E-AF45-9A16B208213D}" type="presOf" srcId="{FA21B8CD-1FEA-4C78-83DE-A74FCF2474A5}" destId="{C8E1EA50-7431-48D8-9746-F9EE2D405B29}" srcOrd="0" destOrd="0" presId="urn:microsoft.com/office/officeart/2005/8/layout/bProcess3"/>
    <dgm:cxn modelId="{F6556B6E-507C-4A30-8BD5-9671C7C21E33}" srcId="{66FDD4C0-1700-4FC9-AFEA-255D2D3A9B6E}" destId="{7D0CD1D2-DE1B-43AF-9192-12B05BDDEFC2}" srcOrd="3" destOrd="0" parTransId="{C002D6EA-2293-4464-895E-46391803B333}" sibTransId="{C975F8DD-B4AB-4077-A173-8BCB6CF98D9D}"/>
    <dgm:cxn modelId="{F07F104F-154D-4C43-B7DB-B3A4FBE03218}" srcId="{66FDD4C0-1700-4FC9-AFEA-255D2D3A9B6E}" destId="{6A0C3A57-2D1A-4E07-BC50-DDBEA2502705}" srcOrd="5" destOrd="0" parTransId="{ACD84A3F-5381-4DA1-A4F9-55AB7B2836B8}" sibTransId="{A8FD46F1-B4AC-49DE-A084-71553FD9BC77}"/>
    <dgm:cxn modelId="{F9957359-829F-4FE8-BE38-6B8EEC654721}" type="presOf" srcId="{0380BE8A-B206-4935-8968-6B5FC3C1CF2E}" destId="{63C99998-7D75-4A31-8998-E7B3E12F328E}" srcOrd="1" destOrd="0" presId="urn:microsoft.com/office/officeart/2005/8/layout/bProcess3"/>
    <dgm:cxn modelId="{618ECC7B-26CE-49BA-A926-2389D1F8C70E}" type="presOf" srcId="{E264A8EF-3993-4BA0-B916-974EAB05C2B3}" destId="{C66F5E7C-1AD5-4051-A3E2-A6C54A2DCC80}" srcOrd="1" destOrd="0" presId="urn:microsoft.com/office/officeart/2005/8/layout/bProcess3"/>
    <dgm:cxn modelId="{76FE257C-D86F-45DD-A2E5-CC447381C5E1}" type="presOf" srcId="{7D0CD1D2-DE1B-43AF-9192-12B05BDDEFC2}" destId="{F715498C-CB8F-404C-AFBF-FD47528144D7}" srcOrd="0" destOrd="0" presId="urn:microsoft.com/office/officeart/2005/8/layout/bProcess3"/>
    <dgm:cxn modelId="{39EE3C7D-1A98-4306-8C60-BF25994D84EA}" type="presOf" srcId="{9B1497E1-961C-4D28-AA42-5EBE73F48C15}" destId="{DA90EA4F-9088-4BA0-B2D1-A349BBB05552}" srcOrd="1" destOrd="0" presId="urn:microsoft.com/office/officeart/2005/8/layout/bProcess3"/>
    <dgm:cxn modelId="{8F013B7E-E9E5-42AC-B70B-1D83FB629DEE}" type="presOf" srcId="{643F6110-8BF2-4CAD-8CA0-3F5561B90304}" destId="{C2CBEBFE-34BC-499E-BEA3-239FE3FC889F}" srcOrd="1" destOrd="0" presId="urn:microsoft.com/office/officeart/2005/8/layout/bProcess3"/>
    <dgm:cxn modelId="{0E22777F-61F4-40DB-93FB-1470FF6058D4}" type="presOf" srcId="{A6F736B3-6DB1-4C1E-AB91-8C3F663B576D}" destId="{115D3319-9348-462A-87A3-9306F7A0425D}" srcOrd="0" destOrd="0" presId="urn:microsoft.com/office/officeart/2005/8/layout/bProcess3"/>
    <dgm:cxn modelId="{EC736B87-7D00-4F2D-B970-461A61E30A10}" type="presOf" srcId="{0380BE8A-B206-4935-8968-6B5FC3C1CF2E}" destId="{6BCDA217-3D56-4307-BC59-321E9DC6A056}" srcOrd="0" destOrd="0" presId="urn:microsoft.com/office/officeart/2005/8/layout/bProcess3"/>
    <dgm:cxn modelId="{384AA889-CF67-4C73-800B-824EEBAEA491}" srcId="{66FDD4C0-1700-4FC9-AFEA-255D2D3A9B6E}" destId="{FEEFD0A2-39F9-4FCF-A7C7-3D71DFDDF34E}" srcOrd="1" destOrd="0" parTransId="{4781E5E1-4925-4614-8450-9A18CFCC1210}" sibTransId="{0380BE8A-B206-4935-8968-6B5FC3C1CF2E}"/>
    <dgm:cxn modelId="{78EC9D8A-08FB-48A4-A8B2-48A5A9D8744F}" type="presOf" srcId="{FA21B8CD-1FEA-4C78-83DE-A74FCF2474A5}" destId="{C3373F57-E871-4249-A490-DAB15A64D497}" srcOrd="1" destOrd="0" presId="urn:microsoft.com/office/officeart/2005/8/layout/bProcess3"/>
    <dgm:cxn modelId="{3B910DAF-D0C3-4409-A239-7727CA14037A}" type="presOf" srcId="{60044FB0-9EA8-48F8-B157-440DF7659C72}" destId="{E37907B2-8944-4953-AB73-7B5E34863CE6}" srcOrd="0" destOrd="0" presId="urn:microsoft.com/office/officeart/2005/8/layout/bProcess3"/>
    <dgm:cxn modelId="{EAE54AAF-783B-4C04-9EEE-EA39786A441B}" type="presOf" srcId="{161BBFCE-0B35-4099-8A3A-E5DE94855F48}" destId="{D33FF430-DB59-4526-901E-4BC6AC53F7DD}" srcOrd="0" destOrd="0" presId="urn:microsoft.com/office/officeart/2005/8/layout/bProcess3"/>
    <dgm:cxn modelId="{EEC72EB0-75A4-4BEA-843C-F5DFC5D4DD17}" type="presOf" srcId="{643F6110-8BF2-4CAD-8CA0-3F5561B90304}" destId="{94DEC7D6-563F-4B6D-B220-4AA484EEECB1}" srcOrd="0" destOrd="0" presId="urn:microsoft.com/office/officeart/2005/8/layout/bProcess3"/>
    <dgm:cxn modelId="{53F7A0B4-A831-4248-8FD2-F702CA441C03}" type="presOf" srcId="{A8FD46F1-B4AC-49DE-A084-71553FD9BC77}" destId="{2233AEE7-AC0B-4DFE-AF65-29030F95ADCD}" srcOrd="0" destOrd="0" presId="urn:microsoft.com/office/officeart/2005/8/layout/bProcess3"/>
    <dgm:cxn modelId="{311BDCB4-2374-480A-8811-B2690F29AA1B}" type="presOf" srcId="{9B1497E1-961C-4D28-AA42-5EBE73F48C15}" destId="{B47E3F89-8C58-4E91-A6A1-50B0C3A45685}" srcOrd="0" destOrd="0" presId="urn:microsoft.com/office/officeart/2005/8/layout/bProcess3"/>
    <dgm:cxn modelId="{55DFDBB7-B209-45D1-9F9A-F5B2FA2319EF}" type="presOf" srcId="{F98FD7F9-4D0E-4801-AEB8-509D27CA11D0}" destId="{FD1E9EC5-BB48-491D-9DE5-5FC16188D227}" srcOrd="1" destOrd="0" presId="urn:microsoft.com/office/officeart/2005/8/layout/bProcess3"/>
    <dgm:cxn modelId="{11E36CBD-C6B5-421E-A173-B8CF449F925D}" type="presOf" srcId="{75912339-771F-4C82-90CC-D5DFF2F11908}" destId="{DF99866B-7DF2-49FC-BAE8-843FF2641617}" srcOrd="0" destOrd="0" presId="urn:microsoft.com/office/officeart/2005/8/layout/bProcess3"/>
    <dgm:cxn modelId="{635D39BF-4C80-40CD-941D-D5E99F2B5C75}" srcId="{66FDD4C0-1700-4FC9-AFEA-255D2D3A9B6E}" destId="{60044FB0-9EA8-48F8-B157-440DF7659C72}" srcOrd="2" destOrd="0" parTransId="{C2B345CD-F50D-431A-8457-D516DB285AED}" sibTransId="{9B1497E1-961C-4D28-AA42-5EBE73F48C15}"/>
    <dgm:cxn modelId="{CAB066C6-5419-4721-B01E-4A87B04BA524}" srcId="{66FDD4C0-1700-4FC9-AFEA-255D2D3A9B6E}" destId="{6C4CE47F-121D-4FA9-83C9-F6F8D209B497}" srcOrd="7" destOrd="0" parTransId="{3DE24498-C22E-489E-9FB9-C9C32F5D88BD}" sibTransId="{FA21B8CD-1FEA-4C78-83DE-A74FCF2474A5}"/>
    <dgm:cxn modelId="{3D229FC8-D25B-49E7-BE61-437F3CBFD14D}" type="presOf" srcId="{C975F8DD-B4AB-4077-A173-8BCB6CF98D9D}" destId="{3EDF74F4-6258-4A17-BF76-7A911438EBCA}" srcOrd="1" destOrd="0" presId="urn:microsoft.com/office/officeart/2005/8/layout/bProcess3"/>
    <dgm:cxn modelId="{79FE11CA-7340-4810-83EA-2A2B3A9AFA8D}" type="presOf" srcId="{6C4CE47F-121D-4FA9-83C9-F6F8D209B497}" destId="{AC6F1B6D-D922-4898-A3F6-EF6312976734}" srcOrd="0" destOrd="0" presId="urn:microsoft.com/office/officeart/2005/8/layout/bProcess3"/>
    <dgm:cxn modelId="{BCFE99D3-B181-421B-82A7-FBB38B7577C0}" type="presOf" srcId="{F98FD7F9-4D0E-4801-AEB8-509D27CA11D0}" destId="{85F95F72-E6F9-4DB8-A2FC-A865FCF340EC}" srcOrd="0" destOrd="0" presId="urn:microsoft.com/office/officeart/2005/8/layout/bProcess3"/>
    <dgm:cxn modelId="{49E55AE6-56B0-476F-A831-4E6070AA76C0}" type="presOf" srcId="{66FDD4C0-1700-4FC9-AFEA-255D2D3A9B6E}" destId="{98872E36-2C1A-4724-A3F3-FCD6F7356F2F}" srcOrd="0" destOrd="0" presId="urn:microsoft.com/office/officeart/2005/8/layout/bProcess3"/>
    <dgm:cxn modelId="{0CCAD4EA-7984-4A3F-8C62-0D1168ABF031}" type="presOf" srcId="{FEEFD0A2-39F9-4FCF-A7C7-3D71DFDDF34E}" destId="{AA73E772-15A2-423F-A122-FA61CD9A5C49}" srcOrd="0" destOrd="0" presId="urn:microsoft.com/office/officeart/2005/8/layout/bProcess3"/>
    <dgm:cxn modelId="{78C6A9F4-9135-4730-AE34-C051FCB65133}" srcId="{66FDD4C0-1700-4FC9-AFEA-255D2D3A9B6E}" destId="{8C9D2051-5C7F-42A6-872E-835BEEC51816}" srcOrd="8" destOrd="0" parTransId="{D5E1B4E3-05C2-4CB6-A159-D7ADAD7BE8DA}" sibTransId="{8C06C800-F647-44D9-9EEF-E8953D2B68C3}"/>
    <dgm:cxn modelId="{9D54488F-3B2D-4B4E-B8E6-9BD37D39B72E}" type="presParOf" srcId="{98872E36-2C1A-4724-A3F3-FCD6F7356F2F}" destId="{DF99866B-7DF2-49FC-BAE8-843FF2641617}" srcOrd="0" destOrd="0" presId="urn:microsoft.com/office/officeart/2005/8/layout/bProcess3"/>
    <dgm:cxn modelId="{36E8A673-E274-4BD1-9129-CF966B152656}" type="presParOf" srcId="{98872E36-2C1A-4724-A3F3-FCD6F7356F2F}" destId="{85F95F72-E6F9-4DB8-A2FC-A865FCF340EC}" srcOrd="1" destOrd="0" presId="urn:microsoft.com/office/officeart/2005/8/layout/bProcess3"/>
    <dgm:cxn modelId="{3FDDA6B4-5E17-413B-BFDA-A1D367A89927}" type="presParOf" srcId="{85F95F72-E6F9-4DB8-A2FC-A865FCF340EC}" destId="{FD1E9EC5-BB48-491D-9DE5-5FC16188D227}" srcOrd="0" destOrd="0" presId="urn:microsoft.com/office/officeart/2005/8/layout/bProcess3"/>
    <dgm:cxn modelId="{7DCCB063-7A25-4BEC-AB7E-3E601F0CB503}" type="presParOf" srcId="{98872E36-2C1A-4724-A3F3-FCD6F7356F2F}" destId="{AA73E772-15A2-423F-A122-FA61CD9A5C49}" srcOrd="2" destOrd="0" presId="urn:microsoft.com/office/officeart/2005/8/layout/bProcess3"/>
    <dgm:cxn modelId="{B3B1E0FF-F9E9-4DFB-B2A4-0D29EBF23D36}" type="presParOf" srcId="{98872E36-2C1A-4724-A3F3-FCD6F7356F2F}" destId="{6BCDA217-3D56-4307-BC59-321E9DC6A056}" srcOrd="3" destOrd="0" presId="urn:microsoft.com/office/officeart/2005/8/layout/bProcess3"/>
    <dgm:cxn modelId="{94E6247F-622F-4734-A043-DF5295D83D7B}" type="presParOf" srcId="{6BCDA217-3D56-4307-BC59-321E9DC6A056}" destId="{63C99998-7D75-4A31-8998-E7B3E12F328E}" srcOrd="0" destOrd="0" presId="urn:microsoft.com/office/officeart/2005/8/layout/bProcess3"/>
    <dgm:cxn modelId="{F6F53FB6-9A3B-4C7E-9938-EA3DFA0A7837}" type="presParOf" srcId="{98872E36-2C1A-4724-A3F3-FCD6F7356F2F}" destId="{E37907B2-8944-4953-AB73-7B5E34863CE6}" srcOrd="4" destOrd="0" presId="urn:microsoft.com/office/officeart/2005/8/layout/bProcess3"/>
    <dgm:cxn modelId="{4D1977FA-C48C-4658-9B2C-6D32CFE72381}" type="presParOf" srcId="{98872E36-2C1A-4724-A3F3-FCD6F7356F2F}" destId="{B47E3F89-8C58-4E91-A6A1-50B0C3A45685}" srcOrd="5" destOrd="0" presId="urn:microsoft.com/office/officeart/2005/8/layout/bProcess3"/>
    <dgm:cxn modelId="{F92ADB06-A726-44C7-AA83-837C745422F1}" type="presParOf" srcId="{B47E3F89-8C58-4E91-A6A1-50B0C3A45685}" destId="{DA90EA4F-9088-4BA0-B2D1-A349BBB05552}" srcOrd="0" destOrd="0" presId="urn:microsoft.com/office/officeart/2005/8/layout/bProcess3"/>
    <dgm:cxn modelId="{464436B0-36EA-43B5-A1C7-8792BE11C8A4}" type="presParOf" srcId="{98872E36-2C1A-4724-A3F3-FCD6F7356F2F}" destId="{F715498C-CB8F-404C-AFBF-FD47528144D7}" srcOrd="6" destOrd="0" presId="urn:microsoft.com/office/officeart/2005/8/layout/bProcess3"/>
    <dgm:cxn modelId="{9498093B-B559-4AAB-B9B1-D0B9016237C1}" type="presParOf" srcId="{98872E36-2C1A-4724-A3F3-FCD6F7356F2F}" destId="{9C432E1A-4860-4331-B441-AD3CA780A3BA}" srcOrd="7" destOrd="0" presId="urn:microsoft.com/office/officeart/2005/8/layout/bProcess3"/>
    <dgm:cxn modelId="{62B11F68-0CBC-40F8-A365-7760E14D966F}" type="presParOf" srcId="{9C432E1A-4860-4331-B441-AD3CA780A3BA}" destId="{3EDF74F4-6258-4A17-BF76-7A911438EBCA}" srcOrd="0" destOrd="0" presId="urn:microsoft.com/office/officeart/2005/8/layout/bProcess3"/>
    <dgm:cxn modelId="{9083E149-7EA2-4854-801B-3A5E3C566052}" type="presParOf" srcId="{98872E36-2C1A-4724-A3F3-FCD6F7356F2F}" destId="{115D3319-9348-462A-87A3-9306F7A0425D}" srcOrd="8" destOrd="0" presId="urn:microsoft.com/office/officeart/2005/8/layout/bProcess3"/>
    <dgm:cxn modelId="{0C194974-61DF-47F2-8AD9-B144D9626091}" type="presParOf" srcId="{98872E36-2C1A-4724-A3F3-FCD6F7356F2F}" destId="{94DEC7D6-563F-4B6D-B220-4AA484EEECB1}" srcOrd="9" destOrd="0" presId="urn:microsoft.com/office/officeart/2005/8/layout/bProcess3"/>
    <dgm:cxn modelId="{5878BC39-42E2-466D-BD68-1EE6EF1A3596}" type="presParOf" srcId="{94DEC7D6-563F-4B6D-B220-4AA484EEECB1}" destId="{C2CBEBFE-34BC-499E-BEA3-239FE3FC889F}" srcOrd="0" destOrd="0" presId="urn:microsoft.com/office/officeart/2005/8/layout/bProcess3"/>
    <dgm:cxn modelId="{36A420E1-0A1D-4BEF-9812-F51517815F2A}" type="presParOf" srcId="{98872E36-2C1A-4724-A3F3-FCD6F7356F2F}" destId="{9C74E8A8-0865-4422-A46A-5CF38D59E257}" srcOrd="10" destOrd="0" presId="urn:microsoft.com/office/officeart/2005/8/layout/bProcess3"/>
    <dgm:cxn modelId="{58769AE5-B9F7-44A1-BC5D-5B40A572C471}" type="presParOf" srcId="{98872E36-2C1A-4724-A3F3-FCD6F7356F2F}" destId="{2233AEE7-AC0B-4DFE-AF65-29030F95ADCD}" srcOrd="11" destOrd="0" presId="urn:microsoft.com/office/officeart/2005/8/layout/bProcess3"/>
    <dgm:cxn modelId="{D0E97FE4-1742-4CBF-B30B-2466A1D2C1CC}" type="presParOf" srcId="{2233AEE7-AC0B-4DFE-AF65-29030F95ADCD}" destId="{807922AA-FFC2-4920-822C-357896AFFCAB}" srcOrd="0" destOrd="0" presId="urn:microsoft.com/office/officeart/2005/8/layout/bProcess3"/>
    <dgm:cxn modelId="{43DA0DA3-3B78-47F8-805D-44CF3D045715}" type="presParOf" srcId="{98872E36-2C1A-4724-A3F3-FCD6F7356F2F}" destId="{D33FF430-DB59-4526-901E-4BC6AC53F7DD}" srcOrd="12" destOrd="0" presId="urn:microsoft.com/office/officeart/2005/8/layout/bProcess3"/>
    <dgm:cxn modelId="{39122FAF-E8FC-4CF4-87A3-7F7C5DD9E137}" type="presParOf" srcId="{98872E36-2C1A-4724-A3F3-FCD6F7356F2F}" destId="{FE587FD4-A406-4272-B2A2-80966CF96C73}" srcOrd="13" destOrd="0" presId="urn:microsoft.com/office/officeart/2005/8/layout/bProcess3"/>
    <dgm:cxn modelId="{D160AB01-E62D-4F73-B246-57FB9A5B9F0E}" type="presParOf" srcId="{FE587FD4-A406-4272-B2A2-80966CF96C73}" destId="{C66F5E7C-1AD5-4051-A3E2-A6C54A2DCC80}" srcOrd="0" destOrd="0" presId="urn:microsoft.com/office/officeart/2005/8/layout/bProcess3"/>
    <dgm:cxn modelId="{AC06D0D9-08EC-4F49-A5C5-0854BE3AE5E5}" type="presParOf" srcId="{98872E36-2C1A-4724-A3F3-FCD6F7356F2F}" destId="{AC6F1B6D-D922-4898-A3F6-EF6312976734}" srcOrd="14" destOrd="0" presId="urn:microsoft.com/office/officeart/2005/8/layout/bProcess3"/>
    <dgm:cxn modelId="{8CE20FB5-D97E-4483-A963-3930DF2588EB}" type="presParOf" srcId="{98872E36-2C1A-4724-A3F3-FCD6F7356F2F}" destId="{C8E1EA50-7431-48D8-9746-F9EE2D405B29}" srcOrd="15" destOrd="0" presId="urn:microsoft.com/office/officeart/2005/8/layout/bProcess3"/>
    <dgm:cxn modelId="{74E23954-BCC3-4025-A568-C6C7A8F1C7E8}" type="presParOf" srcId="{C8E1EA50-7431-48D8-9746-F9EE2D405B29}" destId="{C3373F57-E871-4249-A490-DAB15A64D497}" srcOrd="0" destOrd="0" presId="urn:microsoft.com/office/officeart/2005/8/layout/bProcess3"/>
    <dgm:cxn modelId="{34BA073E-06A3-4825-AF7C-9846BADBD624}" type="presParOf" srcId="{98872E36-2C1A-4724-A3F3-FCD6F7356F2F}" destId="{A23BC3A5-4187-4251-A1BB-7FCF4D0B62F7}" srcOrd="16"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2A0578-0C80-4471-9161-64A7A97677DA}"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9975FD6A-E43E-4719-9145-BA3345355516}">
      <dgm:prSet phldrT="[Text]" custT="1"/>
      <dgm:spPr>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1400"/>
            <a:t>Add / Modify Objectives</a:t>
          </a:r>
        </a:p>
      </dgm:t>
    </dgm:pt>
    <dgm:pt modelId="{CEC94B20-5915-460E-B424-BE3049CB4B51}" type="parTrans" cxnId="{104C5078-E81E-4607-A94C-4BD4F607ADB5}">
      <dgm:prSet/>
      <dgm:spPr/>
      <dgm:t>
        <a:bodyPr/>
        <a:lstStyle/>
        <a:p>
          <a:endParaRPr lang="en-US"/>
        </a:p>
      </dgm:t>
    </dgm:pt>
    <dgm:pt modelId="{720FFC8A-FB2E-4846-8686-53292F6AA17C}" type="sibTrans" cxnId="{104C5078-E81E-4607-A94C-4BD4F607ADB5}">
      <dgm:prSet/>
      <dgm:spPr/>
      <dgm:t>
        <a:bodyPr/>
        <a:lstStyle/>
        <a:p>
          <a:endParaRPr lang="en-US"/>
        </a:p>
      </dgm:t>
    </dgm:pt>
    <dgm:pt modelId="{20D88692-58A5-4E31-97C7-06A2FD8E804B}">
      <dgm:prSet phldrT="[Text]" custT="1"/>
      <dgm:spPr/>
      <dgm:t>
        <a:bodyPr anchor="ctr"/>
        <a:lstStyle/>
        <a:p>
          <a:r>
            <a:rPr lang="en-GB" sz="1600"/>
            <a:t>Objectives can be added or modified during Mid-Year by the employee/reviewer under individual section</a:t>
          </a:r>
          <a:endParaRPr lang="en-US" sz="1600"/>
        </a:p>
      </dgm:t>
    </dgm:pt>
    <dgm:pt modelId="{D57473DD-CF3D-4CCF-87F4-BC4B1DEDB9EC}" type="parTrans" cxnId="{2A0AF70A-3255-426B-93C2-B567411E9B7D}">
      <dgm:prSet/>
      <dgm:spPr/>
      <dgm:t>
        <a:bodyPr/>
        <a:lstStyle/>
        <a:p>
          <a:endParaRPr lang="en-US"/>
        </a:p>
      </dgm:t>
    </dgm:pt>
    <dgm:pt modelId="{DD67AC70-9E4E-41B4-8BD9-77757473633F}" type="sibTrans" cxnId="{2A0AF70A-3255-426B-93C2-B567411E9B7D}">
      <dgm:prSet/>
      <dgm:spPr/>
      <dgm:t>
        <a:bodyPr/>
        <a:lstStyle/>
        <a:p>
          <a:endParaRPr lang="en-US"/>
        </a:p>
      </dgm:t>
    </dgm:pt>
    <dgm:pt modelId="{7FAD19E0-AA0F-4A6E-8B7E-66EA6744C68E}" type="pres">
      <dgm:prSet presAssocID="{052A0578-0C80-4471-9161-64A7A97677DA}" presName="Name0" presStyleCnt="0">
        <dgm:presLayoutVars>
          <dgm:dir/>
          <dgm:animLvl val="lvl"/>
          <dgm:resizeHandles/>
        </dgm:presLayoutVars>
      </dgm:prSet>
      <dgm:spPr/>
    </dgm:pt>
    <dgm:pt modelId="{5B0CDB35-2164-4393-8B4D-3AA2CF08C816}" type="pres">
      <dgm:prSet presAssocID="{9975FD6A-E43E-4719-9145-BA3345355516}" presName="linNode" presStyleCnt="0"/>
      <dgm:spPr/>
    </dgm:pt>
    <dgm:pt modelId="{0F8BEA7A-489B-4815-B2D2-C2F02D29F7B9}" type="pres">
      <dgm:prSet presAssocID="{9975FD6A-E43E-4719-9145-BA3345355516}" presName="parentShp" presStyleLbl="node1" presStyleIdx="0" presStyleCnt="1" custScaleX="83402">
        <dgm:presLayoutVars>
          <dgm:bulletEnabled val="1"/>
        </dgm:presLayoutVars>
      </dgm:prSet>
      <dgm:spPr/>
    </dgm:pt>
    <dgm:pt modelId="{DFEFDACF-EE6F-4FD6-B83A-22A5A9975A7E}" type="pres">
      <dgm:prSet presAssocID="{9975FD6A-E43E-4719-9145-BA3345355516}" presName="childShp" presStyleLbl="bgAccFollowNode1" presStyleIdx="0" presStyleCnt="1" custScaleX="116246">
        <dgm:presLayoutVars>
          <dgm:bulletEnabled val="1"/>
        </dgm:presLayoutVars>
      </dgm:prSet>
      <dgm:spPr/>
    </dgm:pt>
  </dgm:ptLst>
  <dgm:cxnLst>
    <dgm:cxn modelId="{2A0AF70A-3255-426B-93C2-B567411E9B7D}" srcId="{9975FD6A-E43E-4719-9145-BA3345355516}" destId="{20D88692-58A5-4E31-97C7-06A2FD8E804B}" srcOrd="0" destOrd="0" parTransId="{D57473DD-CF3D-4CCF-87F4-BC4B1DEDB9EC}" sibTransId="{DD67AC70-9E4E-41B4-8BD9-77757473633F}"/>
    <dgm:cxn modelId="{D17B0115-0D66-4F1F-B870-3F9A1CE7DA7B}" type="presOf" srcId="{20D88692-58A5-4E31-97C7-06A2FD8E804B}" destId="{DFEFDACF-EE6F-4FD6-B83A-22A5A9975A7E}" srcOrd="0" destOrd="0" presId="urn:microsoft.com/office/officeart/2005/8/layout/vList6"/>
    <dgm:cxn modelId="{49443975-FF97-4CDD-9768-02B019198062}" type="presOf" srcId="{9975FD6A-E43E-4719-9145-BA3345355516}" destId="{0F8BEA7A-489B-4815-B2D2-C2F02D29F7B9}" srcOrd="0" destOrd="0" presId="urn:microsoft.com/office/officeart/2005/8/layout/vList6"/>
    <dgm:cxn modelId="{104C5078-E81E-4607-A94C-4BD4F607ADB5}" srcId="{052A0578-0C80-4471-9161-64A7A97677DA}" destId="{9975FD6A-E43E-4719-9145-BA3345355516}" srcOrd="0" destOrd="0" parTransId="{CEC94B20-5915-460E-B424-BE3049CB4B51}" sibTransId="{720FFC8A-FB2E-4846-8686-53292F6AA17C}"/>
    <dgm:cxn modelId="{108E8CA4-5A81-415C-98A2-77318F34435E}" type="presOf" srcId="{052A0578-0C80-4471-9161-64A7A97677DA}" destId="{7FAD19E0-AA0F-4A6E-8B7E-66EA6744C68E}" srcOrd="0" destOrd="0" presId="urn:microsoft.com/office/officeart/2005/8/layout/vList6"/>
    <dgm:cxn modelId="{11F8F2BC-8B32-4D73-AC16-C38C0486E949}" type="presParOf" srcId="{7FAD19E0-AA0F-4A6E-8B7E-66EA6744C68E}" destId="{5B0CDB35-2164-4393-8B4D-3AA2CF08C816}" srcOrd="0" destOrd="0" presId="urn:microsoft.com/office/officeart/2005/8/layout/vList6"/>
    <dgm:cxn modelId="{8CCB89FF-F463-4E71-B4A3-C597AA4B73BC}" type="presParOf" srcId="{5B0CDB35-2164-4393-8B4D-3AA2CF08C816}" destId="{0F8BEA7A-489B-4815-B2D2-C2F02D29F7B9}" srcOrd="0" destOrd="0" presId="urn:microsoft.com/office/officeart/2005/8/layout/vList6"/>
    <dgm:cxn modelId="{AB9B9275-684A-4F9F-8E06-6CE8C982A035}" type="presParOf" srcId="{5B0CDB35-2164-4393-8B4D-3AA2CF08C816}" destId="{DFEFDACF-EE6F-4FD6-B83A-22A5A9975A7E}"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F95F72-E6F9-4DB8-A2FC-A865FCF340EC}">
      <dsp:nvSpPr>
        <dsp:cNvPr id="0" name=""/>
        <dsp:cNvSpPr/>
      </dsp:nvSpPr>
      <dsp:spPr>
        <a:xfrm>
          <a:off x="1499376" y="847509"/>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rgbClr val="3C3C3C">
                <a:hueOff val="0"/>
                <a:satOff val="0"/>
                <a:lumOff val="0"/>
                <a:alphaOff val="0"/>
              </a:srgbClr>
            </a:solidFill>
            <a:latin typeface="Arial" pitchFamily="34" charset="0"/>
            <a:ea typeface="+mn-ea"/>
            <a:cs typeface="Arial" pitchFamily="34" charset="0"/>
          </a:endParaRPr>
        </a:p>
      </dsp:txBody>
      <dsp:txXfrm>
        <a:off x="1647369" y="891509"/>
        <a:ext cx="0" cy="0"/>
      </dsp:txXfrm>
    </dsp:sp>
    <dsp:sp modelId="{DF99866B-7DF2-49FC-BAE8-843FF2641617}">
      <dsp:nvSpPr>
        <dsp:cNvPr id="0" name=""/>
        <dsp:cNvSpPr/>
      </dsp:nvSpPr>
      <dsp:spPr>
        <a:xfrm>
          <a:off x="6502" y="245248"/>
          <a:ext cx="1494673" cy="1295962"/>
        </a:xfrm>
        <a:prstGeom prst="rect">
          <a:avLst/>
        </a:prstGeom>
        <a:solidFill>
          <a:srgbClr val="0098CC">
            <a:hueOff val="0"/>
            <a:satOff val="0"/>
            <a:lumOff val="0"/>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ysClr val="window" lastClr="FFFFFF"/>
              </a:solidFill>
              <a:latin typeface="Arial" pitchFamily="34" charset="0"/>
              <a:ea typeface="+mn-ea"/>
              <a:cs typeface="Arial" pitchFamily="34" charset="0"/>
            </a:rPr>
            <a:t>Set aside time to meet.</a:t>
          </a:r>
        </a:p>
      </dsp:txBody>
      <dsp:txXfrm>
        <a:off x="6502" y="245248"/>
        <a:ext cx="1494673" cy="1295962"/>
      </dsp:txXfrm>
    </dsp:sp>
    <dsp:sp modelId="{6BCDA217-3D56-4307-BC59-321E9DC6A056}">
      <dsp:nvSpPr>
        <dsp:cNvPr id="0" name=""/>
        <dsp:cNvSpPr/>
      </dsp:nvSpPr>
      <dsp:spPr>
        <a:xfrm>
          <a:off x="3337824" y="847509"/>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rgbClr val="3C3C3C">
                <a:hueOff val="0"/>
                <a:satOff val="0"/>
                <a:lumOff val="0"/>
                <a:alphaOff val="0"/>
              </a:srgbClr>
            </a:solidFill>
            <a:latin typeface="Arial" pitchFamily="34" charset="0"/>
            <a:ea typeface="+mn-ea"/>
            <a:cs typeface="Arial" pitchFamily="34" charset="0"/>
          </a:endParaRPr>
        </a:p>
      </dsp:txBody>
      <dsp:txXfrm>
        <a:off x="3485818" y="891509"/>
        <a:ext cx="0" cy="0"/>
      </dsp:txXfrm>
    </dsp:sp>
    <dsp:sp modelId="{AA73E772-15A2-423F-A122-FA61CD9A5C49}">
      <dsp:nvSpPr>
        <dsp:cNvPr id="0" name=""/>
        <dsp:cNvSpPr/>
      </dsp:nvSpPr>
      <dsp:spPr>
        <a:xfrm>
          <a:off x="1844951" y="245248"/>
          <a:ext cx="1494673" cy="1295962"/>
        </a:xfrm>
        <a:prstGeom prst="rect">
          <a:avLst/>
        </a:prstGeom>
        <a:solidFill>
          <a:srgbClr val="0098CC">
            <a:hueOff val="-1266361"/>
            <a:satOff val="-1822"/>
            <a:lumOff val="1446"/>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ysClr val="window" lastClr="FFFFFF"/>
              </a:solidFill>
              <a:latin typeface="Arial" pitchFamily="34" charset="0"/>
              <a:ea typeface="+mn-ea"/>
              <a:cs typeface="Arial" pitchFamily="34" charset="0"/>
            </a:rPr>
            <a:t>Discuss your </a:t>
          </a:r>
          <a:r>
            <a:rPr lang="en-US" sz="1400" b="1" kern="1200">
              <a:solidFill>
                <a:sysClr val="window" lastClr="FFFFFF"/>
              </a:solidFill>
              <a:latin typeface="Arial" pitchFamily="34" charset="0"/>
              <a:ea typeface="+mn-ea"/>
              <a:cs typeface="Arial" pitchFamily="34" charset="0"/>
            </a:rPr>
            <a:t>career progression </a:t>
          </a:r>
        </a:p>
        <a:p>
          <a:pPr marL="0" lvl="0" indent="0" algn="ctr" defTabSz="622300">
            <a:lnSpc>
              <a:spcPct val="90000"/>
            </a:lnSpc>
            <a:spcBef>
              <a:spcPct val="0"/>
            </a:spcBef>
            <a:spcAft>
              <a:spcPct val="35000"/>
            </a:spcAft>
            <a:buNone/>
          </a:pPr>
          <a:r>
            <a:rPr lang="en-US" sz="1400" b="1" kern="1200">
              <a:solidFill>
                <a:sysClr val="window" lastClr="FFFFFF"/>
              </a:solidFill>
              <a:latin typeface="Arial" pitchFamily="34" charset="0"/>
              <a:ea typeface="+mn-ea"/>
              <a:cs typeface="Arial" pitchFamily="34" charset="0"/>
            </a:rPr>
            <a:t>so far.</a:t>
          </a:r>
        </a:p>
      </dsp:txBody>
      <dsp:txXfrm>
        <a:off x="1844951" y="245248"/>
        <a:ext cx="1494673" cy="1295962"/>
      </dsp:txXfrm>
    </dsp:sp>
    <dsp:sp modelId="{B47E3F89-8C58-4E91-A6A1-50B0C3A45685}">
      <dsp:nvSpPr>
        <dsp:cNvPr id="0" name=""/>
        <dsp:cNvSpPr/>
      </dsp:nvSpPr>
      <dsp:spPr>
        <a:xfrm>
          <a:off x="753839" y="1539411"/>
          <a:ext cx="3676897" cy="313174"/>
        </a:xfrm>
        <a:custGeom>
          <a:avLst/>
          <a:gdLst/>
          <a:ahLst/>
          <a:cxnLst/>
          <a:rect l="0" t="0" r="0" b="0"/>
          <a:pathLst>
            <a:path>
              <a:moveTo>
                <a:pt x="3676897" y="0"/>
              </a:moveTo>
              <a:lnTo>
                <a:pt x="3676897" y="173687"/>
              </a:lnTo>
              <a:lnTo>
                <a:pt x="0" y="173687"/>
              </a:lnTo>
              <a:lnTo>
                <a:pt x="0" y="313174"/>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rgbClr val="3C3C3C">
                <a:hueOff val="0"/>
                <a:satOff val="0"/>
                <a:lumOff val="0"/>
                <a:alphaOff val="0"/>
              </a:srgbClr>
            </a:solidFill>
            <a:latin typeface="Arial" pitchFamily="34" charset="0"/>
            <a:ea typeface="+mn-ea"/>
            <a:cs typeface="Arial" pitchFamily="34" charset="0"/>
          </a:endParaRPr>
        </a:p>
      </dsp:txBody>
      <dsp:txXfrm>
        <a:off x="2499964" y="1694278"/>
        <a:ext cx="0" cy="0"/>
      </dsp:txXfrm>
    </dsp:sp>
    <dsp:sp modelId="{E37907B2-8944-4953-AB73-7B5E34863CE6}">
      <dsp:nvSpPr>
        <dsp:cNvPr id="0" name=""/>
        <dsp:cNvSpPr/>
      </dsp:nvSpPr>
      <dsp:spPr>
        <a:xfrm>
          <a:off x="3683399" y="245248"/>
          <a:ext cx="1494673" cy="1295962"/>
        </a:xfrm>
        <a:prstGeom prst="rect">
          <a:avLst/>
        </a:prstGeom>
        <a:solidFill>
          <a:srgbClr val="0098CC">
            <a:hueOff val="-2532723"/>
            <a:satOff val="-3644"/>
            <a:lumOff val="2892"/>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ysClr val="window" lastClr="FFFFFF"/>
              </a:solidFill>
              <a:latin typeface="Arial" pitchFamily="34" charset="0"/>
              <a:ea typeface="+mn-ea"/>
              <a:cs typeface="Arial" pitchFamily="34" charset="0"/>
            </a:rPr>
            <a:t>Discuss your </a:t>
          </a:r>
          <a:r>
            <a:rPr lang="en-US" sz="1400" b="1" kern="1200">
              <a:solidFill>
                <a:sysClr val="window" lastClr="FFFFFF"/>
              </a:solidFill>
              <a:latin typeface="Arial" pitchFamily="34" charset="0"/>
              <a:ea typeface="+mn-ea"/>
              <a:cs typeface="Arial" pitchFamily="34" charset="0"/>
            </a:rPr>
            <a:t>aspirations and roles available </a:t>
          </a:r>
          <a:r>
            <a:rPr lang="en-US" sz="1400" kern="1200">
              <a:solidFill>
                <a:sysClr val="window" lastClr="FFFFFF"/>
              </a:solidFill>
              <a:latin typeface="Arial" pitchFamily="34" charset="0"/>
              <a:ea typeface="+mn-ea"/>
              <a:cs typeface="Arial" pitchFamily="34" charset="0"/>
            </a:rPr>
            <a:t>to progress.</a:t>
          </a:r>
        </a:p>
      </dsp:txBody>
      <dsp:txXfrm>
        <a:off x="3683399" y="245248"/>
        <a:ext cx="1494673" cy="1295962"/>
      </dsp:txXfrm>
    </dsp:sp>
    <dsp:sp modelId="{9C432E1A-4860-4331-B441-AD3CA780A3BA}">
      <dsp:nvSpPr>
        <dsp:cNvPr id="0" name=""/>
        <dsp:cNvSpPr/>
      </dsp:nvSpPr>
      <dsp:spPr>
        <a:xfrm>
          <a:off x="1499376" y="2741536"/>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kern="1200">
            <a:solidFill>
              <a:srgbClr val="3C3C3C">
                <a:hueOff val="0"/>
                <a:satOff val="0"/>
                <a:lumOff val="0"/>
                <a:alphaOff val="0"/>
              </a:srgbClr>
            </a:solidFill>
            <a:latin typeface="Arial" pitchFamily="34" charset="0"/>
            <a:ea typeface="+mn-ea"/>
            <a:cs typeface="Arial" pitchFamily="34" charset="0"/>
          </a:endParaRPr>
        </a:p>
      </dsp:txBody>
      <dsp:txXfrm>
        <a:off x="1647369" y="2785536"/>
        <a:ext cx="0" cy="0"/>
      </dsp:txXfrm>
    </dsp:sp>
    <dsp:sp modelId="{F715498C-CB8F-404C-AFBF-FD47528144D7}">
      <dsp:nvSpPr>
        <dsp:cNvPr id="0" name=""/>
        <dsp:cNvSpPr/>
      </dsp:nvSpPr>
      <dsp:spPr>
        <a:xfrm>
          <a:off x="6502" y="1884986"/>
          <a:ext cx="1494673" cy="1804540"/>
        </a:xfrm>
        <a:prstGeom prst="rect">
          <a:avLst/>
        </a:prstGeom>
        <a:solidFill>
          <a:srgbClr val="0098CC">
            <a:hueOff val="-3799084"/>
            <a:satOff val="-5466"/>
            <a:lumOff val="4338"/>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3C3C3C"/>
              </a:solidFill>
              <a:latin typeface="Arial" pitchFamily="34" charset="0"/>
              <a:ea typeface="+mn-ea"/>
              <a:cs typeface="Arial" pitchFamily="34" charset="0"/>
            </a:rPr>
            <a:t>Agree on </a:t>
          </a:r>
          <a:r>
            <a:rPr lang="en-US" sz="1400" b="1" kern="1200">
              <a:solidFill>
                <a:srgbClr val="3C3C3C"/>
              </a:solidFill>
              <a:latin typeface="Arial" pitchFamily="34" charset="0"/>
              <a:ea typeface="+mn-ea"/>
              <a:cs typeface="Arial" pitchFamily="34" charset="0"/>
            </a:rPr>
            <a:t>critical competencies and performance standards </a:t>
          </a:r>
          <a:r>
            <a:rPr lang="en-US" sz="1400" kern="1200">
              <a:solidFill>
                <a:srgbClr val="3C3C3C"/>
              </a:solidFill>
              <a:latin typeface="Arial" pitchFamily="34" charset="0"/>
              <a:ea typeface="+mn-ea"/>
              <a:cs typeface="Arial" pitchFamily="34" charset="0"/>
            </a:rPr>
            <a:t>defined in the </a:t>
          </a:r>
          <a:r>
            <a:rPr lang="en-US" sz="1400" b="1" kern="1200">
              <a:solidFill>
                <a:srgbClr val="3C3C3C"/>
              </a:solidFill>
              <a:latin typeface="Arial" pitchFamily="34" charset="0"/>
              <a:ea typeface="+mn-ea"/>
              <a:cs typeface="Arial" pitchFamily="34" charset="0"/>
            </a:rPr>
            <a:t>Career Framework.</a:t>
          </a:r>
        </a:p>
      </dsp:txBody>
      <dsp:txXfrm>
        <a:off x="6502" y="1884986"/>
        <a:ext cx="1494673" cy="1804540"/>
      </dsp:txXfrm>
    </dsp:sp>
    <dsp:sp modelId="{94DEC7D6-563F-4B6D-B220-4AA484EEECB1}">
      <dsp:nvSpPr>
        <dsp:cNvPr id="0" name=""/>
        <dsp:cNvSpPr/>
      </dsp:nvSpPr>
      <dsp:spPr>
        <a:xfrm>
          <a:off x="3337824" y="2741536"/>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rgbClr val="3C3C3C">
                <a:hueOff val="0"/>
                <a:satOff val="0"/>
                <a:lumOff val="0"/>
                <a:alphaOff val="0"/>
              </a:srgbClr>
            </a:solidFill>
            <a:latin typeface="Arial"/>
            <a:ea typeface="+mn-ea"/>
            <a:cs typeface="+mn-cs"/>
          </a:endParaRPr>
        </a:p>
      </dsp:txBody>
      <dsp:txXfrm>
        <a:off x="3485818" y="2785536"/>
        <a:ext cx="0" cy="0"/>
      </dsp:txXfrm>
    </dsp:sp>
    <dsp:sp modelId="{115D3319-9348-462A-87A3-9306F7A0425D}">
      <dsp:nvSpPr>
        <dsp:cNvPr id="0" name=""/>
        <dsp:cNvSpPr/>
      </dsp:nvSpPr>
      <dsp:spPr>
        <a:xfrm>
          <a:off x="1844951" y="1884986"/>
          <a:ext cx="1494673" cy="1804540"/>
        </a:xfrm>
        <a:prstGeom prst="rect">
          <a:avLst/>
        </a:prstGeom>
        <a:solidFill>
          <a:srgbClr val="0098CC">
            <a:hueOff val="-5065446"/>
            <a:satOff val="-7287"/>
            <a:lumOff val="5785"/>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3C3C3C"/>
              </a:solidFill>
              <a:latin typeface="Arial" pitchFamily="34" charset="0"/>
              <a:ea typeface="+mn-ea"/>
              <a:cs typeface="Arial" pitchFamily="34" charset="0"/>
            </a:rPr>
            <a:t>Discuss strengths and perceived areas of development that are </a:t>
          </a:r>
          <a:r>
            <a:rPr lang="en-US" sz="1400" b="1" kern="1200">
              <a:solidFill>
                <a:srgbClr val="3C3C3C"/>
              </a:solidFill>
              <a:latin typeface="Arial" pitchFamily="34" charset="0"/>
              <a:ea typeface="+mn-ea"/>
              <a:cs typeface="Arial" pitchFamily="34" charset="0"/>
            </a:rPr>
            <a:t>critical to success.</a:t>
          </a:r>
        </a:p>
      </dsp:txBody>
      <dsp:txXfrm>
        <a:off x="1844951" y="1884986"/>
        <a:ext cx="1494673" cy="1804540"/>
      </dsp:txXfrm>
    </dsp:sp>
    <dsp:sp modelId="{2233AEE7-AC0B-4DFE-AF65-29030F95ADCD}">
      <dsp:nvSpPr>
        <dsp:cNvPr id="0" name=""/>
        <dsp:cNvSpPr/>
      </dsp:nvSpPr>
      <dsp:spPr>
        <a:xfrm>
          <a:off x="753839" y="3687727"/>
          <a:ext cx="3676897" cy="387627"/>
        </a:xfrm>
        <a:custGeom>
          <a:avLst/>
          <a:gdLst/>
          <a:ahLst/>
          <a:cxnLst/>
          <a:rect l="0" t="0" r="0" b="0"/>
          <a:pathLst>
            <a:path>
              <a:moveTo>
                <a:pt x="3676897" y="0"/>
              </a:moveTo>
              <a:lnTo>
                <a:pt x="3676897" y="210913"/>
              </a:lnTo>
              <a:lnTo>
                <a:pt x="0" y="210913"/>
              </a:lnTo>
              <a:lnTo>
                <a:pt x="0" y="387627"/>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rgbClr val="3C3C3C">
                <a:hueOff val="0"/>
                <a:satOff val="0"/>
                <a:lumOff val="0"/>
                <a:alphaOff val="0"/>
              </a:srgbClr>
            </a:solidFill>
            <a:latin typeface="Arial"/>
            <a:ea typeface="+mn-ea"/>
            <a:cs typeface="+mn-cs"/>
          </a:endParaRPr>
        </a:p>
      </dsp:txBody>
      <dsp:txXfrm>
        <a:off x="2499772" y="3879820"/>
        <a:ext cx="0" cy="0"/>
      </dsp:txXfrm>
    </dsp:sp>
    <dsp:sp modelId="{9C74E8A8-0865-4422-A46A-5CF38D59E257}">
      <dsp:nvSpPr>
        <dsp:cNvPr id="0" name=""/>
        <dsp:cNvSpPr/>
      </dsp:nvSpPr>
      <dsp:spPr>
        <a:xfrm>
          <a:off x="3683399" y="1884986"/>
          <a:ext cx="1494673" cy="1804540"/>
        </a:xfrm>
        <a:prstGeom prst="rect">
          <a:avLst/>
        </a:prstGeom>
        <a:solidFill>
          <a:srgbClr val="0098CC">
            <a:hueOff val="-6331807"/>
            <a:satOff val="-9109"/>
            <a:lumOff val="7231"/>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3C3C3C"/>
              </a:solidFill>
              <a:latin typeface="Arial" pitchFamily="34" charset="0"/>
              <a:ea typeface="+mn-ea"/>
              <a:cs typeface="Arial" pitchFamily="34" charset="0"/>
            </a:rPr>
            <a:t>Co-create your development plan. Finalize on </a:t>
          </a:r>
          <a:r>
            <a:rPr lang="en-US" sz="1400" b="1" kern="1200">
              <a:solidFill>
                <a:srgbClr val="3C3C3C"/>
              </a:solidFill>
              <a:latin typeface="Arial" pitchFamily="34" charset="0"/>
              <a:ea typeface="+mn-ea"/>
              <a:cs typeface="Arial" pitchFamily="34" charset="0"/>
            </a:rPr>
            <a:t>MyPath</a:t>
          </a:r>
          <a:r>
            <a:rPr lang="en-US" sz="1400" kern="1200">
              <a:solidFill>
                <a:srgbClr val="3C3C3C"/>
              </a:solidFill>
              <a:latin typeface="Arial" pitchFamily="34" charset="0"/>
              <a:ea typeface="+mn-ea"/>
              <a:cs typeface="Arial" pitchFamily="34" charset="0"/>
            </a:rPr>
            <a:t> (performance mgmt. system)</a:t>
          </a:r>
        </a:p>
      </dsp:txBody>
      <dsp:txXfrm>
        <a:off x="3683399" y="1884986"/>
        <a:ext cx="1494673" cy="1804540"/>
      </dsp:txXfrm>
    </dsp:sp>
    <dsp:sp modelId="{FE587FD4-A406-4272-B2A2-80966CF96C73}">
      <dsp:nvSpPr>
        <dsp:cNvPr id="0" name=""/>
        <dsp:cNvSpPr/>
      </dsp:nvSpPr>
      <dsp:spPr>
        <a:xfrm>
          <a:off x="1499376" y="4620093"/>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rgbClr val="3C3C3C">
                <a:hueOff val="0"/>
                <a:satOff val="0"/>
                <a:lumOff val="0"/>
                <a:alphaOff val="0"/>
              </a:srgbClr>
            </a:solidFill>
            <a:latin typeface="Arial"/>
            <a:ea typeface="+mn-ea"/>
            <a:cs typeface="+mn-cs"/>
          </a:endParaRPr>
        </a:p>
      </dsp:txBody>
      <dsp:txXfrm>
        <a:off x="1647369" y="4664093"/>
        <a:ext cx="0" cy="0"/>
      </dsp:txXfrm>
    </dsp:sp>
    <dsp:sp modelId="{D33FF430-DB59-4526-901E-4BC6AC53F7DD}">
      <dsp:nvSpPr>
        <dsp:cNvPr id="0" name=""/>
        <dsp:cNvSpPr/>
      </dsp:nvSpPr>
      <dsp:spPr>
        <a:xfrm>
          <a:off x="6502" y="4107754"/>
          <a:ext cx="1494673" cy="1116117"/>
        </a:xfrm>
        <a:prstGeom prst="rect">
          <a:avLst/>
        </a:prstGeom>
        <a:solidFill>
          <a:srgbClr val="0098CC">
            <a:hueOff val="-7598168"/>
            <a:satOff val="-10931"/>
            <a:lumOff val="8677"/>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3C3C3C"/>
              </a:solidFill>
              <a:latin typeface="Arial" pitchFamily="34" charset="0"/>
              <a:ea typeface="+mn-ea"/>
              <a:cs typeface="Arial" pitchFamily="34" charset="0"/>
            </a:rPr>
            <a:t>Decide how you will </a:t>
          </a:r>
          <a:r>
            <a:rPr lang="en-US" sz="1400" b="1" kern="1200">
              <a:solidFill>
                <a:srgbClr val="3C3C3C"/>
              </a:solidFill>
              <a:latin typeface="Arial" pitchFamily="34" charset="0"/>
              <a:ea typeface="+mn-ea"/>
              <a:cs typeface="Arial" pitchFamily="34" charset="0"/>
            </a:rPr>
            <a:t>track and report progress.</a:t>
          </a:r>
        </a:p>
      </dsp:txBody>
      <dsp:txXfrm>
        <a:off x="6502" y="4107754"/>
        <a:ext cx="1494673" cy="1116117"/>
      </dsp:txXfrm>
    </dsp:sp>
    <dsp:sp modelId="{C8E1EA50-7431-48D8-9746-F9EE2D405B29}">
      <dsp:nvSpPr>
        <dsp:cNvPr id="0" name=""/>
        <dsp:cNvSpPr/>
      </dsp:nvSpPr>
      <dsp:spPr>
        <a:xfrm>
          <a:off x="3337824" y="4620093"/>
          <a:ext cx="313174" cy="91440"/>
        </a:xfrm>
        <a:custGeom>
          <a:avLst/>
          <a:gdLst/>
          <a:ahLst/>
          <a:cxnLst/>
          <a:rect l="0" t="0" r="0" b="0"/>
          <a:pathLst>
            <a:path>
              <a:moveTo>
                <a:pt x="0" y="45720"/>
              </a:moveTo>
              <a:lnTo>
                <a:pt x="313174" y="45720"/>
              </a:lnTo>
            </a:path>
          </a:pathLst>
        </a:custGeom>
        <a:noFill/>
        <a:ln w="9525" cap="flat" cmpd="sng" algn="ctr">
          <a:solidFill>
            <a:scrgbClr r="0" g="0" b="0">
              <a:shade val="95000"/>
              <a:satMod val="105000"/>
            </a:scrgbClr>
          </a:solidFill>
          <a:prstDash val="sysDot"/>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rgbClr val="3C3C3C">
                <a:hueOff val="0"/>
                <a:satOff val="0"/>
                <a:lumOff val="0"/>
                <a:alphaOff val="0"/>
              </a:srgbClr>
            </a:solidFill>
            <a:latin typeface="Arial"/>
            <a:ea typeface="+mn-ea"/>
            <a:cs typeface="+mn-cs"/>
          </a:endParaRPr>
        </a:p>
      </dsp:txBody>
      <dsp:txXfrm>
        <a:off x="3485818" y="4664093"/>
        <a:ext cx="0" cy="0"/>
      </dsp:txXfrm>
    </dsp:sp>
    <dsp:sp modelId="{AC6F1B6D-D922-4898-A3F6-EF6312976734}">
      <dsp:nvSpPr>
        <dsp:cNvPr id="0" name=""/>
        <dsp:cNvSpPr/>
      </dsp:nvSpPr>
      <dsp:spPr>
        <a:xfrm>
          <a:off x="1844951" y="4107754"/>
          <a:ext cx="1494673" cy="1116117"/>
        </a:xfrm>
        <a:prstGeom prst="rect">
          <a:avLst/>
        </a:prstGeom>
        <a:solidFill>
          <a:srgbClr val="0098CC">
            <a:hueOff val="-8864530"/>
            <a:satOff val="-12753"/>
            <a:lumOff val="10123"/>
            <a:alphaOff val="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3C3C3C"/>
              </a:solidFill>
              <a:latin typeface="Arial" pitchFamily="34" charset="0"/>
              <a:ea typeface="+mn-ea"/>
              <a:cs typeface="Arial" pitchFamily="34" charset="0"/>
            </a:rPr>
            <a:t>Follow through and make progress visible.</a:t>
          </a:r>
        </a:p>
      </dsp:txBody>
      <dsp:txXfrm>
        <a:off x="1844951" y="4107754"/>
        <a:ext cx="1494673" cy="1116117"/>
      </dsp:txXfrm>
    </dsp:sp>
    <dsp:sp modelId="{A23BC3A5-4187-4251-A1BB-7FCF4D0B62F7}">
      <dsp:nvSpPr>
        <dsp:cNvPr id="0" name=""/>
        <dsp:cNvSpPr/>
      </dsp:nvSpPr>
      <dsp:spPr>
        <a:xfrm>
          <a:off x="3683399" y="4107754"/>
          <a:ext cx="1494673" cy="1116117"/>
        </a:xfrm>
        <a:prstGeom prst="rect">
          <a:avLst/>
        </a:prstGeom>
        <a:solidFill>
          <a:srgbClr val="ED771A">
            <a:lumMod val="75000"/>
          </a:srgbClr>
        </a:solidFill>
        <a:ln w="25400" cap="flat" cmpd="sng" algn="ctr">
          <a:noFill/>
          <a:prstDash val="sys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solidFill>
                <a:sysClr val="window" lastClr="FFFFFF"/>
              </a:solidFill>
              <a:latin typeface="Arial" pitchFamily="34" charset="0"/>
              <a:ea typeface="+mn-ea"/>
              <a:cs typeface="Arial" pitchFamily="34" charset="0"/>
            </a:rPr>
            <a:t>Ask for </a:t>
          </a:r>
          <a:r>
            <a:rPr lang="en-US" sz="1400" b="1" kern="1200">
              <a:solidFill>
                <a:sysClr val="window" lastClr="FFFFFF"/>
              </a:solidFill>
              <a:latin typeface="Arial" pitchFamily="34" charset="0"/>
              <a:ea typeface="+mn-ea"/>
              <a:cs typeface="Arial" pitchFamily="34" charset="0"/>
            </a:rPr>
            <a:t>feedback regularly.</a:t>
          </a:r>
        </a:p>
      </dsp:txBody>
      <dsp:txXfrm>
        <a:off x="3683399" y="4107754"/>
        <a:ext cx="1494673" cy="11161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EFDACF-EE6F-4FD6-B83A-22A5A9975A7E}">
      <dsp:nvSpPr>
        <dsp:cNvPr id="0" name=""/>
        <dsp:cNvSpPr/>
      </dsp:nvSpPr>
      <dsp:spPr>
        <a:xfrm>
          <a:off x="1558868" y="866"/>
          <a:ext cx="3258476" cy="177361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Objectives can be added or modified during Mid-Year by the employee/reviewer under individual section</a:t>
          </a:r>
          <a:endParaRPr lang="en-US" sz="1600" kern="1200"/>
        </a:p>
      </dsp:txBody>
      <dsp:txXfrm>
        <a:off x="1558868" y="222568"/>
        <a:ext cx="2593372" cy="1330209"/>
      </dsp:txXfrm>
    </dsp:sp>
    <dsp:sp modelId="{0F8BEA7A-489B-4815-B2D2-C2F02D29F7B9}">
      <dsp:nvSpPr>
        <dsp:cNvPr id="0" name=""/>
        <dsp:cNvSpPr/>
      </dsp:nvSpPr>
      <dsp:spPr>
        <a:xfrm>
          <a:off x="314" y="866"/>
          <a:ext cx="1558553" cy="1773612"/>
        </a:xfrm>
        <a:prstGeom prst="roundRect">
          <a:avLst/>
        </a:prstGeom>
        <a:solidFill>
          <a:schemeClr val="accent2"/>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a:t>Add / Modify Objectives</a:t>
          </a:r>
        </a:p>
      </dsp:txBody>
      <dsp:txXfrm>
        <a:off x="76396" y="76948"/>
        <a:ext cx="1406389" cy="1621448"/>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7010400" cy="464315"/>
          </a:xfrm>
          <a:prstGeom prst="rect">
            <a:avLst/>
          </a:prstGeom>
        </p:spPr>
        <p:txBody>
          <a:bodyPr vert="horz" lIns="35154" tIns="35154" rIns="246080" bIns="3515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2" y="8830644"/>
            <a:ext cx="3038048" cy="464315"/>
          </a:xfrm>
          <a:prstGeom prst="rect">
            <a:avLst/>
          </a:prstGeom>
        </p:spPr>
        <p:txBody>
          <a:bodyPr vert="horz" lIns="89291" tIns="44646" rIns="89291" bIns="44646" rtlCol="0" anchor="b"/>
          <a:lstStyle>
            <a:lvl1pPr algn="l">
              <a:defRPr sz="1200"/>
            </a:lvl1pPr>
          </a:lstStyle>
          <a:p>
            <a:r>
              <a:rPr lang="de-DE" sz="80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70786" y="8830644"/>
            <a:ext cx="3038048" cy="46431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143670979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1-08T22:09:14.76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1"/>
          </a:xfrm>
          <a:prstGeom prst="rect">
            <a:avLst/>
          </a:prstGeom>
        </p:spPr>
        <p:txBody>
          <a:bodyPr vert="horz" lIns="96721" tIns="48361" rIns="96721" bIns="48361" rtlCol="0"/>
          <a:lstStyle>
            <a:lvl1pPr algn="l">
              <a:defRPr sz="1200"/>
            </a:lvl1pPr>
          </a:lstStyle>
          <a:p>
            <a:endParaRPr lang="en-US"/>
          </a:p>
        </p:txBody>
      </p:sp>
      <p:sp>
        <p:nvSpPr>
          <p:cNvPr id="3" name="Date Placeholder 2"/>
          <p:cNvSpPr>
            <a:spLocks noGrp="1"/>
          </p:cNvSpPr>
          <p:nvPr>
            <p:ph type="dt" idx="1"/>
          </p:nvPr>
        </p:nvSpPr>
        <p:spPr>
          <a:xfrm>
            <a:off x="3970939" y="1"/>
            <a:ext cx="3037840" cy="464821"/>
          </a:xfrm>
          <a:prstGeom prst="rect">
            <a:avLst/>
          </a:prstGeom>
        </p:spPr>
        <p:txBody>
          <a:bodyPr vert="horz" lIns="96721" tIns="48361" rIns="96721" bIns="48361" rtlCol="0"/>
          <a:lstStyle>
            <a:lvl1pPr algn="r">
              <a:defRPr sz="1200"/>
            </a:lvl1pPr>
          </a:lstStyle>
          <a:p>
            <a:fld id="{2FB4FF29-EE9A-4D47-9F1A-289A80693C0F}" type="datetimeFigureOut">
              <a:rPr lang="en-US" smtClean="0"/>
              <a:pPr/>
              <a:t>8/8/2019</a:t>
            </a:fld>
            <a:endParaRPr lang="en-US"/>
          </a:p>
        </p:txBody>
      </p:sp>
      <p:sp>
        <p:nvSpPr>
          <p:cNvPr id="4" name="Slide Image Placeholder 3"/>
          <p:cNvSpPr>
            <a:spLocks noGrp="1" noRot="1" noChangeAspect="1"/>
          </p:cNvSpPr>
          <p:nvPr>
            <p:ph type="sldImg" idx="2"/>
          </p:nvPr>
        </p:nvSpPr>
        <p:spPr>
          <a:xfrm>
            <a:off x="989013" y="698500"/>
            <a:ext cx="5032375" cy="3484563"/>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701041" y="4415791"/>
            <a:ext cx="5608320" cy="4183381"/>
          </a:xfrm>
          <a:prstGeom prst="rect">
            <a:avLst/>
          </a:prstGeom>
        </p:spPr>
        <p:txBody>
          <a:bodyPr vert="horz" lIns="96721" tIns="48361" rIns="96721" bIns="4836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4821"/>
          </a:xfrm>
          <a:prstGeom prst="rect">
            <a:avLst/>
          </a:prstGeom>
        </p:spPr>
        <p:txBody>
          <a:bodyPr vert="horz" lIns="96721" tIns="48361" rIns="96721" bIns="48361" rtlCol="0" anchor="b"/>
          <a:lstStyle>
            <a:lvl1pPr algn="l">
              <a:defRPr sz="800"/>
            </a:lvl1pPr>
          </a:lstStyle>
          <a:p>
            <a:r>
              <a:rPr lang="en-US"/>
              <a:t>GLOBAL TEMPLATE_3.PPTX</a:t>
            </a:r>
          </a:p>
        </p:txBody>
      </p:sp>
      <p:sp>
        <p:nvSpPr>
          <p:cNvPr id="7" name="Slide Number Placeholder 6"/>
          <p:cNvSpPr>
            <a:spLocks noGrp="1"/>
          </p:cNvSpPr>
          <p:nvPr>
            <p:ph type="sldNum" sz="quarter" idx="5"/>
          </p:nvPr>
        </p:nvSpPr>
        <p:spPr>
          <a:xfrm>
            <a:off x="3970939" y="8829968"/>
            <a:ext cx="3037840" cy="46482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930130023"/>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US" dirty="0">
                <a:solidFill>
                  <a:prstClr val="black"/>
                </a:solidFill>
              </a:rPr>
              <a:t>© 2011 Capgemini - All rights reserved</a:t>
            </a:r>
            <a:endParaRPr lang="en-GB" dirty="0">
              <a:solidFill>
                <a:prstClr val="black"/>
              </a:solidFill>
            </a:endParaRPr>
          </a:p>
        </p:txBody>
      </p:sp>
      <p:sp>
        <p:nvSpPr>
          <p:cNvPr id="6" name="Rectangle 10"/>
          <p:cNvSpPr>
            <a:spLocks noGrp="1" noChangeArrowheads="1"/>
          </p:cNvSpPr>
          <p:nvPr>
            <p:ph type="sldNum" sz="quarter" idx="5"/>
          </p:nvPr>
        </p:nvSpPr>
        <p:spPr>
          <a:ln/>
        </p:spPr>
        <p:txBody>
          <a:bodyPr/>
          <a:lstStyle/>
          <a:p>
            <a:fld id="{6CA9F1E7-EE69-4337-96AB-578367C10ECA}" type="slidenum">
              <a:rPr lang="en-GB">
                <a:solidFill>
                  <a:prstClr val="black"/>
                </a:solidFill>
              </a:rPr>
              <a:pPr/>
              <a:t>1</a:t>
            </a:fld>
            <a:endParaRPr lang="en-GB" dirty="0">
              <a:solidFill>
                <a:prstClr val="black"/>
              </a:solidFill>
            </a:endParaRPr>
          </a:p>
        </p:txBody>
      </p:sp>
      <p:sp>
        <p:nvSpPr>
          <p:cNvPr id="494598" name="Rectangle 6"/>
          <p:cNvSpPr>
            <a:spLocks noGrp="1" noRot="1" noChangeAspect="1" noChangeArrowheads="1" noTextEdit="1"/>
          </p:cNvSpPr>
          <p:nvPr>
            <p:ph type="sldImg"/>
          </p:nvPr>
        </p:nvSpPr>
        <p:spPr>
          <a:xfrm>
            <a:off x="993775" y="700088"/>
            <a:ext cx="5030788" cy="3482975"/>
          </a:xfrm>
          <a:ln/>
        </p:spPr>
      </p:sp>
      <p:sp>
        <p:nvSpPr>
          <p:cNvPr id="494599" name="Rectangle 7"/>
          <p:cNvSpPr>
            <a:spLocks noGrp="1" noChangeArrowheads="1"/>
          </p:cNvSpPr>
          <p:nvPr>
            <p:ph type="body" idx="1"/>
          </p:nvPr>
        </p:nvSpPr>
        <p:spPr/>
        <p:txBody>
          <a:bodyPr/>
          <a:lstStyle/>
          <a:p>
            <a:endParaRPr lang="en-US" dirty="0"/>
          </a:p>
        </p:txBody>
      </p:sp>
      <p:sp>
        <p:nvSpPr>
          <p:cNvPr id="7" name="Date Placeholder 6"/>
          <p:cNvSpPr>
            <a:spLocks noGrp="1"/>
          </p:cNvSpPr>
          <p:nvPr>
            <p:ph type="dt" idx="10"/>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1801372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8500"/>
            <a:ext cx="5032375" cy="3484563"/>
          </a:xfrm>
        </p:spPr>
      </p:sp>
      <p:sp>
        <p:nvSpPr>
          <p:cNvPr id="3" name="Notes Placeholder 2"/>
          <p:cNvSpPr>
            <a:spLocks noGrp="1"/>
          </p:cNvSpPr>
          <p:nvPr>
            <p:ph type="body" idx="1"/>
          </p:nvPr>
        </p:nvSpPr>
        <p:spPr/>
        <p:txBody>
          <a:bodyPr/>
          <a:lstStyle/>
          <a:p>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They say you get out what you put in. Your contribution to the business helps define our overall success and also your personal success. </a:t>
            </a:r>
          </a:p>
          <a:p>
            <a:r>
              <a:rPr lang="en-US" sz="1200" b="0" i="0" u="none" strike="noStrike" kern="1200" baseline="0">
                <a:solidFill>
                  <a:schemeClr val="tx1"/>
                </a:solidFill>
                <a:latin typeface="+mn-lt"/>
                <a:ea typeface="+mn-ea"/>
                <a:cs typeface="+mn-cs"/>
              </a:rPr>
              <a:t>Our Performance Management process is designed to </a:t>
            </a:r>
            <a:r>
              <a:rPr lang="en-US" sz="1200" b="1" i="0" u="none" strike="noStrike" kern="1200" baseline="0">
                <a:solidFill>
                  <a:schemeClr val="tx1"/>
                </a:solidFill>
                <a:latin typeface="+mn-lt"/>
                <a:ea typeface="+mn-ea"/>
                <a:cs typeface="+mn-cs"/>
              </a:rPr>
              <a:t>help you understand what we expect from you. </a:t>
            </a:r>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Step 1: Objective setting Step 2: Mid-Year Assessment Step 3: End of Year Assessment </a:t>
            </a:r>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You will </a:t>
            </a:r>
            <a:r>
              <a:rPr lang="en-US" sz="1200" b="1" i="0" u="none" strike="noStrike" kern="1200" baseline="0">
                <a:solidFill>
                  <a:schemeClr val="tx1"/>
                </a:solidFill>
                <a:latin typeface="+mn-lt"/>
                <a:ea typeface="+mn-ea"/>
                <a:cs typeface="+mn-cs"/>
              </a:rPr>
              <a:t>receive regular feedback on activities </a:t>
            </a:r>
            <a:r>
              <a:rPr lang="en-US" sz="1200" b="0" i="0" u="none" strike="noStrike" kern="1200" baseline="0">
                <a:solidFill>
                  <a:schemeClr val="tx1"/>
                </a:solidFill>
                <a:latin typeface="+mn-lt"/>
                <a:ea typeface="+mn-ea"/>
                <a:cs typeface="+mn-cs"/>
              </a:rPr>
              <a:t>which are going well and coaching on areas where you can improve and continue to develop. </a:t>
            </a:r>
          </a:p>
          <a:p>
            <a:r>
              <a:rPr lang="en-US" sz="1200" b="0" i="0" u="none" strike="noStrike" kern="1200" baseline="0">
                <a:solidFill>
                  <a:schemeClr val="tx1"/>
                </a:solidFill>
                <a:latin typeface="+mn-lt"/>
                <a:ea typeface="+mn-ea"/>
                <a:cs typeface="+mn-cs"/>
              </a:rPr>
              <a:t>At the </a:t>
            </a:r>
            <a:r>
              <a:rPr lang="en-US" sz="1200" b="1" i="0" u="none" strike="noStrike" kern="1200" baseline="0">
                <a:solidFill>
                  <a:schemeClr val="tx1"/>
                </a:solidFill>
                <a:latin typeface="+mn-lt"/>
                <a:ea typeface="+mn-ea"/>
                <a:cs typeface="+mn-cs"/>
              </a:rPr>
              <a:t>end of the year </a:t>
            </a:r>
            <a:r>
              <a:rPr lang="en-US" sz="1200" b="0" i="0" u="none" strike="noStrike" kern="1200" baseline="0">
                <a:solidFill>
                  <a:schemeClr val="tx1"/>
                </a:solidFill>
                <a:latin typeface="+mn-lt"/>
                <a:ea typeface="+mn-ea"/>
                <a:cs typeface="+mn-cs"/>
              </a:rPr>
              <a:t>you will </a:t>
            </a:r>
            <a:r>
              <a:rPr lang="en-US" sz="1200" b="1" i="0" u="none" strike="noStrike" kern="1200" baseline="0">
                <a:solidFill>
                  <a:schemeClr val="tx1"/>
                </a:solidFill>
                <a:latin typeface="+mn-lt"/>
                <a:ea typeface="+mn-ea"/>
                <a:cs typeface="+mn-cs"/>
              </a:rPr>
              <a:t>receive a formal evaluation of your overall performance for the year. </a:t>
            </a:r>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Our aim is to ensure that these reviews are conducted in a </a:t>
            </a:r>
            <a:r>
              <a:rPr lang="en-US" sz="1200" b="1" i="0" u="none" strike="noStrike" kern="1200" baseline="0">
                <a:solidFill>
                  <a:schemeClr val="tx1"/>
                </a:solidFill>
                <a:latin typeface="+mn-lt"/>
                <a:ea typeface="+mn-ea"/>
                <a:cs typeface="+mn-cs"/>
              </a:rPr>
              <a:t>spirit of honesty, openness and collaboration. </a:t>
            </a:r>
            <a:endParaRPr lang="en-US" sz="1200" b="0" i="0" u="none" strike="noStrike" kern="1200" baseline="0">
              <a:solidFill>
                <a:schemeClr val="tx1"/>
              </a:solidFill>
              <a:latin typeface="+mn-lt"/>
              <a:ea typeface="+mn-ea"/>
              <a:cs typeface="+mn-cs"/>
            </a:endParaRPr>
          </a:p>
          <a:p>
            <a:endParaRPr lang="en-US" sz="1200" b="0" i="0" u="none" strike="noStrike" kern="1200" baseline="0">
              <a:solidFill>
                <a:schemeClr val="tx1"/>
              </a:solidFill>
              <a:latin typeface="+mn-lt"/>
              <a:ea typeface="+mn-ea"/>
              <a:cs typeface="+mn-cs"/>
            </a:endParaRPr>
          </a:p>
          <a:p>
            <a:r>
              <a:rPr lang="en-US" sz="1200" b="1" i="0" u="none" strike="noStrike" kern="1200" baseline="0" err="1">
                <a:solidFill>
                  <a:schemeClr val="tx1"/>
                </a:solidFill>
                <a:latin typeface="+mn-lt"/>
                <a:ea typeface="+mn-ea"/>
                <a:cs typeface="+mn-cs"/>
              </a:rPr>
              <a:t>MyPath</a:t>
            </a:r>
            <a:r>
              <a:rPr lang="en-US" sz="1200" b="1" i="0" u="none" strike="noStrike" kern="1200" baseline="0">
                <a:solidFill>
                  <a:schemeClr val="tx1"/>
                </a:solidFill>
                <a:latin typeface="+mn-lt"/>
                <a:ea typeface="+mn-ea"/>
                <a:cs typeface="+mn-cs"/>
              </a:rPr>
              <a:t> </a:t>
            </a:r>
            <a:r>
              <a:rPr lang="en-US" sz="1200" b="0" i="0" u="none" strike="noStrike" kern="1200" baseline="0">
                <a:solidFill>
                  <a:schemeClr val="tx1"/>
                </a:solidFill>
                <a:latin typeface="+mn-lt"/>
                <a:ea typeface="+mn-ea"/>
                <a:cs typeface="+mn-cs"/>
              </a:rPr>
              <a:t>is a global tool to support the overall process. It encourages everyone to </a:t>
            </a:r>
            <a:r>
              <a:rPr lang="en-US" sz="1200" b="1" i="0" u="none" strike="noStrike" kern="1200" baseline="0">
                <a:solidFill>
                  <a:schemeClr val="tx1"/>
                </a:solidFill>
                <a:latin typeface="+mn-lt"/>
                <a:ea typeface="+mn-ea"/>
                <a:cs typeface="+mn-cs"/>
              </a:rPr>
              <a:t>seek and act upon feedback </a:t>
            </a:r>
            <a:r>
              <a:rPr lang="en-US" sz="1200" b="0" i="0" u="none" strike="noStrike" kern="1200" baseline="0">
                <a:solidFill>
                  <a:schemeClr val="tx1"/>
                </a:solidFill>
                <a:latin typeface="+mn-lt"/>
                <a:ea typeface="+mn-ea"/>
                <a:cs typeface="+mn-cs"/>
              </a:rPr>
              <a:t>throughout the performance year.</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val="2598136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At Capgemini – at every grade, on every assignment, you need to demonstrate leadership. It’s how we harness the energy of disruption. </a:t>
            </a:r>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Our leadership model has </a:t>
            </a:r>
            <a:r>
              <a:rPr lang="en-US" sz="1200" b="1" i="0" u="none" strike="noStrike" kern="1200" baseline="0">
                <a:solidFill>
                  <a:schemeClr val="tx1"/>
                </a:solidFill>
                <a:latin typeface="+mn-lt"/>
                <a:ea typeface="+mn-ea"/>
                <a:cs typeface="+mn-cs"/>
              </a:rPr>
              <a:t>six building blocks, </a:t>
            </a:r>
            <a:r>
              <a:rPr lang="en-US" sz="1200" b="0" i="0" u="none" strike="noStrike" kern="1200" baseline="0">
                <a:solidFill>
                  <a:schemeClr val="tx1"/>
                </a:solidFill>
                <a:latin typeface="+mn-lt"/>
                <a:ea typeface="+mn-ea"/>
                <a:cs typeface="+mn-cs"/>
              </a:rPr>
              <a:t>requiring you to be a: Business builder, Profit shaper, People developer, Active connector, Agile player and </a:t>
            </a:r>
            <a:r>
              <a:rPr lang="en-US" sz="1200" b="1" i="0" u="none" strike="noStrike" kern="1200" baseline="0">
                <a:solidFill>
                  <a:schemeClr val="tx1"/>
                </a:solidFill>
                <a:latin typeface="+mn-lt"/>
                <a:ea typeface="+mn-ea"/>
                <a:cs typeface="+mn-cs"/>
              </a:rPr>
              <a:t>show our special quality of La </a:t>
            </a:r>
            <a:r>
              <a:rPr lang="en-US" sz="1200" b="1" i="0" u="none" strike="noStrike" kern="1200" baseline="0" err="1">
                <a:solidFill>
                  <a:schemeClr val="tx1"/>
                </a:solidFill>
                <a:latin typeface="+mn-lt"/>
                <a:ea typeface="+mn-ea"/>
                <a:cs typeface="+mn-cs"/>
              </a:rPr>
              <a:t>Niaque</a:t>
            </a:r>
            <a:r>
              <a:rPr lang="en-US" sz="1200" b="1" i="0" u="none" strike="noStrike" kern="1200" baseline="0">
                <a:solidFill>
                  <a:schemeClr val="tx1"/>
                </a:solidFill>
                <a:latin typeface="+mn-lt"/>
                <a:ea typeface="+mn-ea"/>
                <a:cs typeface="+mn-cs"/>
              </a:rPr>
              <a:t>. </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a:p>
        </p:txBody>
      </p:sp>
    </p:spTree>
    <p:extLst>
      <p:ext uri="{BB962C8B-B14F-4D97-AF65-F5344CB8AC3E}">
        <p14:creationId xmlns:p14="http://schemas.microsoft.com/office/powerpoint/2010/main" val="573411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33329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a:ea typeface="+mn-ea"/>
                <a:cs typeface="+mn-cs"/>
              </a:rPr>
              <a:t>© 2011 Capgemini - All rights reserved</a:t>
            </a:r>
            <a:endParaRPr kumimoji="0" lang="en-GB" sz="800" b="0" i="0" u="none" strike="noStrike" kern="1200" cap="none" spc="0" normalizeH="0" baseline="0" noProof="0">
              <a:ln>
                <a:noFill/>
              </a:ln>
              <a:solidFill>
                <a:prstClr val="black"/>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57756" rtl="0" eaLnBrk="1" fontAlgn="auto" latinLnBrk="0" hangingPunct="1">
              <a:lnSpc>
                <a:spcPct val="100000"/>
              </a:lnSpc>
              <a:spcBef>
                <a:spcPts val="0"/>
              </a:spcBef>
              <a:spcAft>
                <a:spcPts val="0"/>
              </a:spcAft>
              <a:buClrTx/>
              <a:buSzTx/>
              <a:buFontTx/>
              <a:buNone/>
              <a:tabLst/>
              <a:defRPr/>
            </a:pPr>
            <a:fld id="{68DFEEDA-D071-42C1-9D96-07A575D20E05}" type="slidenum">
              <a:rPr kumimoji="0" lang="en-GB" sz="8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57756"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a:ln>
                <a:noFill/>
              </a:ln>
              <a:solidFill>
                <a:prstClr val="black"/>
              </a:solidFill>
              <a:effectLst/>
              <a:uLnTx/>
              <a:uFillTx/>
              <a:latin typeface="Arial"/>
              <a:ea typeface="+mn-ea"/>
              <a:cs typeface="+mn-cs"/>
            </a:endParaRPr>
          </a:p>
        </p:txBody>
      </p:sp>
      <p:sp>
        <p:nvSpPr>
          <p:cNvPr id="6" name="Date Placeholder 5"/>
          <p:cNvSpPr>
            <a:spLocks noGrp="1"/>
          </p:cNvSpPr>
          <p:nvPr>
            <p:ph type="dt" idx="12"/>
          </p:nvPr>
        </p:nvSpPr>
        <p:spPr/>
        <p:txBody>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 2011 Capgemini - All rights reserved</a:t>
            </a:r>
          </a:p>
        </p:txBody>
      </p:sp>
    </p:spTree>
    <p:extLst>
      <p:ext uri="{BB962C8B-B14F-4D97-AF65-F5344CB8AC3E}">
        <p14:creationId xmlns:p14="http://schemas.microsoft.com/office/powerpoint/2010/main" val="2406391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The framework relies on:</a:t>
            </a:r>
          </a:p>
          <a:p>
            <a:pPr marL="228600" indent="-228600">
              <a:buAutoNum type="arabicPeriod"/>
            </a:pPr>
            <a:r>
              <a:rPr lang="en-US" sz="1200" b="1" i="0" u="none" strike="noStrike" kern="1200" baseline="0">
                <a:solidFill>
                  <a:schemeClr val="tx1"/>
                </a:solidFill>
                <a:latin typeface="+mn-lt"/>
                <a:ea typeface="+mn-ea"/>
                <a:cs typeface="+mn-cs"/>
              </a:rPr>
              <a:t>Roles</a:t>
            </a:r>
          </a:p>
          <a:p>
            <a:pPr marL="228600" indent="-228600">
              <a:buAutoNum type="arabicPeriod"/>
            </a:pPr>
            <a:r>
              <a:rPr lang="en-US" sz="1200" b="1" i="0" u="none" strike="noStrike" kern="1200" baseline="0">
                <a:solidFill>
                  <a:schemeClr val="tx1"/>
                </a:solidFill>
                <a:latin typeface="+mn-lt"/>
                <a:ea typeface="+mn-ea"/>
                <a:cs typeface="+mn-cs"/>
              </a:rPr>
              <a:t>Grades</a:t>
            </a:r>
          </a:p>
          <a:p>
            <a:pPr marL="228600" indent="-228600">
              <a:buAutoNum type="arabicPeriod"/>
            </a:pPr>
            <a:r>
              <a:rPr lang="en-US" sz="1200" b="1" i="0" u="none" strike="noStrike" kern="1200" baseline="0">
                <a:solidFill>
                  <a:schemeClr val="tx1"/>
                </a:solidFill>
                <a:latin typeface="+mn-lt"/>
                <a:ea typeface="+mn-ea"/>
                <a:cs typeface="+mn-cs"/>
              </a:rPr>
              <a:t>Competency models</a:t>
            </a:r>
          </a:p>
          <a:p>
            <a:pPr marL="228600" indent="-228600">
              <a:buAutoNum type="arabicPeriod"/>
            </a:pPr>
            <a:r>
              <a:rPr lang="en-US" sz="1200" b="1" i="0" u="none" strike="noStrike" kern="1200" baseline="0">
                <a:solidFill>
                  <a:schemeClr val="tx1"/>
                </a:solidFill>
                <a:latin typeface="+mn-lt"/>
                <a:ea typeface="+mn-ea"/>
                <a:cs typeface="+mn-cs"/>
              </a:rPr>
              <a:t>Promotion criteria</a:t>
            </a:r>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It defines and describes your role, ensuring you understand the competencies you need to succeed in it, the grade you’re at now and </a:t>
            </a:r>
            <a:r>
              <a:rPr lang="en-US" sz="1200" b="1" i="0" u="none" strike="noStrike" kern="1200" baseline="0">
                <a:solidFill>
                  <a:schemeClr val="tx1"/>
                </a:solidFill>
                <a:latin typeface="+mn-lt"/>
                <a:ea typeface="+mn-ea"/>
                <a:cs typeface="+mn-cs"/>
              </a:rPr>
              <a:t>what you need to achieve to take the next step in your career. </a:t>
            </a:r>
          </a:p>
          <a:p>
            <a:endParaRPr lang="en-US" sz="1200" b="1" i="0" u="none" strike="noStrike" kern="1200" baseline="0">
              <a:solidFill>
                <a:schemeClr val="tx1"/>
              </a:solidFill>
              <a:latin typeface="+mn-lt"/>
              <a:ea typeface="+mn-ea"/>
              <a:cs typeface="+mn-cs"/>
            </a:endParaRPr>
          </a:p>
          <a:p>
            <a:pPr marL="0" marR="0" indent="0" algn="l" defTabSz="914342" rtl="0" eaLnBrk="1" fontAlgn="auto" latinLnBrk="0" hangingPunct="1">
              <a:lnSpc>
                <a:spcPct val="90000"/>
              </a:lnSpc>
              <a:spcBef>
                <a:spcPts val="0"/>
              </a:spcBef>
              <a:spcAft>
                <a:spcPts val="400"/>
              </a:spcAft>
              <a:buClrTx/>
              <a:buSzTx/>
              <a:buFontTx/>
              <a:buNone/>
              <a:tabLst/>
              <a:defRPr/>
            </a:pPr>
            <a:r>
              <a:rPr lang="en-US">
                <a:solidFill>
                  <a:prstClr val="black"/>
                </a:solidFill>
                <a:latin typeface="Arial" pitchFamily="34" charset="0"/>
                <a:cs typeface="Arial" pitchFamily="34" charset="0"/>
              </a:rPr>
              <a:t>The Career Framework is like a GPS for your career. </a:t>
            </a:r>
          </a:p>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a:p>
        </p:txBody>
      </p:sp>
    </p:spTree>
    <p:extLst>
      <p:ext uri="{BB962C8B-B14F-4D97-AF65-F5344CB8AC3E}">
        <p14:creationId xmlns:p14="http://schemas.microsoft.com/office/powerpoint/2010/main" val="1813977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700088"/>
            <a:ext cx="5030788" cy="3482975"/>
          </a:xfrm>
        </p:spPr>
      </p:sp>
      <p:sp>
        <p:nvSpPr>
          <p:cNvPr id="3" name="Notes Placeholder 2"/>
          <p:cNvSpPr>
            <a:spLocks noGrp="1"/>
          </p:cNvSpPr>
          <p:nvPr>
            <p:ph type="body" idx="1"/>
          </p:nvPr>
        </p:nvSpPr>
        <p:spPr/>
        <p:txBody>
          <a:bodyPr>
            <a:normAutofit/>
          </a:bodyPr>
          <a:lstStyle/>
          <a:p>
            <a:r>
              <a:rPr lang="en-US"/>
              <a:t>Pepper, the robot at Les </a:t>
            </a:r>
            <a:r>
              <a:rPr lang="en-US" err="1"/>
              <a:t>Fontaines</a:t>
            </a:r>
            <a:endParaRPr lang="en-US"/>
          </a:p>
        </p:txBody>
      </p:sp>
      <p:sp>
        <p:nvSpPr>
          <p:cNvPr id="4" name="Footer Placeholder 3"/>
          <p:cNvSpPr>
            <a:spLocks noGrp="1"/>
          </p:cNvSpPr>
          <p:nvPr>
            <p:ph type="ftr" sz="quarter" idx="10"/>
          </p:nvPr>
        </p:nvSpPr>
        <p:spPr/>
        <p:txBody>
          <a:bodyPr/>
          <a:lstStyle/>
          <a:p>
            <a:r>
              <a:rPr lang="en-US">
                <a:solidFill>
                  <a:prstClr val="black"/>
                </a:solidFill>
              </a:rPr>
              <a:t>© 2011 Capgemini - All rights reserved</a:t>
            </a:r>
            <a:endParaRPr lang="en-GB">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8</a:t>
            </a:fld>
            <a:endParaRPr lang="en-GB">
              <a:solidFill>
                <a:prstClr val="black"/>
              </a:solidFill>
            </a:endParaRPr>
          </a:p>
        </p:txBody>
      </p:sp>
      <p:sp>
        <p:nvSpPr>
          <p:cNvPr id="6" name="Date Placeholder 5"/>
          <p:cNvSpPr>
            <a:spLocks noGrp="1"/>
          </p:cNvSpPr>
          <p:nvPr>
            <p:ph type="dt" idx="12"/>
          </p:nvPr>
        </p:nvSpPr>
        <p:spPr/>
        <p:txBody>
          <a:bodyPr/>
          <a:lstStyle/>
          <a:p>
            <a:r>
              <a:rPr lang="en-US">
                <a:solidFill>
                  <a:prstClr val="black"/>
                </a:solidFill>
              </a:rPr>
              <a:t>© 2011 Capgemini - All rights reserved</a:t>
            </a:r>
          </a:p>
        </p:txBody>
      </p:sp>
    </p:spTree>
    <p:extLst>
      <p:ext uri="{BB962C8B-B14F-4D97-AF65-F5344CB8AC3E}">
        <p14:creationId xmlns:p14="http://schemas.microsoft.com/office/powerpoint/2010/main" val="1904962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Key Points:</a:t>
            </a:r>
          </a:p>
          <a:p>
            <a:pPr>
              <a:buFont typeface="Arial" pitchFamily="34" charset="0"/>
              <a:buChar char="•"/>
            </a:pPr>
            <a:r>
              <a:rPr lang="en-US" dirty="0"/>
              <a:t>Approach every situation as an opportunity to sell yourself</a:t>
            </a:r>
          </a:p>
          <a:p>
            <a:pPr>
              <a:buFont typeface="Arial" pitchFamily="34" charset="0"/>
              <a:buChar char="•"/>
            </a:pPr>
            <a:r>
              <a:rPr lang="en-US" dirty="0"/>
              <a:t>Remain professional in all engagements with a client</a:t>
            </a:r>
          </a:p>
          <a:p>
            <a:pPr>
              <a:buFont typeface="Arial" pitchFamily="34" charset="0"/>
              <a:buChar char="•"/>
            </a:pPr>
            <a:r>
              <a:rPr lang="en-US" dirty="0"/>
              <a:t>Consultants need to always “add value”</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8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pt-BR" sz="800" b="1"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71798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Espace réservé de l'image des diapositives 1"/>
          <p:cNvSpPr>
            <a:spLocks noGrp="1" noRot="1" noChangeAspect="1" noTextEdit="1"/>
          </p:cNvSpPr>
          <p:nvPr>
            <p:ph type="sldImg"/>
          </p:nvPr>
        </p:nvSpPr>
        <p:spPr>
          <a:xfrm>
            <a:off x="819150" y="581025"/>
            <a:ext cx="5372100" cy="3719513"/>
          </a:xfrm>
          <a:ln/>
        </p:spPr>
      </p:sp>
      <p:sp>
        <p:nvSpPr>
          <p:cNvPr id="21506" name="Espace réservé des commentaires 2"/>
          <p:cNvSpPr>
            <a:spLocks noGrp="1"/>
          </p:cNvSpPr>
          <p:nvPr>
            <p:ph type="body" idx="1"/>
          </p:nvPr>
        </p:nvSpPr>
        <p:spPr>
          <a:noFill/>
          <a:ln/>
        </p:spPr>
        <p:txBody>
          <a:bodyPr/>
          <a:lstStyle/>
          <a:p>
            <a:endParaRPr lang="en-US"/>
          </a:p>
        </p:txBody>
      </p:sp>
      <p:sp>
        <p:nvSpPr>
          <p:cNvPr id="21507" name="Espace réservé du numéro de diapositive 6"/>
          <p:cNvSpPr>
            <a:spLocks noGrp="1"/>
          </p:cNvSpPr>
          <p:nvPr>
            <p:ph type="sldNum" sz="quarter" idx="5"/>
          </p:nvPr>
        </p:nvSpPr>
        <p:spPr>
          <a:noFill/>
        </p:spPr>
        <p:txBody>
          <a:bodyPr/>
          <a:lstStyle/>
          <a:p>
            <a:pPr defTabSz="965075"/>
            <a:fld id="{74DC2631-B627-4C1F-80C7-6467B58B51D3}" type="slidenum">
              <a:rPr lang="fr-FR" smtClean="0"/>
              <a:pPr defTabSz="965075"/>
              <a:t>3</a:t>
            </a:fld>
            <a:endParaRPr lang="fr-FR"/>
          </a:p>
        </p:txBody>
      </p:sp>
      <p:sp>
        <p:nvSpPr>
          <p:cNvPr id="21508" name="Espace réservé du pied de page 7"/>
          <p:cNvSpPr>
            <a:spLocks noGrp="1"/>
          </p:cNvSpPr>
          <p:nvPr>
            <p:ph type="ftr" sz="quarter" idx="4"/>
          </p:nvPr>
        </p:nvSpPr>
        <p:spPr>
          <a:noFill/>
        </p:spPr>
        <p:txBody>
          <a:bodyPr/>
          <a:lstStyle/>
          <a:p>
            <a:pPr defTabSz="965075"/>
            <a:r>
              <a:rPr lang="en-US"/>
              <a:t>© 2010 Capgemini. All rights reserved.</a:t>
            </a:r>
            <a:endParaRPr lang="fr-FR"/>
          </a:p>
        </p:txBody>
      </p:sp>
      <p:sp>
        <p:nvSpPr>
          <p:cNvPr id="21509" name="Espace réservé de l'en-tête 8"/>
          <p:cNvSpPr>
            <a:spLocks noGrp="1"/>
          </p:cNvSpPr>
          <p:nvPr>
            <p:ph type="hdr" sz="quarter"/>
          </p:nvPr>
        </p:nvSpPr>
        <p:spPr>
          <a:noFill/>
        </p:spPr>
        <p:txBody>
          <a:bodyPr/>
          <a:lstStyle/>
          <a:p>
            <a:pPr defTabSz="965075"/>
            <a:endParaRPr lang="en-US"/>
          </a:p>
        </p:txBody>
      </p:sp>
    </p:spTree>
    <p:extLst>
      <p:ext uri="{BB962C8B-B14F-4D97-AF65-F5344CB8AC3E}">
        <p14:creationId xmlns:p14="http://schemas.microsoft.com/office/powerpoint/2010/main" val="3263918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8063" y="703263"/>
            <a:ext cx="5059362" cy="3503612"/>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 </a:t>
            </a:r>
            <a:r>
              <a:rPr lang="en-US" sz="1200" b="1" i="0" u="none" strike="noStrike" kern="1200" baseline="0">
                <a:solidFill>
                  <a:schemeClr val="tx1"/>
                </a:solidFill>
                <a:latin typeface="+mn-lt"/>
                <a:ea typeface="+mn-ea"/>
                <a:cs typeface="+mn-cs"/>
              </a:rPr>
              <a:t>Our people should grow: </a:t>
            </a:r>
            <a:r>
              <a:rPr lang="en-US" sz="1200" b="0" i="0" u="none" strike="noStrike" kern="1200" baseline="0">
                <a:solidFill>
                  <a:schemeClr val="tx1"/>
                </a:solidFill>
                <a:latin typeface="+mn-lt"/>
                <a:ea typeface="+mn-ea"/>
                <a:cs typeface="+mn-cs"/>
              </a:rPr>
              <a:t>building your skills, your abilities, your ambitions is important – when you benefit, we benefit</a:t>
            </a:r>
          </a:p>
          <a:p>
            <a:r>
              <a:rPr lang="en-US" sz="1200" b="0" i="0" u="none" strike="noStrike" kern="1200" baseline="0">
                <a:solidFill>
                  <a:schemeClr val="tx1"/>
                </a:solidFill>
                <a:latin typeface="+mn-lt"/>
                <a:ea typeface="+mn-ea"/>
                <a:cs typeface="+mn-cs"/>
              </a:rPr>
              <a:t>– </a:t>
            </a:r>
            <a:r>
              <a:rPr lang="en-US" sz="1200" b="1" i="0" u="none" strike="noStrike" kern="1200" baseline="0">
                <a:solidFill>
                  <a:schemeClr val="tx1"/>
                </a:solidFill>
                <a:latin typeface="+mn-lt"/>
                <a:ea typeface="+mn-ea"/>
                <a:cs typeface="+mn-cs"/>
              </a:rPr>
              <a:t>You own your career: </a:t>
            </a:r>
            <a:r>
              <a:rPr lang="en-US" sz="1200" b="0" i="0" u="none" strike="noStrike" kern="1200" baseline="0">
                <a:solidFill>
                  <a:schemeClr val="tx1"/>
                </a:solidFill>
                <a:latin typeface="+mn-lt"/>
                <a:ea typeface="+mn-ea"/>
                <a:cs typeface="+mn-cs"/>
              </a:rPr>
              <a:t>we’ll provide you with the tools and framework, but it’s up to you to drive it</a:t>
            </a:r>
          </a:p>
          <a:p>
            <a:r>
              <a:rPr lang="en-US" sz="1200" b="0" i="0" u="none" strike="noStrike" kern="1200" baseline="0">
                <a:solidFill>
                  <a:schemeClr val="tx1"/>
                </a:solidFill>
                <a:latin typeface="+mn-lt"/>
                <a:ea typeface="+mn-ea"/>
                <a:cs typeface="+mn-cs"/>
              </a:rPr>
              <a:t>– </a:t>
            </a:r>
            <a:r>
              <a:rPr lang="en-US" sz="1200" b="1" i="0" u="none" strike="noStrike" kern="1200" baseline="0">
                <a:solidFill>
                  <a:schemeClr val="tx1"/>
                </a:solidFill>
                <a:latin typeface="+mn-lt"/>
                <a:ea typeface="+mn-ea"/>
                <a:cs typeface="+mn-cs"/>
              </a:rPr>
              <a:t>There’s no ‘one way’: we’ll give you the opportunity to </a:t>
            </a:r>
            <a:r>
              <a:rPr lang="en-US" sz="1200" b="0" i="0" u="none" strike="noStrike" kern="1200" baseline="0">
                <a:solidFill>
                  <a:schemeClr val="tx1"/>
                </a:solidFill>
                <a:latin typeface="+mn-lt"/>
                <a:ea typeface="+mn-ea"/>
                <a:cs typeface="+mn-cs"/>
              </a:rPr>
              <a:t>take your career in the direction you want. </a:t>
            </a:r>
            <a:endParaRPr lang="en-US"/>
          </a:p>
        </p:txBody>
      </p:sp>
      <p:sp>
        <p:nvSpPr>
          <p:cNvPr id="4" name="Slide Number Placeholder 3"/>
          <p:cNvSpPr>
            <a:spLocks noGrp="1"/>
          </p:cNvSpPr>
          <p:nvPr>
            <p:ph type="sldNum" sz="quarter" idx="10"/>
          </p:nvPr>
        </p:nvSpPr>
        <p:spPr/>
        <p:txBody>
          <a:bodyPr/>
          <a:lstStyle/>
          <a:p>
            <a:pPr defTabSz="969441">
              <a:defRPr/>
            </a:pPr>
            <a:fld id="{71E7D22E-2FCF-4181-8686-08BDCDF94062}" type="slidenum">
              <a:rPr lang="en-US" sz="1300">
                <a:solidFill>
                  <a:prstClr val="black"/>
                </a:solidFill>
                <a:latin typeface="Calibri"/>
              </a:rPr>
              <a:pPr defTabSz="969441">
                <a:defRPr/>
              </a:pPr>
              <a:t>4</a:t>
            </a:fld>
            <a:endParaRPr lang="en-US" sz="1300">
              <a:solidFill>
                <a:prstClr val="black"/>
              </a:solidFill>
              <a:latin typeface="Calibri"/>
            </a:endParaRPr>
          </a:p>
        </p:txBody>
      </p:sp>
    </p:spTree>
    <p:extLst>
      <p:ext uri="{BB962C8B-B14F-4D97-AF65-F5344CB8AC3E}">
        <p14:creationId xmlns:p14="http://schemas.microsoft.com/office/powerpoint/2010/main" val="4082795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The framework relies on:</a:t>
            </a:r>
          </a:p>
          <a:p>
            <a:pPr marL="228600" indent="-228600">
              <a:buAutoNum type="arabicPeriod"/>
            </a:pPr>
            <a:r>
              <a:rPr lang="en-US" sz="1200" b="1" i="0" u="none" strike="noStrike" kern="1200" baseline="0">
                <a:solidFill>
                  <a:schemeClr val="tx1"/>
                </a:solidFill>
                <a:latin typeface="+mn-lt"/>
                <a:ea typeface="+mn-ea"/>
                <a:cs typeface="+mn-cs"/>
              </a:rPr>
              <a:t>Roles</a:t>
            </a:r>
          </a:p>
          <a:p>
            <a:pPr marL="228600" indent="-228600">
              <a:buAutoNum type="arabicPeriod"/>
            </a:pPr>
            <a:r>
              <a:rPr lang="en-US" sz="1200" b="1" i="0" u="none" strike="noStrike" kern="1200" baseline="0">
                <a:solidFill>
                  <a:schemeClr val="tx1"/>
                </a:solidFill>
                <a:latin typeface="+mn-lt"/>
                <a:ea typeface="+mn-ea"/>
                <a:cs typeface="+mn-cs"/>
              </a:rPr>
              <a:t>Grades</a:t>
            </a:r>
          </a:p>
          <a:p>
            <a:pPr marL="228600" indent="-228600">
              <a:buAutoNum type="arabicPeriod"/>
            </a:pPr>
            <a:r>
              <a:rPr lang="en-US" sz="1200" b="1" i="0" u="none" strike="noStrike" kern="1200" baseline="0">
                <a:solidFill>
                  <a:schemeClr val="tx1"/>
                </a:solidFill>
                <a:latin typeface="+mn-lt"/>
                <a:ea typeface="+mn-ea"/>
                <a:cs typeface="+mn-cs"/>
              </a:rPr>
              <a:t>Competency models</a:t>
            </a:r>
          </a:p>
          <a:p>
            <a:pPr marL="228600" indent="-228600">
              <a:buAutoNum type="arabicPeriod"/>
            </a:pPr>
            <a:r>
              <a:rPr lang="en-US" sz="1200" b="1" i="0" u="none" strike="noStrike" kern="1200" baseline="0">
                <a:solidFill>
                  <a:schemeClr val="tx1"/>
                </a:solidFill>
                <a:latin typeface="+mn-lt"/>
                <a:ea typeface="+mn-ea"/>
                <a:cs typeface="+mn-cs"/>
              </a:rPr>
              <a:t>Promotion criteria</a:t>
            </a:r>
            <a:endParaRPr lang="en-US" sz="1200" b="0" i="0" u="none" strike="noStrike" kern="1200" baseline="0">
              <a:solidFill>
                <a:schemeClr val="tx1"/>
              </a:solidFill>
              <a:latin typeface="+mn-lt"/>
              <a:ea typeface="+mn-ea"/>
              <a:cs typeface="+mn-cs"/>
            </a:endParaRPr>
          </a:p>
          <a:p>
            <a:r>
              <a:rPr lang="en-US" sz="1200" b="0" i="0" u="none" strike="noStrike" kern="1200" baseline="0">
                <a:solidFill>
                  <a:schemeClr val="tx1"/>
                </a:solidFill>
                <a:latin typeface="+mn-lt"/>
                <a:ea typeface="+mn-ea"/>
                <a:cs typeface="+mn-cs"/>
              </a:rPr>
              <a:t>It defines and describes your role, ensuring you understand the competencies you need to succeed in it, the grade you’re at now and </a:t>
            </a:r>
            <a:r>
              <a:rPr lang="en-US" sz="1200" b="1" i="0" u="none" strike="noStrike" kern="1200" baseline="0">
                <a:solidFill>
                  <a:schemeClr val="tx1"/>
                </a:solidFill>
                <a:latin typeface="+mn-lt"/>
                <a:ea typeface="+mn-ea"/>
                <a:cs typeface="+mn-cs"/>
              </a:rPr>
              <a:t>what you need to achieve to take the next step in your career. </a:t>
            </a:r>
          </a:p>
          <a:p>
            <a:endParaRPr lang="en-US" sz="1200" b="1" i="0" u="none" strike="noStrike" kern="1200" baseline="0">
              <a:solidFill>
                <a:schemeClr val="tx1"/>
              </a:solidFill>
              <a:latin typeface="+mn-lt"/>
              <a:ea typeface="+mn-ea"/>
              <a:cs typeface="+mn-cs"/>
            </a:endParaRPr>
          </a:p>
          <a:p>
            <a:pPr marL="0" marR="0" indent="0" algn="l" defTabSz="914342" rtl="0" eaLnBrk="1" fontAlgn="auto" latinLnBrk="0" hangingPunct="1">
              <a:lnSpc>
                <a:spcPct val="90000"/>
              </a:lnSpc>
              <a:spcBef>
                <a:spcPts val="0"/>
              </a:spcBef>
              <a:spcAft>
                <a:spcPts val="400"/>
              </a:spcAft>
              <a:buClrTx/>
              <a:buSzTx/>
              <a:buFontTx/>
              <a:buNone/>
              <a:tabLst/>
              <a:defRPr/>
            </a:pPr>
            <a:r>
              <a:rPr lang="en-US">
                <a:solidFill>
                  <a:prstClr val="black"/>
                </a:solidFill>
                <a:latin typeface="Arial" pitchFamily="34" charset="0"/>
                <a:cs typeface="Arial" pitchFamily="34" charset="0"/>
              </a:rPr>
              <a:t>The Career Framework is like a GPS for your career. </a:t>
            </a:r>
          </a:p>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3122739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8500"/>
            <a:ext cx="5032375" cy="3484563"/>
          </a:xfrm>
        </p:spPr>
      </p:sp>
      <p:sp>
        <p:nvSpPr>
          <p:cNvPr id="3" name="Notes Placeholder 2"/>
          <p:cNvSpPr>
            <a:spLocks noGrp="1"/>
          </p:cNvSpPr>
          <p:nvPr>
            <p:ph type="body" idx="1"/>
          </p:nvPr>
        </p:nvSpPr>
        <p:spPr/>
        <p:txBody>
          <a:bodyPr>
            <a:normAutofit/>
          </a:bodyPr>
          <a:lstStyle/>
          <a:p>
            <a:endParaRPr lang="en-US" b="0"/>
          </a:p>
        </p:txBody>
      </p:sp>
      <p:sp>
        <p:nvSpPr>
          <p:cNvPr id="4" name="Slide Number Placeholder 3"/>
          <p:cNvSpPr>
            <a:spLocks noGrp="1"/>
          </p:cNvSpPr>
          <p:nvPr>
            <p:ph type="sldNum" sz="quarter" idx="10"/>
          </p:nvPr>
        </p:nvSpPr>
        <p:spPr/>
        <p:txBody>
          <a:bodyPr/>
          <a:lstStyle/>
          <a:p>
            <a:fld id="{386E7E71-2691-49B6-9496-B7D48B7847A9}" type="slidenum">
              <a:rPr lang="en-US" smtClean="0"/>
              <a:pPr/>
              <a:t>6</a:t>
            </a:fld>
            <a:endParaRPr lang="en-US"/>
          </a:p>
        </p:txBody>
      </p:sp>
    </p:spTree>
    <p:extLst>
      <p:ext uri="{BB962C8B-B14F-4D97-AF65-F5344CB8AC3E}">
        <p14:creationId xmlns:p14="http://schemas.microsoft.com/office/powerpoint/2010/main" val="312778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4330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2" rtl="0" eaLnBrk="1" fontAlgn="auto" latinLnBrk="0" hangingPunct="1">
              <a:lnSpc>
                <a:spcPct val="90000"/>
              </a:lnSpc>
              <a:spcBef>
                <a:spcPts val="0"/>
              </a:spcBef>
              <a:spcAft>
                <a:spcPts val="400"/>
              </a:spcAft>
              <a:buClrTx/>
              <a:buSzTx/>
              <a:buFontTx/>
              <a:buNone/>
              <a:tabLst/>
              <a:defRPr/>
            </a:pPr>
            <a:r>
              <a:rPr lang="en-US" sz="1200" b="0" kern="1200">
                <a:ea typeface="PMingLiU"/>
                <a:cs typeface="Times New Roman" pitchFamily="18" charset="0"/>
              </a:rPr>
              <a:t>Set-up a meeting with your PM to discuss specific topics (projects, performance feedback, etc.)</a:t>
            </a:r>
          </a:p>
          <a:p>
            <a:pPr marL="0" marR="0" lvl="0" indent="0" algn="l" defTabSz="914342" rtl="0" eaLnBrk="1" fontAlgn="auto" latinLnBrk="0" hangingPunct="1">
              <a:lnSpc>
                <a:spcPct val="90000"/>
              </a:lnSpc>
              <a:spcBef>
                <a:spcPts val="0"/>
              </a:spcBef>
              <a:spcAft>
                <a:spcPts val="400"/>
              </a:spcAft>
              <a:buClrTx/>
              <a:buSzTx/>
              <a:buFontTx/>
              <a:buNone/>
              <a:tabLst/>
              <a:defRPr/>
            </a:pPr>
            <a:r>
              <a:rPr lang="en-US" sz="1200" b="0" kern="1200">
                <a:ea typeface="PMingLiU"/>
                <a:cs typeface="Times New Roman" pitchFamily="18" charset="0"/>
              </a:rPr>
              <a:t>Be prepared when having formal meetings with your PM (what are your objectives from the meeting)</a:t>
            </a:r>
          </a:p>
          <a:p>
            <a:pPr marL="0" marR="0" lvl="0" indent="0" algn="l" defTabSz="914342" rtl="0" eaLnBrk="1" fontAlgn="auto" latinLnBrk="0" hangingPunct="1">
              <a:lnSpc>
                <a:spcPct val="90000"/>
              </a:lnSpc>
              <a:spcBef>
                <a:spcPts val="0"/>
              </a:spcBef>
              <a:spcAft>
                <a:spcPts val="400"/>
              </a:spcAft>
              <a:buClrTx/>
              <a:buSzTx/>
              <a:buFontTx/>
              <a:buNone/>
              <a:tabLst/>
              <a:defRPr/>
            </a:pPr>
            <a:r>
              <a:rPr lang="en-US" sz="1200" b="1" kern="1200">
                <a:ea typeface="PMingLiU"/>
                <a:cs typeface="Times New Roman" pitchFamily="18" charset="0"/>
              </a:rPr>
              <a:t>When not staffed </a:t>
            </a:r>
            <a:r>
              <a:rPr lang="en-US" sz="1200" b="0" kern="1200">
                <a:ea typeface="PMingLiU"/>
                <a:cs typeface="Times New Roman" pitchFamily="18" charset="0"/>
              </a:rPr>
              <a:t>ask your PM for contacts, to help with work that may lead to a project</a:t>
            </a:r>
          </a:p>
          <a:p>
            <a:pPr marL="0" marR="0" lvl="0" indent="0" algn="l" defTabSz="914342" rtl="0" eaLnBrk="1" fontAlgn="auto" latinLnBrk="0" hangingPunct="1">
              <a:lnSpc>
                <a:spcPct val="90000"/>
              </a:lnSpc>
              <a:spcBef>
                <a:spcPts val="0"/>
              </a:spcBef>
              <a:spcAft>
                <a:spcPts val="400"/>
              </a:spcAft>
              <a:buClrTx/>
              <a:buSzTx/>
              <a:buFontTx/>
              <a:buNone/>
              <a:tabLst/>
              <a:defRPr/>
            </a:pPr>
            <a:endParaRPr lang="en-US" sz="1200" b="0" kern="1200">
              <a:ea typeface="PMingLiU"/>
              <a:cs typeface="Times New Roman" pitchFamily="18" charset="0"/>
            </a:endParaRPr>
          </a:p>
          <a:p>
            <a:pPr marL="0" marR="0" lvl="0" indent="0" algn="l" defTabSz="914342" rtl="0" eaLnBrk="1" fontAlgn="auto" latinLnBrk="0" hangingPunct="1">
              <a:lnSpc>
                <a:spcPct val="90000"/>
              </a:lnSpc>
              <a:spcBef>
                <a:spcPts val="0"/>
              </a:spcBef>
              <a:spcAft>
                <a:spcPts val="400"/>
              </a:spcAft>
              <a:buClrTx/>
              <a:buSzTx/>
              <a:buFontTx/>
              <a:buNone/>
              <a:tabLst/>
              <a:defRPr/>
            </a:pPr>
            <a:endParaRPr lang="en-US" sz="1200" b="0" kern="1200">
              <a:ea typeface="PMingLiU"/>
              <a:cs typeface="Times New Roman" pitchFamily="18" charset="0"/>
            </a:endParaRPr>
          </a:p>
          <a:p>
            <a:pPr marL="0" marR="0" lvl="0" indent="0" algn="l" defTabSz="914342" rtl="0" eaLnBrk="1" fontAlgn="auto" latinLnBrk="0" hangingPunct="1">
              <a:lnSpc>
                <a:spcPct val="90000"/>
              </a:lnSpc>
              <a:spcBef>
                <a:spcPts val="0"/>
              </a:spcBef>
              <a:spcAft>
                <a:spcPts val="400"/>
              </a:spcAft>
              <a:buClrTx/>
              <a:buSzTx/>
              <a:buFontTx/>
              <a:buNone/>
              <a:tabLst/>
              <a:defRPr/>
            </a:pPr>
            <a:endParaRPr lang="en-US" sz="1200" kern="1200"/>
          </a:p>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extLst>
      <p:ext uri="{BB962C8B-B14F-4D97-AF65-F5344CB8AC3E}">
        <p14:creationId xmlns:p14="http://schemas.microsoft.com/office/powerpoint/2010/main" val="1742640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phasize that 3 is really good.</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val="902710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2" rtl="0" eaLnBrk="1" fontAlgn="auto" latinLnBrk="0" hangingPunct="1">
              <a:lnSpc>
                <a:spcPct val="90000"/>
              </a:lnSpc>
              <a:spcBef>
                <a:spcPts val="100"/>
              </a:spcBef>
              <a:spcAft>
                <a:spcPts val="100"/>
              </a:spcAft>
              <a:buClr>
                <a:schemeClr val="tx1"/>
              </a:buClr>
              <a:buSzTx/>
              <a:buFont typeface="Wingdings" pitchFamily="2" charset="2"/>
              <a:buNone/>
              <a:tabLst/>
              <a:defRPr/>
            </a:pPr>
            <a:r>
              <a:rPr lang="en-US" sz="1100">
                <a:latin typeface="Arial" charset="0"/>
              </a:rPr>
              <a:t>Please mention we use a tool for Talent Management.</a:t>
            </a:r>
          </a:p>
          <a:p>
            <a:pPr marL="0" lvl="0" indent="0" algn="l">
              <a:spcBef>
                <a:spcPts val="100"/>
              </a:spcBef>
              <a:spcAft>
                <a:spcPts val="100"/>
              </a:spcAft>
              <a:buClr>
                <a:schemeClr val="tx1"/>
              </a:buClr>
              <a:buFont typeface="Wingdings" pitchFamily="2" charset="2"/>
              <a:buNone/>
            </a:pPr>
            <a:r>
              <a:rPr lang="en-US" sz="1100">
                <a:latin typeface="Arial" charset="0"/>
              </a:rPr>
              <a:t>Talent Management</a:t>
            </a:r>
          </a:p>
          <a:p>
            <a:pPr marL="114300" lvl="0" indent="-114300" algn="l">
              <a:spcBef>
                <a:spcPts val="100"/>
              </a:spcBef>
              <a:spcAft>
                <a:spcPts val="100"/>
              </a:spcAft>
              <a:buClr>
                <a:schemeClr val="tx1"/>
              </a:buClr>
              <a:buFont typeface="Wingdings" pitchFamily="2" charset="2"/>
              <a:buChar char="§"/>
            </a:pPr>
            <a:r>
              <a:rPr lang="en-US" sz="1100" b="1">
                <a:latin typeface="Arial" charset="0"/>
              </a:rPr>
              <a:t>Diagnostics</a:t>
            </a:r>
          </a:p>
          <a:p>
            <a:pPr marL="228600" lvl="1" indent="-114300" algn="l">
              <a:spcBef>
                <a:spcPts val="100"/>
              </a:spcBef>
              <a:spcAft>
                <a:spcPts val="100"/>
              </a:spcAft>
              <a:buClr>
                <a:schemeClr val="tx1"/>
              </a:buClr>
              <a:buFont typeface="Arial" pitchFamily="34" charset="0"/>
              <a:buChar char="•"/>
            </a:pPr>
            <a:r>
              <a:rPr lang="en-US" sz="1100" b="0">
                <a:latin typeface="Arial" charset="0"/>
              </a:rPr>
              <a:t>Assessments using multiple lenses for identification of Top Talent </a:t>
            </a:r>
          </a:p>
          <a:p>
            <a:pPr marL="114300" lvl="0" indent="-114300" algn="l">
              <a:spcBef>
                <a:spcPts val="100"/>
              </a:spcBef>
              <a:spcAft>
                <a:spcPts val="100"/>
              </a:spcAft>
              <a:buClr>
                <a:schemeClr val="tx1"/>
              </a:buClr>
              <a:buFont typeface="Wingdings" pitchFamily="2" charset="2"/>
              <a:buChar char="§"/>
            </a:pPr>
            <a:r>
              <a:rPr lang="en-US" sz="1100" b="1">
                <a:latin typeface="Arial" charset="0"/>
              </a:rPr>
              <a:t>Development through structured Learning journeys </a:t>
            </a:r>
          </a:p>
          <a:p>
            <a:pPr marL="228600" lvl="1" indent="-114300" algn="l">
              <a:spcBef>
                <a:spcPts val="100"/>
              </a:spcBef>
              <a:spcAft>
                <a:spcPts val="100"/>
              </a:spcAft>
              <a:buClr>
                <a:schemeClr val="tx1"/>
              </a:buClr>
              <a:buFont typeface="Arial" pitchFamily="34" charset="0"/>
              <a:buChar char="•"/>
            </a:pPr>
            <a:r>
              <a:rPr lang="en-US" sz="1100" b="0">
                <a:latin typeface="Arial" charset="0"/>
              </a:rPr>
              <a:t>Action Learning projects</a:t>
            </a:r>
          </a:p>
          <a:p>
            <a:pPr marL="228600" lvl="1" indent="-114300" algn="l">
              <a:spcBef>
                <a:spcPts val="100"/>
              </a:spcBef>
              <a:spcAft>
                <a:spcPts val="100"/>
              </a:spcAft>
              <a:buClr>
                <a:schemeClr val="tx1"/>
              </a:buClr>
              <a:buFont typeface="Arial" pitchFamily="34" charset="0"/>
              <a:buChar char="•"/>
            </a:pPr>
            <a:r>
              <a:rPr lang="en-US" sz="1100" b="0">
                <a:latin typeface="Arial" charset="0"/>
              </a:rPr>
              <a:t>Mentoring</a:t>
            </a:r>
          </a:p>
          <a:p>
            <a:pPr marL="228600" lvl="1" indent="-114300" algn="l">
              <a:spcBef>
                <a:spcPts val="100"/>
              </a:spcBef>
              <a:spcAft>
                <a:spcPts val="100"/>
              </a:spcAft>
              <a:buClr>
                <a:schemeClr val="tx1"/>
              </a:buClr>
              <a:buFont typeface="Arial" pitchFamily="34" charset="0"/>
              <a:buChar char="•"/>
            </a:pPr>
            <a:r>
              <a:rPr lang="en-US" sz="1100" b="0">
                <a:latin typeface="Arial" charset="0"/>
              </a:rPr>
              <a:t>Skill Building</a:t>
            </a:r>
          </a:p>
          <a:p>
            <a:pPr marL="114300" lvl="0" indent="-114300" algn="l">
              <a:spcBef>
                <a:spcPts val="100"/>
              </a:spcBef>
              <a:spcAft>
                <a:spcPts val="100"/>
              </a:spcAft>
              <a:buClr>
                <a:schemeClr val="tx1"/>
              </a:buClr>
              <a:buFont typeface="Wingdings" pitchFamily="2" charset="2"/>
              <a:buChar char="§"/>
            </a:pPr>
            <a:r>
              <a:rPr lang="en-US" sz="1100" b="1">
                <a:latin typeface="Arial" charset="0"/>
              </a:rPr>
              <a:t>Role &amp; Competency Models</a:t>
            </a:r>
          </a:p>
          <a:p>
            <a:pPr marL="228600" lvl="1" indent="-114300" algn="l">
              <a:spcBef>
                <a:spcPts val="100"/>
              </a:spcBef>
              <a:spcAft>
                <a:spcPts val="100"/>
              </a:spcAft>
              <a:buClr>
                <a:schemeClr val="tx1"/>
              </a:buClr>
              <a:buFont typeface="Wingdings" pitchFamily="2" charset="2"/>
              <a:buChar char="§"/>
            </a:pPr>
            <a:r>
              <a:rPr lang="en-US" sz="1100" b="0"/>
              <a:t>Career Framework Tool with 91 roles defined (Core, professional &amp; Role-based competencies, Learning Maps)</a:t>
            </a:r>
          </a:p>
          <a:p>
            <a:pPr marL="114300" lvl="0" indent="-114300" algn="l">
              <a:spcBef>
                <a:spcPts val="100"/>
              </a:spcBef>
              <a:spcAft>
                <a:spcPts val="100"/>
              </a:spcAft>
              <a:buClr>
                <a:schemeClr val="tx1"/>
              </a:buClr>
              <a:buFont typeface="Wingdings" pitchFamily="2" charset="2"/>
              <a:buChar char="§"/>
            </a:pPr>
            <a:r>
              <a:rPr lang="en-US" sz="1100" b="1">
                <a:latin typeface="Arial" charset="0"/>
              </a:rPr>
              <a:t>Internal growth opportunities via IJP</a:t>
            </a:r>
          </a:p>
          <a:p>
            <a:pPr marL="228600" lvl="1" indent="-114300" algn="l">
              <a:spcBef>
                <a:spcPts val="100"/>
              </a:spcBef>
              <a:spcAft>
                <a:spcPts val="100"/>
              </a:spcAft>
              <a:buClr>
                <a:schemeClr val="tx1"/>
              </a:buClr>
              <a:buFont typeface="Arial" pitchFamily="34" charset="0"/>
              <a:buChar char="•"/>
            </a:pPr>
            <a:r>
              <a:rPr lang="en-US" sz="1100" b="0">
                <a:latin typeface="Arial" charset="0"/>
              </a:rPr>
              <a:t>Infusion of young talent from Business schools</a:t>
            </a:r>
          </a:p>
          <a:p>
            <a:pPr marL="114300" lvl="0" indent="-114300" algn="l">
              <a:spcBef>
                <a:spcPts val="100"/>
              </a:spcBef>
              <a:spcAft>
                <a:spcPts val="100"/>
              </a:spcAft>
              <a:buClr>
                <a:schemeClr val="tx1"/>
              </a:buClr>
              <a:buFont typeface="Wingdings" pitchFamily="2" charset="2"/>
              <a:buChar char="§"/>
            </a:pPr>
            <a:r>
              <a:rPr lang="en-US" sz="1100"/>
              <a:t>Regular Talent reviews for Talent visibility and actions </a:t>
            </a:r>
          </a:p>
          <a:p>
            <a:pPr marL="114300" lvl="0" indent="-114300" algn="l">
              <a:spcBef>
                <a:spcPts val="100"/>
              </a:spcBef>
              <a:spcAft>
                <a:spcPts val="100"/>
              </a:spcAft>
              <a:buClr>
                <a:schemeClr val="tx1"/>
              </a:buClr>
              <a:buFont typeface="Wingdings" pitchFamily="2" charset="2"/>
              <a:buChar char="§"/>
            </a:pPr>
            <a:r>
              <a:rPr lang="en-US" sz="1100"/>
              <a:t>Succession Planning for Key roles</a:t>
            </a:r>
            <a:endParaRPr lang="en-US" sz="1100" b="0">
              <a:latin typeface="Arial" charset="0"/>
            </a:endParaRPr>
          </a:p>
          <a:p>
            <a:pPr marL="0" lvl="0" indent="0" algn="l">
              <a:spcBef>
                <a:spcPts val="100"/>
              </a:spcBef>
              <a:spcAft>
                <a:spcPts val="100"/>
              </a:spcAft>
              <a:buClr>
                <a:schemeClr val="tx1"/>
              </a:buClr>
              <a:buFont typeface="Wingdings" pitchFamily="2" charset="2"/>
              <a:buNone/>
            </a:pPr>
            <a:endParaRPr lang="en-US" sz="1100">
              <a:latin typeface="Arial"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a:p>
        </p:txBody>
      </p:sp>
    </p:spTree>
    <p:extLst>
      <p:ext uri="{BB962C8B-B14F-4D97-AF65-F5344CB8AC3E}">
        <p14:creationId xmlns:p14="http://schemas.microsoft.com/office/powerpoint/2010/main" val="3858404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 Id="rId14" Type="http://schemas.openxmlformats.org/officeDocument/2006/relationships/hyperlink" Target="http://www.capgemini.co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5.xml"/><Relationship Id="rId4"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4.xml"/><Relationship Id="rId5" Type="http://schemas.openxmlformats.org/officeDocument/2006/relationships/tags" Target="../tags/tag9.xml"/><Relationship Id="rId4" Type="http://schemas.openxmlformats.org/officeDocument/2006/relationships/tags" Target="../tags/tag8.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7.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 Id="rId4" Type="http://schemas.openxmlformats.org/officeDocument/2006/relationships/image" Target="../media/image31.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eg"/><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8.vml"/><Relationship Id="rId5" Type="http://schemas.openxmlformats.org/officeDocument/2006/relationships/image" Target="../media/image33.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9.vml"/><Relationship Id="rId5" Type="http://schemas.openxmlformats.org/officeDocument/2006/relationships/image" Target="../media/image33.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10.vml"/><Relationship Id="rId5" Type="http://schemas.openxmlformats.org/officeDocument/2006/relationships/image" Target="../media/image33.emf"/><Relationship Id="rId4" Type="http://schemas.openxmlformats.org/officeDocument/2006/relationships/oleObject" Target="../embeddings/oleObject10.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2.xml"/><Relationship Id="rId7" Type="http://schemas.openxmlformats.org/officeDocument/2006/relationships/oleObject" Target="../embeddings/oleObject11.bin"/><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slideMaster" Target="../slideMasters/slideMaster8.xml"/><Relationship Id="rId5" Type="http://schemas.openxmlformats.org/officeDocument/2006/relationships/tags" Target="../tags/tag24.xml"/><Relationship Id="rId4" Type="http://schemas.openxmlformats.org/officeDocument/2006/relationships/tags" Target="../tags/tag23.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oleObject" Target="../embeddings/oleObject1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9.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7.xml"/><Relationship Id="rId7" Type="http://schemas.openxmlformats.org/officeDocument/2006/relationships/oleObject" Target="../embeddings/oleObject13.bin"/><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slideMaster" Target="../slideMasters/slideMaster9.xml"/><Relationship Id="rId5" Type="http://schemas.openxmlformats.org/officeDocument/2006/relationships/tags" Target="../tags/tag29.xml"/><Relationship Id="rId4" Type="http://schemas.openxmlformats.org/officeDocument/2006/relationships/tags" Target="../tags/tag2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1490" y="404814"/>
            <a:ext cx="1857375"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31490" y="3555553"/>
            <a:ext cx="4387484" cy="869950"/>
          </a:xfrm>
        </p:spPr>
        <p:txBody>
          <a:bodyPr lIns="0" tIns="0" rIns="0" bIns="0" anchor="b">
            <a:normAutofit/>
          </a:bodyPr>
          <a:lstStyle>
            <a:lvl1pPr>
              <a:lnSpc>
                <a:spcPts val="2438"/>
              </a:lnSpc>
              <a:defRPr sz="2113">
                <a:solidFill>
                  <a:schemeClr val="tx2"/>
                </a:solidFill>
              </a:defRPr>
            </a:lvl1pPr>
            <a:lvl2pPr>
              <a:defRPr sz="1950">
                <a:solidFill>
                  <a:schemeClr val="bg1"/>
                </a:solidFill>
              </a:defRPr>
            </a:lvl2pPr>
          </a:lstStyle>
          <a:p>
            <a:pPr lvl="0"/>
            <a:r>
              <a:rPr lang="en-US"/>
              <a:t>Click to insert title</a:t>
            </a:r>
            <a:endParaRPr lang="pt-PT"/>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31490" y="4540515"/>
            <a:ext cx="4387484" cy="1196340"/>
          </a:xfrm>
        </p:spPr>
        <p:txBody>
          <a:bodyPr lIns="0" tIns="0" rIns="0" bIns="0">
            <a:normAutofit/>
          </a:bodyPr>
          <a:lstStyle>
            <a:lvl1pPr>
              <a:lnSpc>
                <a:spcPts val="1463"/>
              </a:lnSpc>
              <a:defRPr sz="1300">
                <a:solidFill>
                  <a:schemeClr val="accent2"/>
                </a:solidFill>
              </a:defRPr>
            </a:lvl1pPr>
            <a:lvl2pPr>
              <a:defRPr sz="1300">
                <a:solidFill>
                  <a:schemeClr val="bg1"/>
                </a:solidFill>
              </a:defRPr>
            </a:lvl2pPr>
          </a:lstStyle>
          <a:p>
            <a:pPr lvl="0"/>
            <a:r>
              <a:rPr lang="en-US"/>
              <a:t>Click to insert presenter, location, and date</a:t>
            </a:r>
            <a:endParaRPr lang="pt-PT"/>
          </a:p>
        </p:txBody>
      </p:sp>
      <p:sp>
        <p:nvSpPr>
          <p:cNvPr id="7" name="Freeform 6"/>
          <p:cNvSpPr>
            <a:spLocks/>
          </p:cNvSpPr>
          <p:nvPr/>
        </p:nvSpPr>
        <p:spPr bwMode="auto">
          <a:xfrm rot="16200000" flipH="1">
            <a:off x="4580047" y="606982"/>
            <a:ext cx="6353908" cy="5139949"/>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US" sz="1544"/>
          </a:p>
        </p:txBody>
      </p:sp>
      <p:pic>
        <p:nvPicPr>
          <p:cNvPr id="9" name="Imagem 10">
            <a:extLst>
              <a:ext uri="{FF2B5EF4-FFF2-40B4-BE49-F238E27FC236}">
                <a16:creationId xmlns:a16="http://schemas.microsoft.com/office/drawing/2014/main" id="{D0D7D8A4-BCAF-4F0A-9F8A-EF46E287338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0000" t="11151" r="4691"/>
          <a:stretch/>
        </p:blipFill>
        <p:spPr>
          <a:xfrm>
            <a:off x="4614547" y="764702"/>
            <a:ext cx="5522688" cy="6093296"/>
          </a:xfrm>
          <a:prstGeom prst="rect">
            <a:avLst/>
          </a:prstGeom>
        </p:spPr>
      </p:pic>
    </p:spTree>
    <p:extLst>
      <p:ext uri="{BB962C8B-B14F-4D97-AF65-F5344CB8AC3E}">
        <p14:creationId xmlns:p14="http://schemas.microsoft.com/office/powerpoint/2010/main" val="2085000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31490" y="2439343"/>
            <a:ext cx="4013895"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2773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31490"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25593260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8" name="Freeform 5"/>
          <p:cNvSpPr>
            <a:spLocks/>
          </p:cNvSpPr>
          <p:nvPr userDrawn="1"/>
        </p:nvSpPr>
        <p:spPr bwMode="auto">
          <a:xfrm>
            <a:off x="-1009947" y="-2656920"/>
            <a:ext cx="8749010"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544"/>
          </a:p>
        </p:txBody>
      </p:sp>
      <p:grpSp>
        <p:nvGrpSpPr>
          <p:cNvPr id="9" name="Group 8"/>
          <p:cNvGrpSpPr/>
          <p:nvPr userDrawn="1"/>
        </p:nvGrpSpPr>
        <p:grpSpPr>
          <a:xfrm>
            <a:off x="4045466" y="2404111"/>
            <a:ext cx="597198"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sp>
        <p:nvSpPr>
          <p:cNvPr id="14" name="Rectangle 13"/>
          <p:cNvSpPr/>
          <p:nvPr userDrawn="1"/>
        </p:nvSpPr>
        <p:spPr>
          <a:xfrm>
            <a:off x="5310649" y="2886346"/>
            <a:ext cx="416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pPr>
            <a:r>
              <a:rPr lang="en-US" sz="731">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31">
                <a:solidFill>
                  <a:schemeClr val="accent1"/>
                </a:solidFill>
              </a:rPr>
              <a:t>the Collaborative Business Experience™</a:t>
            </a:r>
            <a:r>
              <a:rPr lang="en-US" sz="731">
                <a:solidFill>
                  <a:schemeClr val="tx1"/>
                </a:solidFill>
              </a:rPr>
              <a:t>, and draws on </a:t>
            </a:r>
            <a:r>
              <a:rPr lang="en-US" sz="731">
                <a:solidFill>
                  <a:schemeClr val="accent1"/>
                </a:solidFill>
              </a:rPr>
              <a:t>Rightshore</a:t>
            </a:r>
            <a:r>
              <a:rPr lang="en-US" sz="731" baseline="30000">
                <a:solidFill>
                  <a:schemeClr val="accent1"/>
                </a:solidFill>
              </a:rPr>
              <a:t>®</a:t>
            </a:r>
            <a:r>
              <a:rPr lang="en-US" sz="731">
                <a:solidFill>
                  <a:schemeClr val="tx1"/>
                </a:solidFill>
              </a:rPr>
              <a:t>, its worldwide delivery model.</a:t>
            </a:r>
          </a:p>
        </p:txBody>
      </p:sp>
      <p:sp>
        <p:nvSpPr>
          <p:cNvPr id="15" name="Rectangle 14"/>
          <p:cNvSpPr/>
          <p:nvPr userDrawn="1"/>
        </p:nvSpPr>
        <p:spPr>
          <a:xfrm>
            <a:off x="5310649" y="2507082"/>
            <a:ext cx="1803718" cy="205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a:solidFill>
                  <a:schemeClr val="tx1"/>
                </a:solidFill>
              </a:rPr>
              <a:t>Learn more about us at</a:t>
            </a:r>
          </a:p>
          <a:p>
            <a:pPr algn="just">
              <a:lnSpc>
                <a:spcPts val="975"/>
              </a:lnSpc>
            </a:pPr>
            <a:r>
              <a:rPr lang="en-US" sz="1138">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48713"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0206"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71700"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83193"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37219" y="3979258"/>
            <a:ext cx="270721" cy="333195"/>
          </a:xfrm>
          <a:prstGeom prst="rect">
            <a:avLst/>
          </a:prstGeom>
          <a:noFill/>
        </p:spPr>
      </p:pic>
      <p:sp>
        <p:nvSpPr>
          <p:cNvPr id="23" name="Rectangle 22"/>
          <p:cNvSpPr/>
          <p:nvPr userDrawn="1"/>
        </p:nvSpPr>
        <p:spPr>
          <a:xfrm>
            <a:off x="337218" y="5746070"/>
            <a:ext cx="3411379" cy="464230"/>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message contains information that may be privileged or confidential and is the property of the </a:t>
            </a:r>
            <a:r>
              <a:rPr lang="en-US" sz="650" noProof="0" dirty="0" err="1">
                <a:solidFill>
                  <a:schemeClr val="bg1"/>
                </a:solidFill>
                <a:latin typeface="+mn-lt"/>
                <a:cs typeface="Arial"/>
              </a:rPr>
              <a:t>Capgemini</a:t>
            </a:r>
            <a:r>
              <a:rPr lang="en-US" sz="650" noProof="0" dirty="0">
                <a:solidFill>
                  <a:schemeClr val="bg1"/>
                </a:solidFill>
                <a:latin typeface="+mn-lt"/>
                <a:cs typeface="Arial"/>
              </a:rPr>
              <a:t> Group.</a:t>
            </a:r>
            <a:br>
              <a:rPr lang="en-US" sz="650" noProof="0" dirty="0">
                <a:solidFill>
                  <a:schemeClr val="bg1"/>
                </a:solidFill>
                <a:latin typeface="+mn-lt"/>
                <a:cs typeface="Arial"/>
              </a:rPr>
            </a:br>
            <a:r>
              <a:rPr lang="en-US" sz="650" noProof="0" dirty="0">
                <a:solidFill>
                  <a:schemeClr val="bg1"/>
                </a:solidFill>
                <a:latin typeface="Arial"/>
                <a:cs typeface="Arial"/>
              </a:rPr>
              <a:t>Copyright © 2019 </a:t>
            </a:r>
            <a:r>
              <a:rPr lang="en-US" sz="650" noProof="0" dirty="0" err="1">
                <a:solidFill>
                  <a:schemeClr val="bg1"/>
                </a:solidFill>
                <a:latin typeface="Arial"/>
                <a:cs typeface="Arial"/>
              </a:rPr>
              <a:t>Capgemini</a:t>
            </a:r>
            <a:r>
              <a:rPr lang="en-US" sz="650" noProof="0" dirty="0">
                <a:solidFill>
                  <a:schemeClr val="bg1"/>
                </a:solidFill>
                <a:latin typeface="Arial"/>
                <a:cs typeface="Arial"/>
              </a:rPr>
              <a:t>. All rights reserved.</a:t>
            </a:r>
          </a:p>
          <a:p>
            <a:pPr marL="0" marR="0" indent="0" defTabSz="778177" rtl="0" eaLnBrk="1" fontAlgn="auto" latinLnBrk="0" hangingPunct="1">
              <a:lnSpc>
                <a:spcPct val="100000"/>
              </a:lnSpc>
              <a:spcBef>
                <a:spcPts val="0"/>
              </a:spcBef>
              <a:spcAft>
                <a:spcPts val="488"/>
              </a:spcAft>
              <a:buClrTx/>
              <a:buSzTx/>
              <a:buFontTx/>
              <a:buNone/>
              <a:tabLst/>
              <a:defRPr/>
            </a:pPr>
            <a:r>
              <a:rPr lang="en-US" sz="650" noProof="0" dirty="0" err="1">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a:t>
            </a:r>
            <a:r>
              <a:rPr lang="en-US" sz="650" noProof="0" dirty="0" err="1">
                <a:solidFill>
                  <a:schemeClr val="bg1"/>
                </a:solidFill>
                <a:latin typeface="Arial"/>
                <a:cs typeface="Arial"/>
              </a:rPr>
              <a:t>Capgemini</a:t>
            </a:r>
            <a:r>
              <a:rPr lang="en-US" sz="650" noProof="0" dirty="0">
                <a:solidFill>
                  <a:schemeClr val="bg1"/>
                </a:solidFill>
                <a:latin typeface="Arial"/>
                <a:cs typeface="Arial"/>
              </a:rPr>
              <a:t>.</a:t>
            </a:r>
          </a:p>
        </p:txBody>
      </p:sp>
      <p:sp>
        <p:nvSpPr>
          <p:cNvPr id="24" name="Rectangle 23"/>
          <p:cNvSpPr/>
          <p:nvPr userDrawn="1"/>
        </p:nvSpPr>
        <p:spPr>
          <a:xfrm>
            <a:off x="5310650" y="5985047"/>
            <a:ext cx="4241005" cy="225254"/>
          </a:xfrm>
          <a:prstGeom prst="rect">
            <a:avLst/>
          </a:prstGeom>
        </p:spPr>
        <p:txBody>
          <a:bodyPr wrap="square" lIns="0" tIns="0" rIns="0" bIns="0" anchor="b" anchorCtr="0">
            <a:spAutoFit/>
          </a:bodyPr>
          <a:lstStyle/>
          <a:p>
            <a:pPr>
              <a:spcAft>
                <a:spcPts val="488"/>
              </a:spcAft>
            </a:pPr>
            <a:r>
              <a:rPr lang="en-US" sz="488">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sp>
        <p:nvSpPr>
          <p:cNvPr id="27" name="Rectangle 26">
            <a:hlinkClick r:id="rId14"/>
          </p:cNvPr>
          <p:cNvSpPr/>
          <p:nvPr userDrawn="1"/>
        </p:nvSpPr>
        <p:spPr>
          <a:xfrm>
            <a:off x="5307449" y="4445640"/>
            <a:ext cx="1504474"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1152" y="4434172"/>
            <a:ext cx="2080260" cy="201012"/>
          </a:xfrm>
          <a:prstGeom prst="rect">
            <a:avLst/>
          </a:prstGeom>
        </p:spPr>
      </p:pic>
    </p:spTree>
    <p:extLst>
      <p:ext uri="{BB962C8B-B14F-4D97-AF65-F5344CB8AC3E}">
        <p14:creationId xmlns:p14="http://schemas.microsoft.com/office/powerpoint/2010/main" val="2388610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1" y="-30822"/>
            <a:ext cx="9905999" cy="1257300"/>
            <a:chOff x="1" y="0"/>
            <a:chExt cx="12188824" cy="1404524"/>
          </a:xfrm>
          <a:solidFill>
            <a:srgbClr val="691E7C"/>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solidFill>
                  <a:srgbClr val="691E7C"/>
                </a:solidFill>
                <a:round/>
                <a:headEnd/>
                <a:tailEnd/>
              </a:ln>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solidFill>
                <a:srgbClr val="691E7C"/>
              </a:solid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a:solidFill>
                  <a:prstClr val="white"/>
                </a:solidFill>
              </a:endParaRPr>
            </a:p>
          </p:txBody>
        </p:sp>
      </p:grpSp>
      <p:sp>
        <p:nvSpPr>
          <p:cNvPr id="15" name="Title Placeholder 1"/>
          <p:cNvSpPr>
            <a:spLocks noGrp="1"/>
          </p:cNvSpPr>
          <p:nvPr>
            <p:ph type="title"/>
            <p:custDataLst>
              <p:tags r:id="rId3"/>
            </p:custDataLst>
          </p:nvPr>
        </p:nvSpPr>
        <p:spPr>
          <a:xfrm>
            <a:off x="1" y="0"/>
            <a:ext cx="9905999" cy="933651"/>
          </a:xfrm>
          <a:prstGeom prst="rect">
            <a:avLst/>
          </a:prstGeom>
          <a:noFill/>
        </p:spPr>
        <p:txBody>
          <a:bodyPr vert="horz" lIns="297529" tIns="33059" rIns="165294" bIns="33059" rtlCol="0" anchor="ctr">
            <a:noAutofit/>
          </a:bodyPr>
          <a:lstStyle>
            <a:lvl1pPr algn="l">
              <a:defRPr sz="2800">
                <a:solidFill>
                  <a:schemeClr val="bg1"/>
                </a:solidFill>
                <a:latin typeface="Arial" panose="020B0604020202020204" pitchFamily="34" charset="0"/>
                <a:cs typeface="Arial" panose="020B0604020202020204" pitchFamily="34" charset="0"/>
              </a:defRPr>
            </a:lvl1pPr>
          </a:lstStyle>
          <a:p>
            <a:endParaRPr lang="en-US" noProof="0"/>
          </a:p>
        </p:txBody>
      </p:sp>
    </p:spTree>
    <p:extLst>
      <p:ext uri="{BB962C8B-B14F-4D97-AF65-F5344CB8AC3E}">
        <p14:creationId xmlns:p14="http://schemas.microsoft.com/office/powerpoint/2010/main" val="1837896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15917" y="2010606"/>
            <a:ext cx="4504135"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5070378" y="2010606"/>
            <a:ext cx="4482111"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1490" y="1420990"/>
            <a:ext cx="4504135"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070378" y="1420990"/>
            <a:ext cx="448211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682969"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903284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6" name="Freeform 9"/>
          <p:cNvSpPr>
            <a:spLocks/>
          </p:cNvSpPr>
          <p:nvPr userDrawn="1"/>
        </p:nvSpPr>
        <p:spPr bwMode="auto">
          <a:xfrm>
            <a:off x="-254079" y="0"/>
            <a:ext cx="7117741"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endParaRPr lang="en-US" sz="1544"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016896" y="-1634"/>
            <a:ext cx="5889104"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847056" y="-1588"/>
            <a:ext cx="8058944"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31490" y="434514"/>
            <a:ext cx="4445990" cy="1698343"/>
          </a:xfrm>
          <a:prstGeom prst="rect">
            <a:avLst/>
          </a:prstGeom>
        </p:spPr>
        <p:txBody>
          <a:bodyPr anchor="b">
            <a:noAutofit/>
          </a:bodyPr>
          <a:lstStyle>
            <a:lvl1pPr marL="0" indent="0">
              <a:lnSpc>
                <a:spcPts val="2438"/>
              </a:lnSpc>
              <a:buNone/>
              <a:defRPr sz="2113">
                <a:solidFill>
                  <a:schemeClr val="bg1"/>
                </a:solidFill>
              </a:defRPr>
            </a:lvl1pPr>
            <a:lvl2pPr marL="371475" indent="0">
              <a:buNone/>
              <a:defRPr sz="4875">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21468887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157537" y="812801"/>
            <a:ext cx="6748463"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5978979" cy="6857998"/>
          </a:xfrm>
          <a:prstGeom prst="rect">
            <a:avLst/>
          </a:prstGeom>
          <a:noFill/>
        </p:spPr>
        <p:txBody>
          <a:bodyPr anchor="ctr"/>
          <a:lstStyle>
            <a:lvl1pPr algn="ctr">
              <a:defRPr/>
            </a:lvl1pPr>
          </a:lstStyle>
          <a:p>
            <a:r>
              <a:rPr lang="en-US"/>
              <a:t>Click icon to add picture</a:t>
            </a:r>
            <a:endParaRPr lang="pt-PT"/>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6209073" y="1917276"/>
            <a:ext cx="3365438" cy="1727749"/>
          </a:xfrm>
          <a:prstGeom prst="rect">
            <a:avLst/>
          </a:prstGeom>
        </p:spPr>
        <p:txBody>
          <a:bodyPr vert="horz" lIns="0" tIns="0" rIns="0" bIns="0" rtlCol="0" anchor="b">
            <a:normAutofit/>
          </a:bodyPr>
          <a:lstStyle>
            <a:lvl1pPr algn="r">
              <a:lnSpc>
                <a:spcPts val="2438"/>
              </a:lnSpc>
              <a:defRPr sz="2113">
                <a:solidFill>
                  <a:srgbClr val="95E616"/>
                </a:solidFill>
              </a:defRPr>
            </a:lvl1pPr>
          </a:lstStyle>
          <a:p>
            <a:r>
              <a:rPr lang="en-US"/>
              <a:t>Click to insert title</a:t>
            </a:r>
            <a:endParaRPr lang="pt-PT"/>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6200907" y="3762626"/>
            <a:ext cx="3373604" cy="2186655"/>
          </a:xfrm>
          <a:prstGeom prst="rect">
            <a:avLst/>
          </a:prstGeom>
        </p:spPr>
        <p:txBody>
          <a:bodyPr lIns="0" tIns="0" rIns="0" bIns="0">
            <a:noAutofit/>
          </a:bodyPr>
          <a:lstStyle>
            <a:lvl1pPr algn="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6467654"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9 </a:t>
            </a:r>
            <a:r>
              <a:rPr lang="en-US" sz="650" dirty="0" err="1">
                <a:solidFill>
                  <a:schemeClr val="bg1"/>
                </a:solidFill>
                <a:cs typeface="Arial" panose="020B0604020202020204" pitchFamily="34" charset="0"/>
              </a:rPr>
              <a:t>Capgemini</a:t>
            </a:r>
            <a:r>
              <a:rPr lang="en-US" sz="650" dirty="0">
                <a:solidFill>
                  <a:schemeClr val="bg1"/>
                </a:solidFill>
                <a:cs typeface="Arial" panose="020B0604020202020204" pitchFamily="34" charset="0"/>
              </a:rPr>
              <a:t>. All rights reserved.</a:t>
            </a:r>
          </a:p>
        </p:txBody>
      </p:sp>
    </p:spTree>
    <p:extLst>
      <p:ext uri="{BB962C8B-B14F-4D97-AF65-F5344CB8AC3E}">
        <p14:creationId xmlns:p14="http://schemas.microsoft.com/office/powerpoint/2010/main" val="339648489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927022" y="-1"/>
            <a:ext cx="5978979"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63587" y="707444"/>
            <a:ext cx="2352542" cy="1830078"/>
          </a:xfrm>
          <a:prstGeom prst="rect">
            <a:avLst/>
          </a:prstGeom>
        </p:spPr>
        <p:txBody>
          <a:bodyPr vert="horz" lIns="91440" tIns="45720" rIns="91440" bIns="45720" rtlCol="0" anchor="b">
            <a:normAutofit/>
          </a:bodyPr>
          <a:lstStyle>
            <a:lvl1pPr algn="l">
              <a:defRPr sz="3900">
                <a:solidFill>
                  <a:srgbClr val="95E616"/>
                </a:solidFill>
              </a:defRPr>
            </a:lvl1pPr>
          </a:lstStyle>
          <a:p>
            <a:r>
              <a:rPr lang="en-US"/>
              <a:t>Click to add title</a:t>
            </a:r>
            <a:endParaRPr lang="pt-PT"/>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63587" y="2564905"/>
            <a:ext cx="2352541" cy="3589775"/>
          </a:xfrm>
          <a:prstGeom prst="rect">
            <a:avLst/>
          </a:prstGeom>
        </p:spPr>
        <p:txBody>
          <a:bodyPr>
            <a:noAutofit/>
          </a:bodyPr>
          <a:lstStyle>
            <a:lvl1pPr algn="l">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49197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342381" y="-3777992"/>
            <a:ext cx="6102509"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endParaRPr lang="en-US" sz="65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752513" y="6599555"/>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9 </a:t>
            </a:r>
            <a:r>
              <a:rPr lang="en-US" sz="650" dirty="0" err="1">
                <a:solidFill>
                  <a:schemeClr val="bg1"/>
                </a:solidFill>
                <a:cs typeface="Arial" panose="020B0604020202020204" pitchFamily="34" charset="0"/>
              </a:rPr>
              <a:t>Capgemini</a:t>
            </a:r>
            <a:r>
              <a:rPr lang="en-US" sz="650" dirty="0">
                <a:solidFill>
                  <a:schemeClr val="bg1"/>
                </a:solidFill>
                <a:cs typeface="Arial" panose="020B0604020202020204" pitchFamily="34" charset="0"/>
              </a:rPr>
              <a:t>. All rights reserved.</a:t>
            </a:r>
          </a:p>
        </p:txBody>
      </p:sp>
    </p:spTree>
    <p:extLst>
      <p:ext uri="{BB962C8B-B14F-4D97-AF65-F5344CB8AC3E}">
        <p14:creationId xmlns:p14="http://schemas.microsoft.com/office/powerpoint/2010/main" val="1907429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331491" y="2073275"/>
            <a:ext cx="9243020"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31490" y="1268414"/>
            <a:ext cx="8892484" cy="504403"/>
          </a:xfrm>
          <a:prstGeom prst="rect">
            <a:avLst/>
          </a:prstGeom>
        </p:spPr>
        <p:txBody>
          <a:bodyPr>
            <a:noAutofit/>
          </a:bodyPr>
          <a:lstStyle>
            <a:lvl1pPr marL="0" indent="0" algn="l">
              <a:lnSpc>
                <a:spcPts val="1138"/>
              </a:lnSpc>
              <a:spcBef>
                <a:spcPts val="0"/>
              </a:spcBef>
              <a:spcAft>
                <a:spcPts val="0"/>
              </a:spcAft>
              <a:buNone/>
              <a:defRPr sz="975"/>
            </a:lvl1pPr>
            <a:lvl2pPr algn="ctr">
              <a:defRPr/>
            </a:lvl2pPr>
            <a:lvl3pPr algn="ctr">
              <a:defRPr/>
            </a:lvl3pPr>
            <a:lvl4pPr algn="ctr">
              <a:defRPr/>
            </a:lvl4pPr>
            <a:lvl5pPr algn="ctr">
              <a:defRPr/>
            </a:lvl5pPr>
          </a:lstStyle>
          <a:p>
            <a:pPr lvl="0"/>
            <a:r>
              <a:rPr lang="en-US"/>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557462" y="6522883"/>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73366387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31490" y="2216150"/>
            <a:ext cx="9243020"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665039" y="6572010"/>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31490" y="1268414"/>
            <a:ext cx="8892484" cy="504403"/>
          </a:xfrm>
          <a:prstGeom prst="rect">
            <a:avLst/>
          </a:prstGeom>
        </p:spPr>
        <p:txBody>
          <a:bodyPr>
            <a:noAutofit/>
          </a:bodyPr>
          <a:lstStyle>
            <a:lvl1pPr marL="0" indent="0" algn="l">
              <a:lnSpc>
                <a:spcPts val="1138"/>
              </a:lnSpc>
              <a:spcBef>
                <a:spcPts val="0"/>
              </a:spcBef>
              <a:spcAft>
                <a:spcPts val="0"/>
              </a:spcAft>
              <a:buNone/>
              <a:defRPr sz="975" baseline="0"/>
            </a:lvl1pPr>
            <a:lvl2pPr algn="ctr">
              <a:defRPr/>
            </a:lvl2pPr>
            <a:lvl3pPr algn="ctr">
              <a:defRPr/>
            </a:lvl3pPr>
            <a:lvl4pPr algn="ctr">
              <a:defRPr/>
            </a:lvl4pPr>
            <a:lvl5pPr algn="ctr">
              <a:defRPr/>
            </a:lvl5pPr>
          </a:lstStyle>
          <a:p>
            <a:pPr lvl="0"/>
            <a:r>
              <a:rPr lang="en-US"/>
              <a:t>SmartArt graphic</a:t>
            </a:r>
          </a:p>
        </p:txBody>
      </p:sp>
    </p:spTree>
    <p:extLst>
      <p:ext uri="{BB962C8B-B14F-4D97-AF65-F5344CB8AC3E}">
        <p14:creationId xmlns:p14="http://schemas.microsoft.com/office/powerpoint/2010/main" val="3248796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67E21435-78AE-465F-A49A-B06594889D38}"/>
              </a:ext>
            </a:extLst>
          </p:cNvPr>
          <p:cNvSpPr/>
          <p:nvPr userDrawn="1"/>
        </p:nvSpPr>
        <p:spPr>
          <a:xfrm>
            <a:off x="7608177" y="0"/>
            <a:ext cx="229782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6" name="Text Placeholder 29">
            <a:extLst>
              <a:ext uri="{FF2B5EF4-FFF2-40B4-BE49-F238E27FC236}">
                <a16:creationId xmlns:a16="http://schemas.microsoft.com/office/drawing/2014/main" id="{09D3E9EE-291C-4AC0-8D9C-7436CFEE0FB8}"/>
              </a:ext>
            </a:extLst>
          </p:cNvPr>
          <p:cNvSpPr>
            <a:spLocks noGrp="1"/>
          </p:cNvSpPr>
          <p:nvPr>
            <p:ph type="body" sz="quarter" idx="42" hasCustomPrompt="1"/>
          </p:nvPr>
        </p:nvSpPr>
        <p:spPr>
          <a:xfrm>
            <a:off x="8010141" y="2151876"/>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28" name="Text Placeholder 29">
            <a:extLst>
              <a:ext uri="{FF2B5EF4-FFF2-40B4-BE49-F238E27FC236}">
                <a16:creationId xmlns:a16="http://schemas.microsoft.com/office/drawing/2014/main" id="{637A42F6-A0B8-4DEF-AE56-7743C3C89A3A}"/>
              </a:ext>
            </a:extLst>
          </p:cNvPr>
          <p:cNvSpPr>
            <a:spLocks noGrp="1"/>
          </p:cNvSpPr>
          <p:nvPr>
            <p:ph type="body" sz="quarter" idx="43" hasCustomPrompt="1"/>
          </p:nvPr>
        </p:nvSpPr>
        <p:spPr>
          <a:xfrm>
            <a:off x="8834856" y="2151876"/>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29" name="Text Placeholder 29">
            <a:extLst>
              <a:ext uri="{FF2B5EF4-FFF2-40B4-BE49-F238E27FC236}">
                <a16:creationId xmlns:a16="http://schemas.microsoft.com/office/drawing/2014/main" id="{5D26050F-BE0E-45C7-BF16-4B401065CDD7}"/>
              </a:ext>
            </a:extLst>
          </p:cNvPr>
          <p:cNvSpPr>
            <a:spLocks noGrp="1"/>
          </p:cNvSpPr>
          <p:nvPr>
            <p:ph type="body" sz="quarter" idx="44" hasCustomPrompt="1"/>
          </p:nvPr>
        </p:nvSpPr>
        <p:spPr>
          <a:xfrm>
            <a:off x="8010141" y="2924945"/>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0" name="Text Placeholder 29">
            <a:extLst>
              <a:ext uri="{FF2B5EF4-FFF2-40B4-BE49-F238E27FC236}">
                <a16:creationId xmlns:a16="http://schemas.microsoft.com/office/drawing/2014/main" id="{DAFF5EB0-EE62-4C80-9262-D5EB89300B31}"/>
              </a:ext>
            </a:extLst>
          </p:cNvPr>
          <p:cNvSpPr>
            <a:spLocks noGrp="1"/>
          </p:cNvSpPr>
          <p:nvPr>
            <p:ph type="body" sz="quarter" idx="45" hasCustomPrompt="1"/>
          </p:nvPr>
        </p:nvSpPr>
        <p:spPr>
          <a:xfrm>
            <a:off x="8834856" y="2924945"/>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1" name="Text Placeholder 29">
            <a:extLst>
              <a:ext uri="{FF2B5EF4-FFF2-40B4-BE49-F238E27FC236}">
                <a16:creationId xmlns:a16="http://schemas.microsoft.com/office/drawing/2014/main" id="{1D2E2610-A39A-4ABB-B9B0-3E64FB2B1FD2}"/>
              </a:ext>
            </a:extLst>
          </p:cNvPr>
          <p:cNvSpPr>
            <a:spLocks noGrp="1"/>
          </p:cNvSpPr>
          <p:nvPr>
            <p:ph type="body" sz="quarter" idx="46" hasCustomPrompt="1"/>
          </p:nvPr>
        </p:nvSpPr>
        <p:spPr>
          <a:xfrm>
            <a:off x="8010141" y="3717032"/>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2" name="Text Placeholder 29">
            <a:extLst>
              <a:ext uri="{FF2B5EF4-FFF2-40B4-BE49-F238E27FC236}">
                <a16:creationId xmlns:a16="http://schemas.microsoft.com/office/drawing/2014/main" id="{7FEBB00E-E460-421E-A98D-4E1A8813E933}"/>
              </a:ext>
            </a:extLst>
          </p:cNvPr>
          <p:cNvSpPr>
            <a:spLocks noGrp="1"/>
          </p:cNvSpPr>
          <p:nvPr>
            <p:ph type="body" sz="quarter" idx="47" hasCustomPrompt="1"/>
          </p:nvPr>
        </p:nvSpPr>
        <p:spPr>
          <a:xfrm>
            <a:off x="8834856" y="3717032"/>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6" name="Text Placeholder 29">
            <a:extLst>
              <a:ext uri="{FF2B5EF4-FFF2-40B4-BE49-F238E27FC236}">
                <a16:creationId xmlns:a16="http://schemas.microsoft.com/office/drawing/2014/main" id="{FAFB67F4-E060-49A7-B606-E1DBD3BADB1E}"/>
              </a:ext>
            </a:extLst>
          </p:cNvPr>
          <p:cNvSpPr>
            <a:spLocks noGrp="1"/>
          </p:cNvSpPr>
          <p:nvPr>
            <p:ph type="body" sz="quarter" idx="48" hasCustomPrompt="1"/>
          </p:nvPr>
        </p:nvSpPr>
        <p:spPr>
          <a:xfrm>
            <a:off x="8010141" y="4521821"/>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7" name="Text Placeholder 29">
            <a:extLst>
              <a:ext uri="{FF2B5EF4-FFF2-40B4-BE49-F238E27FC236}">
                <a16:creationId xmlns:a16="http://schemas.microsoft.com/office/drawing/2014/main" id="{DB43EC2B-27E8-42E4-B1FE-B643A64496E9}"/>
              </a:ext>
            </a:extLst>
          </p:cNvPr>
          <p:cNvSpPr>
            <a:spLocks noGrp="1"/>
          </p:cNvSpPr>
          <p:nvPr>
            <p:ph type="body" sz="quarter" idx="49" hasCustomPrompt="1"/>
          </p:nvPr>
        </p:nvSpPr>
        <p:spPr>
          <a:xfrm>
            <a:off x="8834856" y="4521821"/>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8" name="Text Placeholder 29">
            <a:extLst>
              <a:ext uri="{FF2B5EF4-FFF2-40B4-BE49-F238E27FC236}">
                <a16:creationId xmlns:a16="http://schemas.microsoft.com/office/drawing/2014/main" id="{2227CA6E-59E3-4FDF-9ED6-1407D9E2902E}"/>
              </a:ext>
            </a:extLst>
          </p:cNvPr>
          <p:cNvSpPr>
            <a:spLocks noGrp="1"/>
          </p:cNvSpPr>
          <p:nvPr>
            <p:ph type="body" sz="quarter" idx="50" hasCustomPrompt="1"/>
          </p:nvPr>
        </p:nvSpPr>
        <p:spPr>
          <a:xfrm>
            <a:off x="8010141" y="5301209"/>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39" name="Text Placeholder 29">
            <a:extLst>
              <a:ext uri="{FF2B5EF4-FFF2-40B4-BE49-F238E27FC236}">
                <a16:creationId xmlns:a16="http://schemas.microsoft.com/office/drawing/2014/main" id="{05CECC09-5520-4F91-918B-395F23E6E9B7}"/>
              </a:ext>
            </a:extLst>
          </p:cNvPr>
          <p:cNvSpPr>
            <a:spLocks noGrp="1"/>
          </p:cNvSpPr>
          <p:nvPr>
            <p:ph type="body" sz="quarter" idx="51" hasCustomPrompt="1"/>
          </p:nvPr>
        </p:nvSpPr>
        <p:spPr>
          <a:xfrm>
            <a:off x="8834856" y="5301209"/>
            <a:ext cx="745782" cy="439923"/>
          </a:xfrm>
          <a:prstGeom prst="rect">
            <a:avLst/>
          </a:prstGeom>
        </p:spPr>
        <p:txBody>
          <a:bodyPr>
            <a:noAutofit/>
          </a:bodyPr>
          <a:lstStyle>
            <a:lvl1pPr marL="0" indent="0" algn="ctr">
              <a:lnSpc>
                <a:spcPct val="100000"/>
              </a:lnSpc>
              <a:spcBef>
                <a:spcPts val="0"/>
              </a:spcBef>
              <a:buNone/>
              <a:defRPr sz="894">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tângulo 43">
            <a:extLst>
              <a:ext uri="{FF2B5EF4-FFF2-40B4-BE49-F238E27FC236}">
                <a16:creationId xmlns:a16="http://schemas.microsoft.com/office/drawing/2014/main" id="{834ADCB4-BFB1-450D-8F6D-64217F4CD92C}"/>
              </a:ext>
            </a:extLst>
          </p:cNvPr>
          <p:cNvSpPr/>
          <p:nvPr userDrawn="1"/>
        </p:nvSpPr>
        <p:spPr>
          <a:xfrm>
            <a:off x="726680"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
        <p:nvSpPr>
          <p:cNvPr id="19"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pic>
        <p:nvPicPr>
          <p:cNvPr id="2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758520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261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pic>
        <p:nvPicPr>
          <p:cNvPr id="15" name="Picture 3" descr="D:\Users\sbandyop\Pictures\Capgemini\career as jungle gym.png">
            <a:extLst>
              <a:ext uri="{FF2B5EF4-FFF2-40B4-BE49-F238E27FC236}">
                <a16:creationId xmlns:a16="http://schemas.microsoft.com/office/drawing/2014/main" id="{FFF6960E-2CAF-4354-8C98-BA31AC32E30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906000" cy="6870244"/>
          </a:xfrm>
          <a:prstGeom prst="rect">
            <a:avLst/>
          </a:prstGeom>
          <a:extLst>
            <a:ext uri="{909E8E84-426E-40DD-AFC4-6F175D3DCCD1}">
              <a14:hiddenFill xmlns:a14="http://schemas.microsoft.com/office/drawing/2010/main">
                <a:solidFill>
                  <a:srgbClr val="FFFFFF"/>
                </a:solidFill>
              </a14:hiddenFill>
            </a:ext>
          </a:extLst>
        </p:spPr>
      </p:pic>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31490" y="1412875"/>
            <a:ext cx="4504497" cy="1656184"/>
          </a:xfrm>
          <a:prstGeom prst="rect">
            <a:avLst/>
          </a:prstGeom>
        </p:spPr>
        <p:txBody>
          <a:bodyPr>
            <a:noAutofit/>
          </a:bodyPr>
          <a:lstStyle>
            <a:lvl1pPr>
              <a:lnSpc>
                <a:spcPts val="1463"/>
              </a:lnSpc>
              <a:spcBef>
                <a:spcPts val="488"/>
              </a:spcBef>
              <a:defRPr sz="1300"/>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31490" y="3213075"/>
            <a:ext cx="7377273"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941994" y="893994"/>
            <a:ext cx="6858002" cy="507001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74295" tIns="37148" rIns="74295" bIns="37148" numCol="1" anchor="t" anchorCtr="0" compatLnSpc="1">
            <a:prstTxWarp prst="textNoShape">
              <a:avLst/>
            </a:prstTxWarp>
            <a:noAutofit/>
          </a:bodyPr>
          <a:lstStyle/>
          <a:p>
            <a:endParaRPr lang="en-US" sz="1544"/>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a16="http://schemas.microsoft.com/office/drawing/2014/main" id="{834ADCB4-BFB1-450D-8F6D-64217F4CD92C}"/>
              </a:ext>
            </a:extLst>
          </p:cNvPr>
          <p:cNvSpPr/>
          <p:nvPr userDrawn="1"/>
        </p:nvSpPr>
        <p:spPr>
          <a:xfrm>
            <a:off x="499984" y="6555971"/>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404813"/>
            <a:ext cx="473888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1491"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851880"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5372269"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378130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31490" y="1412876"/>
            <a:ext cx="9243020" cy="5025502"/>
          </a:xfrm>
          <a:prstGeom prst="rect">
            <a:avLst/>
          </a:prstGeom>
        </p:spPr>
        <p:txBody>
          <a:bodyPr anchor="ctr"/>
          <a:lstStyle>
            <a:lvl1pPr algn="ctr">
              <a:defRPr/>
            </a:lvl1pPr>
          </a:lstStyle>
          <a:p>
            <a:r>
              <a:rPr lang="en-US"/>
              <a:t>Click icon to add table</a:t>
            </a:r>
            <a:endParaRPr lang="pt-PT"/>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8259082" y="935008"/>
            <a:ext cx="438334" cy="216024"/>
          </a:xfrm>
          <a:prstGeom prst="rect">
            <a:avLst/>
          </a:prstGeom>
        </p:spPr>
        <p:txBody>
          <a:bodyPr anchor="ctr">
            <a:noAutofit/>
          </a:bodyPr>
          <a:lstStyle>
            <a:lvl1pPr algn="ctr">
              <a:lnSpc>
                <a:spcPct val="100000"/>
              </a:lnSpc>
              <a:defRPr sz="650"/>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785641" y="935008"/>
            <a:ext cx="438334" cy="216024"/>
          </a:xfrm>
          <a:prstGeom prst="rect">
            <a:avLst/>
          </a:prstGeom>
        </p:spPr>
        <p:txBody>
          <a:bodyPr anchor="ctr">
            <a:noAutofit/>
          </a:bodyPr>
          <a:lstStyle>
            <a:lvl1pPr algn="ctr">
              <a:lnSpc>
                <a:spcPct val="100000"/>
              </a:lnSpc>
              <a:defRPr sz="650"/>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557463" y="6555971"/>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119206168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1" y="0"/>
            <a:ext cx="9905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a:solidFill>
                  <a:prstClr val="white"/>
                </a:solidFill>
              </a:endParaRPr>
            </a:p>
          </p:txBody>
        </p:sp>
      </p:grpSp>
      <p:sp>
        <p:nvSpPr>
          <p:cNvPr id="15" name="Title Placeholder 1"/>
          <p:cNvSpPr>
            <a:spLocks noGrp="1"/>
          </p:cNvSpPr>
          <p:nvPr>
            <p:ph type="title"/>
            <p:custDataLst>
              <p:tags r:id="rId3"/>
            </p:custDataLst>
          </p:nvPr>
        </p:nvSpPr>
        <p:spPr>
          <a:xfrm>
            <a:off x="1" y="0"/>
            <a:ext cx="9905999" cy="933651"/>
          </a:xfrm>
          <a:prstGeom prst="rect">
            <a:avLst/>
          </a:prstGeom>
          <a:noFill/>
        </p:spPr>
        <p:txBody>
          <a:bodyPr vert="horz" lIns="297529" tIns="33059" rIns="165294" bIns="33059" rtlCol="0" anchor="ctr">
            <a:noAutofit/>
          </a:bodyPr>
          <a:lstStyle>
            <a:lvl1pPr algn="l">
              <a:defRPr sz="2800">
                <a:solidFill>
                  <a:schemeClr val="bg1"/>
                </a:solidFill>
                <a:latin typeface="Arial" panose="020B0604020202020204" pitchFamily="34" charset="0"/>
                <a:cs typeface="Arial" panose="020B0604020202020204" pitchFamily="34" charset="0"/>
              </a:defRPr>
            </a:lvl1pPr>
          </a:lstStyle>
          <a:p>
            <a:endParaRPr lang="en-US" noProof="0"/>
          </a:p>
        </p:txBody>
      </p:sp>
    </p:spTree>
    <p:extLst>
      <p:ext uri="{BB962C8B-B14F-4D97-AF65-F5344CB8AC3E}">
        <p14:creationId xmlns:p14="http://schemas.microsoft.com/office/powerpoint/2010/main" val="1680116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8" y="16"/>
          <a:ext cx="147061"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 y="16"/>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8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23392" y="1494771"/>
            <a:ext cx="9582608" cy="4643751"/>
          </a:xfrm>
          <a:prstGeom prst="rect">
            <a:avLst/>
          </a:prstGeom>
        </p:spPr>
        <p:txBody>
          <a:bodyPr/>
          <a:lstStyle>
            <a:lvl1pPr>
              <a:spcAft>
                <a:spcPts val="600"/>
              </a:spcAft>
              <a:defRPr b="0"/>
            </a:lvl1pPr>
            <a:lvl2pPr>
              <a:spcAft>
                <a:spcPts val="600"/>
              </a:spcAft>
              <a:defRPr/>
            </a:lvl2pPr>
            <a:lvl3pPr>
              <a:spcAft>
                <a:spcPts val="600"/>
              </a:spcAft>
              <a:defRPr/>
            </a:lvl3pPr>
            <a:lvl4pPr>
              <a:spcAft>
                <a:spcPts val="600"/>
              </a:spcAft>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14631637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lang="en-US" noProof="0" dirty="0" smtClean="0"/>
            </a:lvl1pPr>
          </a:lstStyle>
          <a:p>
            <a:pPr lvl="0"/>
            <a:r>
              <a:rPr lang="en-US" noProof="0"/>
              <a:t>Click to edit Master title style</a:t>
            </a:r>
          </a:p>
        </p:txBody>
      </p:sp>
    </p:spTree>
    <p:extLst>
      <p:ext uri="{BB962C8B-B14F-4D97-AF65-F5344CB8AC3E}">
        <p14:creationId xmlns:p14="http://schemas.microsoft.com/office/powerpoint/2010/main" val="37811602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Opener3">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flipH="1">
            <a:off x="0" y="0"/>
            <a:ext cx="6083269" cy="6858000"/>
          </a:xfrm>
          <a:prstGeom prst="rect">
            <a:avLst/>
          </a:prstGeom>
        </p:spPr>
      </p:pic>
      <p:pic>
        <p:nvPicPr>
          <p:cNvPr id="7"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flipH="1">
            <a:off x="4725786" y="990600"/>
            <a:ext cx="5304039"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45533" y="2946391"/>
            <a:ext cx="3860926" cy="1418714"/>
          </a:xfrm>
          <a:prstGeom prst="rect">
            <a:avLst/>
          </a:prstGeom>
        </p:spPr>
        <p:txBody>
          <a:bodyPr anchor="b">
            <a:normAutofit/>
          </a:bodyPr>
          <a:lstStyle>
            <a:lvl1pPr marL="0" indent="0" algn="r">
              <a:lnSpc>
                <a:spcPts val="2438"/>
              </a:lnSpc>
              <a:buNone/>
              <a:defRPr sz="2113">
                <a:solidFill>
                  <a:schemeClr val="bg1"/>
                </a:solidFill>
              </a:defRPr>
            </a:lvl1pPr>
            <a:lvl2pPr marL="371475" indent="0">
              <a:buNone/>
              <a:defRPr sz="4875">
                <a:solidFill>
                  <a:schemeClr val="bg1"/>
                </a:solidFill>
              </a:defRPr>
            </a:lvl2pPr>
          </a:lstStyle>
          <a:p>
            <a:pPr lvl="0"/>
            <a:r>
              <a:rPr lang="en-US"/>
              <a:t>Click to add section title</a:t>
            </a:r>
          </a:p>
        </p:txBody>
      </p:sp>
    </p:spTree>
    <p:extLst>
      <p:ext uri="{BB962C8B-B14F-4D97-AF65-F5344CB8AC3E}">
        <p14:creationId xmlns:p14="http://schemas.microsoft.com/office/powerpoint/2010/main" val="14892646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flipH="1">
            <a:off x="0" y="0"/>
            <a:ext cx="6702413" cy="6858000"/>
          </a:xfrm>
          <a:prstGeom prst="rect">
            <a:avLst/>
          </a:prstGeom>
        </p:spPr>
      </p:pic>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flipH="1">
            <a:off x="4601961" y="838200"/>
            <a:ext cx="5304039"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713585" y="2946391"/>
            <a:ext cx="3860926" cy="1418714"/>
          </a:xfrm>
          <a:prstGeom prst="rect">
            <a:avLst/>
          </a:prstGeom>
        </p:spPr>
        <p:txBody>
          <a:bodyPr anchor="b">
            <a:normAutofit/>
          </a:bodyPr>
          <a:lstStyle>
            <a:lvl1pPr marL="0" indent="0" algn="r">
              <a:lnSpc>
                <a:spcPts val="2438"/>
              </a:lnSpc>
              <a:buNone/>
              <a:defRPr sz="2113">
                <a:solidFill>
                  <a:schemeClr val="bg1"/>
                </a:solidFill>
              </a:defRPr>
            </a:lvl1pPr>
            <a:lvl2pPr marL="371475" indent="0">
              <a:buNone/>
              <a:defRPr sz="4875">
                <a:solidFill>
                  <a:schemeClr val="bg1"/>
                </a:solidFill>
              </a:defRPr>
            </a:lvl2pPr>
          </a:lstStyle>
          <a:p>
            <a:pPr lvl="0"/>
            <a:r>
              <a:rPr lang="en-US"/>
              <a:t>Click to add section title</a:t>
            </a:r>
          </a:p>
        </p:txBody>
      </p:sp>
    </p:spTree>
    <p:extLst>
      <p:ext uri="{BB962C8B-B14F-4D97-AF65-F5344CB8AC3E}">
        <p14:creationId xmlns:p14="http://schemas.microsoft.com/office/powerpoint/2010/main" val="37282780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Opener2">
    <p:bg>
      <p:bgPr>
        <a:solidFill>
          <a:schemeClr val="bg1"/>
        </a:solidFill>
        <a:effectLst/>
      </p:bgPr>
    </p:bg>
    <p:spTree>
      <p:nvGrpSpPr>
        <p:cNvPr id="1" name=""/>
        <p:cNvGrpSpPr/>
        <p:nvPr/>
      </p:nvGrpSpPr>
      <p:grpSpPr>
        <a:xfrm>
          <a:off x="0" y="0"/>
          <a:ext cx="0" cy="0"/>
          <a:chOff x="0" y="0"/>
          <a:chExt cx="0" cy="0"/>
        </a:xfrm>
      </p:grpSpPr>
      <p:pic>
        <p:nvPicPr>
          <p:cNvPr id="8" name="Picture 7" descr="2017_07_12_Talent_IMG_8345_1.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6942221" cy="6858000"/>
          </a:xfrm>
          <a:prstGeom prst="rect">
            <a:avLst/>
          </a:prstGeom>
        </p:spPr>
      </p:pic>
      <p:pic>
        <p:nvPicPr>
          <p:cNvPr id="11"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flipH="1">
            <a:off x="4601961" y="838200"/>
            <a:ext cx="5304039" cy="6019801"/>
          </a:xfrm>
          <a:prstGeom prst="rect">
            <a:avLst/>
          </a:prstGeom>
        </p:spPr>
      </p:pic>
      <p:sp>
        <p:nvSpPr>
          <p:cNvPr id="10"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713585" y="2946391"/>
            <a:ext cx="3860926" cy="1418714"/>
          </a:xfrm>
          <a:prstGeom prst="rect">
            <a:avLst/>
          </a:prstGeom>
        </p:spPr>
        <p:txBody>
          <a:bodyPr anchor="b">
            <a:normAutofit/>
          </a:bodyPr>
          <a:lstStyle>
            <a:lvl1pPr marL="0" indent="0" algn="r">
              <a:lnSpc>
                <a:spcPts val="2438"/>
              </a:lnSpc>
              <a:buNone/>
              <a:defRPr sz="2113">
                <a:solidFill>
                  <a:schemeClr val="bg1"/>
                </a:solidFill>
              </a:defRPr>
            </a:lvl1pPr>
            <a:lvl2pPr marL="371475" indent="0">
              <a:buNone/>
              <a:defRPr sz="4875">
                <a:solidFill>
                  <a:schemeClr val="bg1"/>
                </a:solidFill>
              </a:defRPr>
            </a:lvl2pPr>
          </a:lstStyle>
          <a:p>
            <a:pPr lvl="0"/>
            <a:r>
              <a:rPr lang="en-US"/>
              <a:t>Click to add section title</a:t>
            </a:r>
          </a:p>
        </p:txBody>
      </p:sp>
    </p:spTree>
    <p:extLst>
      <p:ext uri="{BB962C8B-B14F-4D97-AF65-F5344CB8AC3E}">
        <p14:creationId xmlns:p14="http://schemas.microsoft.com/office/powerpoint/2010/main" val="36967421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509474" y="732975"/>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6006117" y="5276722"/>
            <a:ext cx="3568394"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6006117" y="4140765"/>
            <a:ext cx="3568394" cy="974725"/>
          </a:xfrm>
          <a:prstGeom prst="rect">
            <a:avLst/>
          </a:prstGeom>
        </p:spPr>
        <p:txBody>
          <a:bodyPr anchor="b">
            <a:noAutofit/>
          </a:bodyPr>
          <a:lstStyle>
            <a:lvl1pPr algn="r">
              <a:lnSpc>
                <a:spcPts val="2438"/>
              </a:lnSpc>
              <a:defRPr sz="2113">
                <a:solidFill>
                  <a:schemeClr val="bg1"/>
                </a:solidFill>
              </a:defRPr>
            </a:lvl1pPr>
          </a:lstStyle>
          <a:p>
            <a:pPr lvl="0"/>
            <a:r>
              <a:rPr lang="en-US"/>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a:t>Click to add title</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a16="http://schemas.microsoft.com/office/drawing/2014/main" id="{834ADCB4-BFB1-450D-8F6D-64217F4CD92C}"/>
              </a:ext>
            </a:extLst>
          </p:cNvPr>
          <p:cNvSpPr/>
          <p:nvPr userDrawn="1"/>
        </p:nvSpPr>
        <p:spPr>
          <a:xfrm>
            <a:off x="757945" y="6555971"/>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236233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31490" y="2276872"/>
            <a:ext cx="4387484" cy="869950"/>
          </a:xfrm>
        </p:spPr>
        <p:txBody>
          <a:bodyPr lIns="0" tIns="0" rIns="0" bIns="0" anchor="b">
            <a:normAutofit/>
          </a:bodyPr>
          <a:lstStyle>
            <a:lvl1pPr>
              <a:lnSpc>
                <a:spcPts val="2438"/>
              </a:lnSpc>
              <a:defRPr sz="2113">
                <a:solidFill>
                  <a:schemeClr val="tx2"/>
                </a:solidFill>
              </a:defRPr>
            </a:lvl1pPr>
            <a:lvl2pPr>
              <a:defRPr sz="1950">
                <a:solidFill>
                  <a:schemeClr val="bg1"/>
                </a:solidFill>
              </a:defRPr>
            </a:lvl2pPr>
          </a:lstStyle>
          <a:p>
            <a:pPr lvl="0"/>
            <a:r>
              <a:rPr lang="en-US"/>
              <a:t>Click to insert title</a:t>
            </a:r>
            <a:endParaRPr lang="pt-PT"/>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31490" y="3261834"/>
            <a:ext cx="4387484" cy="1196340"/>
          </a:xfrm>
        </p:spPr>
        <p:txBody>
          <a:bodyPr lIns="0" tIns="0" rIns="0" bIns="0">
            <a:normAutofit/>
          </a:bodyPr>
          <a:lstStyle>
            <a:lvl1pPr>
              <a:lnSpc>
                <a:spcPts val="1463"/>
              </a:lnSpc>
              <a:defRPr sz="1300">
                <a:solidFill>
                  <a:schemeClr val="accent2"/>
                </a:solidFill>
              </a:defRPr>
            </a:lvl1pPr>
            <a:lvl2pPr>
              <a:defRPr sz="1300">
                <a:solidFill>
                  <a:schemeClr val="bg1"/>
                </a:solidFill>
              </a:defRPr>
            </a:lvl2pPr>
          </a:lstStyle>
          <a:p>
            <a:pPr lvl="0"/>
            <a:r>
              <a:rPr lang="en-US"/>
              <a:t>Click to insert presenter, location, and date</a:t>
            </a:r>
            <a:endParaRPr lang="pt-PT"/>
          </a:p>
        </p:txBody>
      </p:sp>
      <p:sp>
        <p:nvSpPr>
          <p:cNvPr id="4" name="Freeform 11"/>
          <p:cNvSpPr>
            <a:spLocks/>
          </p:cNvSpPr>
          <p:nvPr userDrawn="1"/>
        </p:nvSpPr>
        <p:spPr bwMode="auto">
          <a:xfrm rot="16200000" flipH="1">
            <a:off x="4580047" y="606982"/>
            <a:ext cx="6353908" cy="5139949"/>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74295" tIns="37148" rIns="74295" bIns="37148" numCol="1" anchor="t" anchorCtr="0" compatLnSpc="1">
            <a:prstTxWarp prst="textNoShape">
              <a:avLst/>
            </a:prstTxWarp>
          </a:bodyPr>
          <a:lstStyle/>
          <a:p>
            <a:endParaRPr lang="en-US" sz="1544"/>
          </a:p>
        </p:txBody>
      </p:sp>
    </p:spTree>
    <p:extLst>
      <p:ext uri="{BB962C8B-B14F-4D97-AF65-F5344CB8AC3E}">
        <p14:creationId xmlns:p14="http://schemas.microsoft.com/office/powerpoint/2010/main" val="3557284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708" r="22708"/>
          <a:stretch/>
        </p:blipFill>
        <p:spPr>
          <a:xfrm flipH="1">
            <a:off x="0" y="-1588"/>
            <a:ext cx="5407025" cy="6859588"/>
          </a:xfrm>
          <a:prstGeom prst="rect">
            <a:avLst/>
          </a:prstGeom>
        </p:spPr>
      </p:pic>
    </p:spTree>
    <p:extLst>
      <p:ext uri="{BB962C8B-B14F-4D97-AF65-F5344CB8AC3E}">
        <p14:creationId xmlns:p14="http://schemas.microsoft.com/office/powerpoint/2010/main" val="3312480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1" name="Freeform 130"/>
          <p:cNvSpPr>
            <a:spLocks/>
          </p:cNvSpPr>
          <p:nvPr userDrawn="1"/>
        </p:nvSpPr>
        <p:spPr bwMode="auto">
          <a:xfrm>
            <a:off x="0" y="1383198"/>
            <a:ext cx="9906000" cy="5474803"/>
          </a:xfrm>
          <a:custGeom>
            <a:avLst/>
            <a:gdLst>
              <a:gd name="connsiteX0" fmla="*/ 0 w 12192000"/>
              <a:gd name="connsiteY0" fmla="*/ 0 h 5474803"/>
              <a:gd name="connsiteX1" fmla="*/ 77766 w 12192000"/>
              <a:gd name="connsiteY1" fmla="*/ 11998 h 5474803"/>
              <a:gd name="connsiteX2" fmla="*/ 1929470 w 12192000"/>
              <a:gd name="connsiteY2" fmla="*/ 1149472 h 5474803"/>
              <a:gd name="connsiteX3" fmla="*/ 7155949 w 12192000"/>
              <a:gd name="connsiteY3" fmla="*/ 1538906 h 5474803"/>
              <a:gd name="connsiteX4" fmla="*/ 11934905 w 12192000"/>
              <a:gd name="connsiteY4" fmla="*/ 3192928 h 5474803"/>
              <a:gd name="connsiteX5" fmla="*/ 12192000 w 12192000"/>
              <a:gd name="connsiteY5" fmla="*/ 3492153 h 5474803"/>
              <a:gd name="connsiteX6" fmla="*/ 12192000 w 12192000"/>
              <a:gd name="connsiteY6" fmla="*/ 5474803 h 5474803"/>
              <a:gd name="connsiteX7" fmla="*/ 0 w 12192000"/>
              <a:gd name="connsiteY7" fmla="*/ 5474803 h 547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474803">
                <a:moveTo>
                  <a:pt x="0" y="0"/>
                </a:moveTo>
                <a:lnTo>
                  <a:pt x="77766" y="11998"/>
                </a:lnTo>
                <a:cubicBezTo>
                  <a:pt x="944266" y="185990"/>
                  <a:pt x="1584995" y="829026"/>
                  <a:pt x="1929470" y="1149472"/>
                </a:cubicBezTo>
                <a:cubicBezTo>
                  <a:pt x="2303853" y="4798249"/>
                  <a:pt x="4344363" y="3188421"/>
                  <a:pt x="7155949" y="1538906"/>
                </a:cubicBezTo>
                <a:cubicBezTo>
                  <a:pt x="8911642" y="509509"/>
                  <a:pt x="10770964" y="1903420"/>
                  <a:pt x="11934905" y="3192928"/>
                </a:cubicBezTo>
                <a:lnTo>
                  <a:pt x="12192000" y="3492153"/>
                </a:lnTo>
                <a:lnTo>
                  <a:pt x="12192000" y="5474803"/>
                </a:lnTo>
                <a:lnTo>
                  <a:pt x="0" y="5474803"/>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544"/>
          </a:p>
        </p:txBody>
      </p:sp>
      <p:pic>
        <p:nvPicPr>
          <p:cNvPr id="16" name="Picture 15"/>
          <p:cNvPicPr>
            <a:picLocks noChangeAspect="1"/>
          </p:cNvPicPr>
          <p:nvPr userDrawn="1"/>
        </p:nvPicPr>
        <p:blipFill rotWithShape="1">
          <a:blip r:embed="rId6" cstate="screen">
            <a:extLst>
              <a:ext uri="{28A0092B-C50C-407E-A947-70E740481C1C}">
                <a14:useLocalDpi xmlns:a14="http://schemas.microsoft.com/office/drawing/2010/main"/>
              </a:ext>
            </a:extLst>
          </a:blip>
          <a:srcRect l="14025" t="29446" r="31430" b="11665"/>
          <a:stretch/>
        </p:blipFill>
        <p:spPr>
          <a:xfrm flipH="1">
            <a:off x="-8048" y="150467"/>
            <a:ext cx="3598973" cy="6707533"/>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385585" y="5029200"/>
            <a:ext cx="4295982" cy="1460500"/>
          </a:xfrm>
          <a:prstGeom prst="rect">
            <a:avLst/>
          </a:prstGeom>
        </p:spPr>
        <p:txBody>
          <a:bodyPr anchor="ctr">
            <a:normAutofit/>
          </a:bodyPr>
          <a:lstStyle>
            <a:lvl1pPr marL="0" indent="0" algn="r">
              <a:buNone/>
              <a:defRPr sz="3250" b="1">
                <a:solidFill>
                  <a:schemeClr val="accent1"/>
                </a:solidFill>
              </a:defRPr>
            </a:lvl1pPr>
            <a:lvl2pPr marL="371475" indent="0">
              <a:buNone/>
              <a:defRPr sz="4875">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696915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31490" y="2010607"/>
            <a:ext cx="4504135"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endParaRPr lang="en-US" dirty="0"/>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p:nvPr>
        </p:nvSpPr>
        <p:spPr>
          <a:xfrm>
            <a:off x="5070378" y="2010606"/>
            <a:ext cx="4482111"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1490" y="1420990"/>
            <a:ext cx="4504135"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070378" y="1420990"/>
            <a:ext cx="448211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8033242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8_Blank-Gre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pPr algn="r"/>
              <a:t>‹#›</a:t>
            </a:fld>
            <a:endParaRPr lang="en-US" sz="650" dirty="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Autofit/>
          </a:bodyPr>
          <a:lstStyle>
            <a:lvl1pPr>
              <a:lnSpc>
                <a:spcPts val="2194"/>
              </a:lnSpc>
              <a:defRPr lang="pt-PT" sz="1869" dirty="0"/>
            </a:lvl1pPr>
          </a:lstStyle>
          <a:p>
            <a:pPr lvl="0">
              <a:lnSpc>
                <a:spcPts val="2438"/>
              </a:lnSpc>
            </a:pPr>
            <a:r>
              <a:rPr lang="en-US" dirty="0"/>
              <a:t>Click to add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9382582" y="188640"/>
            <a:ext cx="344789" cy="459624"/>
          </a:xfrm>
          <a:prstGeom prst="rect">
            <a:avLst/>
          </a:prstGeom>
        </p:spPr>
      </p:pic>
      <p:cxnSp>
        <p:nvCxnSpPr>
          <p:cNvPr id="8" name="Conector reto 49">
            <a:extLst>
              <a:ext uri="{FF2B5EF4-FFF2-40B4-BE49-F238E27FC236}">
                <a16:creationId xmlns:a16="http://schemas.microsoft.com/office/drawing/2014/main" id="{29E4AF9B-A01C-4DE0-94A8-CE650B0E938E}"/>
              </a:ext>
            </a:extLst>
          </p:cNvPr>
          <p:cNvCxnSpPr>
            <a:cxnSpLocks/>
          </p:cNvCxnSpPr>
          <p:nvPr userDrawn="1"/>
        </p:nvCxnSpPr>
        <p:spPr>
          <a:xfrm flipV="1">
            <a:off x="3092048" y="6587751"/>
            <a:ext cx="0" cy="155576"/>
          </a:xfrm>
          <a:prstGeom prst="line">
            <a:avLst/>
          </a:prstGeom>
          <a:solidFill>
            <a:schemeClr val="tx1"/>
          </a:solidFill>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F1CED660-13F9-43A6-A9F4-459E321D5F52}"/>
              </a:ext>
            </a:extLst>
          </p:cNvPr>
          <p:cNvSpPr/>
          <p:nvPr userDrawn="1"/>
        </p:nvSpPr>
        <p:spPr>
          <a:xfrm>
            <a:off x="3171020" y="6555811"/>
            <a:ext cx="1806745" cy="219456"/>
          </a:xfrm>
          <a:prstGeom prst="rect">
            <a:avLst/>
          </a:prstGeom>
        </p:spPr>
        <p:txBody>
          <a:bodyPr wrap="none" lIns="0" tIns="0" rIns="0" bIns="0" anchor="ctr" anchorCtr="0">
            <a:noAutofit/>
          </a:bodyPr>
          <a:lstStyle/>
          <a:p>
            <a:pPr algn="l"/>
            <a:r>
              <a:rPr lang="en-US" sz="650" dirty="0">
                <a:solidFill>
                  <a:schemeClr val="tx2"/>
                </a:solidFill>
                <a:latin typeface="+mn-lt"/>
                <a:cs typeface="Arial" panose="020B0604020202020204" pitchFamily="34" charset="0"/>
              </a:rPr>
              <a:t>© 2018 Capgemini. All rights reserved.</a:t>
            </a:r>
          </a:p>
        </p:txBody>
      </p:sp>
    </p:spTree>
    <p:extLst>
      <p:ext uri="{BB962C8B-B14F-4D97-AF65-F5344CB8AC3E}">
        <p14:creationId xmlns:p14="http://schemas.microsoft.com/office/powerpoint/2010/main" val="16671922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are tittel">
    <p:bg>
      <p:bgPr>
        <a:solidFill>
          <a:srgbClr val="12ABDB"/>
        </a:solidFill>
        <a:effectLst/>
      </p:bgPr>
    </p:bg>
    <p:spTree>
      <p:nvGrpSpPr>
        <p:cNvPr id="1" name=""/>
        <p:cNvGrpSpPr/>
        <p:nvPr/>
      </p:nvGrpSpPr>
      <p:grpSpPr>
        <a:xfrm>
          <a:off x="0" y="0"/>
          <a:ext cx="0" cy="0"/>
          <a:chOff x="0" y="0"/>
          <a:chExt cx="0" cy="0"/>
        </a:xfrm>
      </p:grpSpPr>
      <p:sp>
        <p:nvSpPr>
          <p:cNvPr id="5" name="Plassholder for lysbildenummer 4"/>
          <p:cNvSpPr>
            <a:spLocks noGrp="1"/>
          </p:cNvSpPr>
          <p:nvPr>
            <p:ph type="sldNum" sz="quarter" idx="12"/>
          </p:nvPr>
        </p:nvSpPr>
        <p:spPr/>
        <p:txBody>
          <a:bodyPr/>
          <a:lstStyle/>
          <a:p>
            <a:fld id="{D44D14ED-0D95-0A4E-B3A8-A33C6EC5ADAE}" type="slidenum">
              <a:rPr lang="nb-NO" smtClean="0"/>
              <a:t>‹#›</a:t>
            </a:fld>
            <a:endParaRPr lang="nb-NO"/>
          </a:p>
        </p:txBody>
      </p:sp>
      <p:sp>
        <p:nvSpPr>
          <p:cNvPr id="6" name="Tittel 1"/>
          <p:cNvSpPr>
            <a:spLocks noGrp="1"/>
          </p:cNvSpPr>
          <p:nvPr>
            <p:ph type="title"/>
          </p:nvPr>
        </p:nvSpPr>
        <p:spPr>
          <a:xfrm>
            <a:off x="682328" y="820271"/>
            <a:ext cx="4999055" cy="741830"/>
          </a:xfrm>
        </p:spPr>
        <p:txBody>
          <a:bodyPr anchor="t">
            <a:normAutofit/>
          </a:bodyPr>
          <a:lstStyle>
            <a:lvl1pPr>
              <a:defRPr sz="1950">
                <a:solidFill>
                  <a:schemeClr val="bg1"/>
                </a:solidFill>
              </a:defRPr>
            </a:lvl1pPr>
          </a:lstStyle>
          <a:p>
            <a:r>
              <a:rPr lang="nb-NO" dirty="0"/>
              <a:t>Klikk for å redigere tittelstil</a:t>
            </a:r>
          </a:p>
        </p:txBody>
      </p:sp>
      <p:sp>
        <p:nvSpPr>
          <p:cNvPr id="7" name="Plassholder for tekst 3"/>
          <p:cNvSpPr>
            <a:spLocks noGrp="1"/>
          </p:cNvSpPr>
          <p:nvPr>
            <p:ph type="body" sz="half" idx="2"/>
          </p:nvPr>
        </p:nvSpPr>
        <p:spPr>
          <a:xfrm>
            <a:off x="682328" y="1761566"/>
            <a:ext cx="4999055" cy="4107423"/>
          </a:xfrm>
        </p:spPr>
        <p:txBody>
          <a:bodyPr/>
          <a:lstStyle>
            <a:lvl1pPr marL="0" indent="0">
              <a:buNone/>
              <a:defRPr sz="1300">
                <a:solidFill>
                  <a:schemeClr val="bg1"/>
                </a:solidFill>
              </a:defRPr>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nb-NO"/>
              <a:t>Klikk for å redigere tekststiler i malen</a:t>
            </a:r>
          </a:p>
        </p:txBody>
      </p:sp>
      <p:pic>
        <p:nvPicPr>
          <p:cNvPr id="2" name="Bild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17497" y="-1"/>
            <a:ext cx="4388504" cy="6858001"/>
          </a:xfrm>
          <a:prstGeom prst="rect">
            <a:avLst/>
          </a:prstGeom>
        </p:spPr>
      </p:pic>
    </p:spTree>
    <p:extLst>
      <p:ext uri="{BB962C8B-B14F-4D97-AF65-F5344CB8AC3E}">
        <p14:creationId xmlns:p14="http://schemas.microsoft.com/office/powerpoint/2010/main" val="8013932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Blank-White">
    <p:spTree>
      <p:nvGrpSpPr>
        <p:cNvPr id="1" name=""/>
        <p:cNvGrpSpPr/>
        <p:nvPr/>
      </p:nvGrpSpPr>
      <p:grpSpPr>
        <a:xfrm>
          <a:off x="0" y="0"/>
          <a:ext cx="0" cy="0"/>
          <a:chOff x="0" y="0"/>
          <a:chExt cx="0" cy="0"/>
        </a:xfrm>
      </p:grpSpPr>
      <p:sp>
        <p:nvSpPr>
          <p:cNvPr id="169" name="Rectangle 168"/>
          <p:cNvSpPr/>
          <p:nvPr userDrawn="1"/>
        </p:nvSpPr>
        <p:spPr>
          <a:xfrm>
            <a:off x="0" y="0"/>
            <a:ext cx="990352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dirty="0">
              <a:solidFill>
                <a:schemeClr val="tx1"/>
              </a:solidFill>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71017" y="1974989"/>
            <a:ext cx="2702219"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67" name="Freeform 266"/>
          <p:cNvSpPr>
            <a:spLocks/>
          </p:cNvSpPr>
          <p:nvPr userDrawn="1"/>
        </p:nvSpPr>
        <p:spPr bwMode="auto">
          <a:xfrm flipH="1">
            <a:off x="6534055" y="0"/>
            <a:ext cx="3371946" cy="6858000"/>
          </a:xfrm>
          <a:custGeom>
            <a:avLst/>
            <a:gdLst>
              <a:gd name="connsiteX0" fmla="*/ 539729 w 4150087"/>
              <a:gd name="connsiteY0" fmla="*/ 0 h 6858000"/>
              <a:gd name="connsiteX1" fmla="*/ 0 w 4150087"/>
              <a:gd name="connsiteY1" fmla="*/ 0 h 6858000"/>
              <a:gd name="connsiteX2" fmla="*/ 0 w 4150087"/>
              <a:gd name="connsiteY2" fmla="*/ 6858000 h 6858000"/>
              <a:gd name="connsiteX3" fmla="*/ 2202291 w 4150087"/>
              <a:gd name="connsiteY3" fmla="*/ 6858000 h 6858000"/>
              <a:gd name="connsiteX4" fmla="*/ 2173912 w 4150087"/>
              <a:gd name="connsiteY4" fmla="*/ 6819426 h 6858000"/>
              <a:gd name="connsiteX5" fmla="*/ 1977441 w 4150087"/>
              <a:gd name="connsiteY5" fmla="*/ 6280476 h 6858000"/>
              <a:gd name="connsiteX6" fmla="*/ 3729770 w 4150087"/>
              <a:gd name="connsiteY6" fmla="*/ 3926543 h 6858000"/>
              <a:gd name="connsiteX7" fmla="*/ 3706089 w 4150087"/>
              <a:gd name="connsiteY7" fmla="*/ 2589889 h 6858000"/>
              <a:gd name="connsiteX8" fmla="*/ 3587689 w 4150087"/>
              <a:gd name="connsiteY8" fmla="*/ 2518916 h 6858000"/>
              <a:gd name="connsiteX9" fmla="*/ 548529 w 4150087"/>
              <a:gd name="connsiteY9" fmla="*/ 123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0087" h="6858000">
                <a:moveTo>
                  <a:pt x="539729" y="0"/>
                </a:moveTo>
                <a:lnTo>
                  <a:pt x="0" y="0"/>
                </a:lnTo>
                <a:lnTo>
                  <a:pt x="0" y="6858000"/>
                </a:lnTo>
                <a:lnTo>
                  <a:pt x="2202291" y="6858000"/>
                </a:lnTo>
                <a:lnTo>
                  <a:pt x="2173912" y="6819426"/>
                </a:lnTo>
                <a:cubicBezTo>
                  <a:pt x="2081781" y="6673044"/>
                  <a:pt x="2012961" y="6493395"/>
                  <a:pt x="1977441" y="6280476"/>
                </a:cubicBezTo>
                <a:cubicBezTo>
                  <a:pt x="1847200" y="5133082"/>
                  <a:pt x="2687845" y="4825533"/>
                  <a:pt x="3729770" y="3926543"/>
                </a:cubicBezTo>
                <a:cubicBezTo>
                  <a:pt x="4546734" y="3216815"/>
                  <a:pt x="3966571" y="2743663"/>
                  <a:pt x="3706089" y="2589889"/>
                </a:cubicBezTo>
                <a:cubicBezTo>
                  <a:pt x="3658729" y="2566231"/>
                  <a:pt x="3623209" y="2542574"/>
                  <a:pt x="3587689" y="2518916"/>
                </a:cubicBezTo>
                <a:cubicBezTo>
                  <a:pt x="1989282" y="1731561"/>
                  <a:pt x="703062" y="1183324"/>
                  <a:pt x="548529" y="123713"/>
                </a:cubicBezTo>
                <a:close/>
              </a:path>
            </a:pathLst>
          </a:custGeom>
          <a:solidFill>
            <a:schemeClr val="accent3"/>
          </a:solidFill>
          <a:ln>
            <a:noFill/>
          </a:ln>
        </p:spPr>
        <p:txBody>
          <a:bodyPr vert="horz" wrap="square" lIns="74295" tIns="37148" rIns="74295" bIns="37148" numCol="1" anchor="t" anchorCtr="0" compatLnSpc="1">
            <a:prstTxWarp prst="textNoShape">
              <a:avLst/>
            </a:prstTxWarp>
            <a:noAutofit/>
          </a:bodyPr>
          <a:lstStyle/>
          <a:p>
            <a:endParaRPr lang="en-US" sz="1544"/>
          </a:p>
        </p:txBody>
      </p:sp>
      <p:sp>
        <p:nvSpPr>
          <p:cNvPr id="163" name="Freeform 162"/>
          <p:cNvSpPr>
            <a:spLocks/>
          </p:cNvSpPr>
          <p:nvPr/>
        </p:nvSpPr>
        <p:spPr bwMode="auto">
          <a:xfrm flipH="1">
            <a:off x="5898945" y="2591538"/>
            <a:ext cx="2415222" cy="4266462"/>
          </a:xfrm>
          <a:custGeom>
            <a:avLst/>
            <a:gdLst>
              <a:gd name="connsiteX0" fmla="*/ 1741812 w 2972581"/>
              <a:gd name="connsiteY0" fmla="*/ 0 h 4266462"/>
              <a:gd name="connsiteX1" fmla="*/ 1765490 w 2972581"/>
              <a:gd name="connsiteY1" fmla="*/ 1337215 h 4266462"/>
              <a:gd name="connsiteX2" fmla="*/ 13345 w 2972581"/>
              <a:gd name="connsiteY2" fmla="*/ 3692132 h 4266462"/>
              <a:gd name="connsiteX3" fmla="*/ 209795 w 2972581"/>
              <a:gd name="connsiteY3" fmla="*/ 4231308 h 4266462"/>
              <a:gd name="connsiteX4" fmla="*/ 235644 w 2972581"/>
              <a:gd name="connsiteY4" fmla="*/ 4266462 h 4266462"/>
              <a:gd name="connsiteX5" fmla="*/ 735255 w 2972581"/>
              <a:gd name="connsiteY5" fmla="*/ 4266462 h 4266462"/>
              <a:gd name="connsiteX6" fmla="*/ 796926 w 2972581"/>
              <a:gd name="connsiteY6" fmla="*/ 4250168 h 4266462"/>
              <a:gd name="connsiteX7" fmla="*/ 1895717 w 2972581"/>
              <a:gd name="connsiteY7" fmla="*/ 3621129 h 4266462"/>
              <a:gd name="connsiteX8" fmla="*/ 2937533 w 2972581"/>
              <a:gd name="connsiteY8" fmla="*/ 2402253 h 4266462"/>
              <a:gd name="connsiteX9" fmla="*/ 1741812 w 2972581"/>
              <a:gd name="connsiteY9" fmla="*/ 0 h 426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2581" h="4266462">
                <a:moveTo>
                  <a:pt x="1741812" y="0"/>
                </a:moveTo>
                <a:cubicBezTo>
                  <a:pt x="2002266" y="153839"/>
                  <a:pt x="2582368" y="627189"/>
                  <a:pt x="1765490" y="1337215"/>
                </a:cubicBezTo>
                <a:cubicBezTo>
                  <a:pt x="723674" y="2236580"/>
                  <a:pt x="-116882" y="2544258"/>
                  <a:pt x="13345" y="3692132"/>
                </a:cubicBezTo>
                <a:cubicBezTo>
                  <a:pt x="48861" y="3905140"/>
                  <a:pt x="117675" y="4084865"/>
                  <a:pt x="209795" y="4231308"/>
                </a:cubicBezTo>
                <a:lnTo>
                  <a:pt x="235644" y="4266462"/>
                </a:lnTo>
                <a:lnTo>
                  <a:pt x="735255" y="4266462"/>
                </a:lnTo>
                <a:lnTo>
                  <a:pt x="796926" y="4250168"/>
                </a:lnTo>
                <a:cubicBezTo>
                  <a:pt x="1263080" y="4113709"/>
                  <a:pt x="1655981" y="3914015"/>
                  <a:pt x="1895717" y="3621129"/>
                </a:cubicBezTo>
                <a:cubicBezTo>
                  <a:pt x="2227204" y="3218782"/>
                  <a:pt x="2570529" y="2485089"/>
                  <a:pt x="2937533" y="2402253"/>
                </a:cubicBezTo>
                <a:cubicBezTo>
                  <a:pt x="2937533" y="2402253"/>
                  <a:pt x="3292697" y="852031"/>
                  <a:pt x="174181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544"/>
          </a:p>
        </p:txBody>
      </p:sp>
      <p:grpSp>
        <p:nvGrpSpPr>
          <p:cNvPr id="166" name="Group 165"/>
          <p:cNvGrpSpPr/>
          <p:nvPr userDrawn="1"/>
        </p:nvGrpSpPr>
        <p:grpSpPr>
          <a:xfrm flipH="1">
            <a:off x="8399461" y="1"/>
            <a:ext cx="1264416" cy="4439283"/>
            <a:chOff x="10576223" y="205195"/>
            <a:chExt cx="1741050" cy="4717643"/>
          </a:xfrm>
        </p:grpSpPr>
        <p:sp>
          <p:nvSpPr>
            <p:cNvPr id="1429" name="Freeform 49"/>
            <p:cNvSpPr>
              <a:spLocks/>
            </p:cNvSpPr>
            <p:nvPr userDrawn="1"/>
          </p:nvSpPr>
          <p:spPr bwMode="auto">
            <a:xfrm>
              <a:off x="10609012" y="205195"/>
              <a:ext cx="1708261" cy="4717643"/>
            </a:xfrm>
            <a:custGeom>
              <a:avLst/>
              <a:gdLst>
                <a:gd name="T0" fmla="*/ 736 w 736"/>
                <a:gd name="T1" fmla="*/ 2093 h 2120"/>
                <a:gd name="T2" fmla="*/ 736 w 736"/>
                <a:gd name="T3" fmla="*/ 2120 h 2120"/>
                <a:gd name="T4" fmla="*/ 44 w 736"/>
                <a:gd name="T5" fmla="*/ 916 h 2120"/>
                <a:gd name="T6" fmla="*/ 33 w 736"/>
                <a:gd name="T7" fmla="*/ 896 h 2120"/>
                <a:gd name="T8" fmla="*/ 0 w 736"/>
                <a:gd name="T9" fmla="*/ 837 h 2120"/>
                <a:gd name="T10" fmla="*/ 1 w 736"/>
                <a:gd name="T11" fmla="*/ 834 h 2120"/>
                <a:gd name="T12" fmla="*/ 31 w 736"/>
                <a:gd name="T13" fmla="*/ 781 h 2120"/>
                <a:gd name="T14" fmla="*/ 42 w 736"/>
                <a:gd name="T15" fmla="*/ 762 h 2120"/>
                <a:gd name="T16" fmla="*/ 468 w 736"/>
                <a:gd name="T17" fmla="*/ 0 h 2120"/>
                <a:gd name="T18" fmla="*/ 482 w 736"/>
                <a:gd name="T19" fmla="*/ 0 h 2120"/>
                <a:gd name="T20" fmla="*/ 55 w 736"/>
                <a:gd name="T21" fmla="*/ 763 h 2120"/>
                <a:gd name="T22" fmla="*/ 45 w 736"/>
                <a:gd name="T23" fmla="*/ 779 h 2120"/>
                <a:gd name="T24" fmla="*/ 14 w 736"/>
                <a:gd name="T25" fmla="*/ 837 h 2120"/>
                <a:gd name="T26" fmla="*/ 47 w 736"/>
                <a:gd name="T27" fmla="*/ 896 h 2120"/>
                <a:gd name="T28" fmla="*/ 58 w 736"/>
                <a:gd name="T29" fmla="*/ 915 h 2120"/>
                <a:gd name="T30" fmla="*/ 736 w 736"/>
                <a:gd name="T31" fmla="*/ 2093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6" h="2120">
                  <a:moveTo>
                    <a:pt x="736" y="2093"/>
                  </a:moveTo>
                  <a:lnTo>
                    <a:pt x="736" y="2120"/>
                  </a:lnTo>
                  <a:lnTo>
                    <a:pt x="44" y="916"/>
                  </a:lnTo>
                  <a:lnTo>
                    <a:pt x="33" y="896"/>
                  </a:lnTo>
                  <a:lnTo>
                    <a:pt x="0" y="837"/>
                  </a:lnTo>
                  <a:lnTo>
                    <a:pt x="1" y="834"/>
                  </a:lnTo>
                  <a:lnTo>
                    <a:pt x="31" y="781"/>
                  </a:lnTo>
                  <a:lnTo>
                    <a:pt x="42" y="762"/>
                  </a:lnTo>
                  <a:lnTo>
                    <a:pt x="468" y="0"/>
                  </a:lnTo>
                  <a:lnTo>
                    <a:pt x="482" y="0"/>
                  </a:lnTo>
                  <a:lnTo>
                    <a:pt x="55" y="763"/>
                  </a:lnTo>
                  <a:lnTo>
                    <a:pt x="45" y="779"/>
                  </a:lnTo>
                  <a:lnTo>
                    <a:pt x="14" y="837"/>
                  </a:lnTo>
                  <a:lnTo>
                    <a:pt x="47" y="896"/>
                  </a:lnTo>
                  <a:lnTo>
                    <a:pt x="58" y="915"/>
                  </a:lnTo>
                  <a:lnTo>
                    <a:pt x="736" y="2093"/>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30" name="Freeform 50"/>
            <p:cNvSpPr>
              <a:spLocks/>
            </p:cNvSpPr>
            <p:nvPr userDrawn="1"/>
          </p:nvSpPr>
          <p:spPr bwMode="auto">
            <a:xfrm>
              <a:off x="10576223" y="1934617"/>
              <a:ext cx="280987" cy="279400"/>
            </a:xfrm>
            <a:custGeom>
              <a:avLst/>
              <a:gdLst>
                <a:gd name="T0" fmla="*/ 81 w 112"/>
                <a:gd name="T1" fmla="*/ 98 h 112"/>
                <a:gd name="T2" fmla="*/ 14 w 112"/>
                <a:gd name="T3" fmla="*/ 82 h 112"/>
                <a:gd name="T4" fmla="*/ 30 w 112"/>
                <a:gd name="T5" fmla="*/ 14 h 112"/>
                <a:gd name="T6" fmla="*/ 98 w 112"/>
                <a:gd name="T7" fmla="*/ 31 h 112"/>
                <a:gd name="T8" fmla="*/ 81 w 112"/>
                <a:gd name="T9" fmla="*/ 98 h 112"/>
              </a:gdLst>
              <a:ahLst/>
              <a:cxnLst>
                <a:cxn ang="0">
                  <a:pos x="T0" y="T1"/>
                </a:cxn>
                <a:cxn ang="0">
                  <a:pos x="T2" y="T3"/>
                </a:cxn>
                <a:cxn ang="0">
                  <a:pos x="T4" y="T5"/>
                </a:cxn>
                <a:cxn ang="0">
                  <a:pos x="T6" y="T7"/>
                </a:cxn>
                <a:cxn ang="0">
                  <a:pos x="T8" y="T9"/>
                </a:cxn>
              </a:cxnLst>
              <a:rect l="0" t="0" r="r" b="b"/>
              <a:pathLst>
                <a:path w="112" h="112">
                  <a:moveTo>
                    <a:pt x="81" y="98"/>
                  </a:moveTo>
                  <a:cubicBezTo>
                    <a:pt x="58" y="112"/>
                    <a:pt x="28" y="105"/>
                    <a:pt x="14" y="82"/>
                  </a:cubicBezTo>
                  <a:cubicBezTo>
                    <a:pt x="0" y="59"/>
                    <a:pt x="7" y="29"/>
                    <a:pt x="30" y="14"/>
                  </a:cubicBezTo>
                  <a:cubicBezTo>
                    <a:pt x="53" y="0"/>
                    <a:pt x="84" y="8"/>
                    <a:pt x="98" y="31"/>
                  </a:cubicBezTo>
                  <a:cubicBezTo>
                    <a:pt x="112" y="54"/>
                    <a:pt x="104" y="84"/>
                    <a:pt x="81"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31" name="Freeform 51"/>
            <p:cNvSpPr>
              <a:spLocks/>
            </p:cNvSpPr>
            <p:nvPr userDrawn="1"/>
          </p:nvSpPr>
          <p:spPr bwMode="auto">
            <a:xfrm>
              <a:off x="10611148" y="1966366"/>
              <a:ext cx="209550" cy="212725"/>
            </a:xfrm>
            <a:custGeom>
              <a:avLst/>
              <a:gdLst>
                <a:gd name="T0" fmla="*/ 61 w 84"/>
                <a:gd name="T1" fmla="*/ 74 h 85"/>
                <a:gd name="T2" fmla="*/ 10 w 84"/>
                <a:gd name="T3" fmla="*/ 62 h 85"/>
                <a:gd name="T4" fmla="*/ 23 w 84"/>
                <a:gd name="T5" fmla="*/ 11 h 85"/>
                <a:gd name="T6" fmla="*/ 73 w 84"/>
                <a:gd name="T7" fmla="*/ 23 h 85"/>
                <a:gd name="T8" fmla="*/ 61 w 84"/>
                <a:gd name="T9" fmla="*/ 74 h 85"/>
              </a:gdLst>
              <a:ahLst/>
              <a:cxnLst>
                <a:cxn ang="0">
                  <a:pos x="T0" y="T1"/>
                </a:cxn>
                <a:cxn ang="0">
                  <a:pos x="T2" y="T3"/>
                </a:cxn>
                <a:cxn ang="0">
                  <a:pos x="T4" y="T5"/>
                </a:cxn>
                <a:cxn ang="0">
                  <a:pos x="T6" y="T7"/>
                </a:cxn>
                <a:cxn ang="0">
                  <a:pos x="T8" y="T9"/>
                </a:cxn>
              </a:cxnLst>
              <a:rect l="0" t="0" r="r" b="b"/>
              <a:pathLst>
                <a:path w="84" h="85">
                  <a:moveTo>
                    <a:pt x="61" y="74"/>
                  </a:moveTo>
                  <a:cubicBezTo>
                    <a:pt x="44" y="85"/>
                    <a:pt x="21" y="79"/>
                    <a:pt x="10" y="62"/>
                  </a:cubicBezTo>
                  <a:cubicBezTo>
                    <a:pt x="0" y="44"/>
                    <a:pt x="5" y="21"/>
                    <a:pt x="23" y="11"/>
                  </a:cubicBezTo>
                  <a:cubicBezTo>
                    <a:pt x="40" y="0"/>
                    <a:pt x="63" y="6"/>
                    <a:pt x="73" y="23"/>
                  </a:cubicBezTo>
                  <a:cubicBezTo>
                    <a:pt x="84" y="40"/>
                    <a:pt x="79" y="63"/>
                    <a:pt x="61" y="7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2" name="Freeform 52"/>
            <p:cNvSpPr>
              <a:spLocks/>
            </p:cNvSpPr>
            <p:nvPr userDrawn="1"/>
          </p:nvSpPr>
          <p:spPr bwMode="auto">
            <a:xfrm>
              <a:off x="10680998" y="2039392"/>
              <a:ext cx="69850" cy="68263"/>
            </a:xfrm>
            <a:custGeom>
              <a:avLst/>
              <a:gdLst>
                <a:gd name="T0" fmla="*/ 14 w 28"/>
                <a:gd name="T1" fmla="*/ 27 h 27"/>
                <a:gd name="T2" fmla="*/ 2 w 28"/>
                <a:gd name="T3" fmla="*/ 20 h 27"/>
                <a:gd name="T4" fmla="*/ 1 w 28"/>
                <a:gd name="T5" fmla="*/ 10 h 27"/>
                <a:gd name="T6" fmla="*/ 7 w 28"/>
                <a:gd name="T7" fmla="*/ 2 h 27"/>
                <a:gd name="T8" fmla="*/ 14 w 28"/>
                <a:gd name="T9" fmla="*/ 0 h 27"/>
                <a:gd name="T10" fmla="*/ 25 w 28"/>
                <a:gd name="T11" fmla="*/ 6 h 27"/>
                <a:gd name="T12" fmla="*/ 27 w 28"/>
                <a:gd name="T13" fmla="*/ 16 h 27"/>
                <a:gd name="T14" fmla="*/ 21 w 28"/>
                <a:gd name="T15" fmla="*/ 25 h 27"/>
                <a:gd name="T16" fmla="*/ 14 w 28"/>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14" y="27"/>
                  </a:moveTo>
                  <a:cubicBezTo>
                    <a:pt x="9" y="27"/>
                    <a:pt x="5" y="25"/>
                    <a:pt x="2" y="20"/>
                  </a:cubicBezTo>
                  <a:cubicBezTo>
                    <a:pt x="0" y="17"/>
                    <a:pt x="0" y="14"/>
                    <a:pt x="1" y="10"/>
                  </a:cubicBezTo>
                  <a:cubicBezTo>
                    <a:pt x="1" y="7"/>
                    <a:pt x="4" y="4"/>
                    <a:pt x="7" y="2"/>
                  </a:cubicBezTo>
                  <a:cubicBezTo>
                    <a:pt x="9" y="0"/>
                    <a:pt x="11" y="0"/>
                    <a:pt x="14" y="0"/>
                  </a:cubicBezTo>
                  <a:cubicBezTo>
                    <a:pt x="19" y="0"/>
                    <a:pt x="23" y="2"/>
                    <a:pt x="25" y="6"/>
                  </a:cubicBezTo>
                  <a:cubicBezTo>
                    <a:pt x="27" y="9"/>
                    <a:pt x="28" y="13"/>
                    <a:pt x="27" y="16"/>
                  </a:cubicBezTo>
                  <a:cubicBezTo>
                    <a:pt x="26" y="20"/>
                    <a:pt x="24" y="23"/>
                    <a:pt x="21" y="25"/>
                  </a:cubicBezTo>
                  <a:cubicBezTo>
                    <a:pt x="19" y="26"/>
                    <a:pt x="16" y="27"/>
                    <a:pt x="14"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grpSp>
        <p:nvGrpSpPr>
          <p:cNvPr id="165" name="Group 164"/>
          <p:cNvGrpSpPr/>
          <p:nvPr userDrawn="1"/>
        </p:nvGrpSpPr>
        <p:grpSpPr>
          <a:xfrm>
            <a:off x="8098049" y="0"/>
            <a:ext cx="482051" cy="2588528"/>
            <a:chOff x="9475788" y="966272"/>
            <a:chExt cx="534987" cy="2334141"/>
          </a:xfrm>
        </p:grpSpPr>
        <p:sp>
          <p:nvSpPr>
            <p:cNvPr id="26" name="Freeform 17"/>
            <p:cNvSpPr>
              <a:spLocks/>
            </p:cNvSpPr>
            <p:nvPr userDrawn="1"/>
          </p:nvSpPr>
          <p:spPr bwMode="auto">
            <a:xfrm>
              <a:off x="9602788" y="2771776"/>
              <a:ext cx="282575" cy="387350"/>
            </a:xfrm>
            <a:custGeom>
              <a:avLst/>
              <a:gdLst>
                <a:gd name="T0" fmla="*/ 81 w 113"/>
                <a:gd name="T1" fmla="*/ 42 h 155"/>
                <a:gd name="T2" fmla="*/ 78 w 113"/>
                <a:gd name="T3" fmla="*/ 6 h 155"/>
                <a:gd name="T4" fmla="*/ 57 w 113"/>
                <a:gd name="T5" fmla="*/ 0 h 155"/>
                <a:gd name="T6" fmla="*/ 36 w 113"/>
                <a:gd name="T7" fmla="*/ 6 h 155"/>
                <a:gd name="T8" fmla="*/ 32 w 113"/>
                <a:gd name="T9" fmla="*/ 42 h 155"/>
                <a:gd name="T10" fmla="*/ 0 w 113"/>
                <a:gd name="T11" fmla="*/ 100 h 155"/>
                <a:gd name="T12" fmla="*/ 57 w 113"/>
                <a:gd name="T13" fmla="*/ 155 h 155"/>
                <a:gd name="T14" fmla="*/ 113 w 113"/>
                <a:gd name="T15" fmla="*/ 100 h 155"/>
                <a:gd name="T16" fmla="*/ 81 w 113"/>
                <a:gd name="T17" fmla="*/ 4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155">
                  <a:moveTo>
                    <a:pt x="81" y="42"/>
                  </a:moveTo>
                  <a:cubicBezTo>
                    <a:pt x="70" y="20"/>
                    <a:pt x="78" y="6"/>
                    <a:pt x="78" y="6"/>
                  </a:cubicBezTo>
                  <a:cubicBezTo>
                    <a:pt x="57" y="0"/>
                    <a:pt x="57" y="0"/>
                    <a:pt x="57" y="0"/>
                  </a:cubicBezTo>
                  <a:cubicBezTo>
                    <a:pt x="36" y="6"/>
                    <a:pt x="36" y="6"/>
                    <a:pt x="36" y="6"/>
                  </a:cubicBezTo>
                  <a:cubicBezTo>
                    <a:pt x="36" y="6"/>
                    <a:pt x="43" y="20"/>
                    <a:pt x="32" y="42"/>
                  </a:cubicBezTo>
                  <a:cubicBezTo>
                    <a:pt x="24" y="56"/>
                    <a:pt x="0" y="67"/>
                    <a:pt x="0" y="100"/>
                  </a:cubicBezTo>
                  <a:cubicBezTo>
                    <a:pt x="0" y="131"/>
                    <a:pt x="27" y="155"/>
                    <a:pt x="57" y="155"/>
                  </a:cubicBezTo>
                  <a:cubicBezTo>
                    <a:pt x="86" y="155"/>
                    <a:pt x="113" y="131"/>
                    <a:pt x="113" y="100"/>
                  </a:cubicBezTo>
                  <a:cubicBezTo>
                    <a:pt x="113" y="67"/>
                    <a:pt x="89" y="56"/>
                    <a:pt x="81"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7" name="Rectangle 18"/>
            <p:cNvSpPr>
              <a:spLocks noChangeArrowheads="1"/>
            </p:cNvSpPr>
            <p:nvPr userDrawn="1"/>
          </p:nvSpPr>
          <p:spPr bwMode="auto">
            <a:xfrm>
              <a:off x="9736138" y="966272"/>
              <a:ext cx="17462" cy="1813983"/>
            </a:xfrm>
            <a:prstGeom prst="rect">
              <a:avLst/>
            </a:prstGeom>
            <a:solidFill>
              <a:srgbClr val="01D1D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8" name="Freeform 19"/>
            <p:cNvSpPr>
              <a:spLocks/>
            </p:cNvSpPr>
            <p:nvPr userDrawn="1"/>
          </p:nvSpPr>
          <p:spPr bwMode="auto">
            <a:xfrm>
              <a:off x="9736138" y="3201988"/>
              <a:ext cx="9525" cy="98425"/>
            </a:xfrm>
            <a:custGeom>
              <a:avLst/>
              <a:gdLst>
                <a:gd name="T0" fmla="*/ 4 w 4"/>
                <a:gd name="T1" fmla="*/ 37 h 39"/>
                <a:gd name="T2" fmla="*/ 2 w 4"/>
                <a:gd name="T3" fmla="*/ 39 h 39"/>
                <a:gd name="T4" fmla="*/ 0 w 4"/>
                <a:gd name="T5" fmla="*/ 37 h 39"/>
                <a:gd name="T6" fmla="*/ 0 w 4"/>
                <a:gd name="T7" fmla="*/ 2 h 39"/>
                <a:gd name="T8" fmla="*/ 2 w 4"/>
                <a:gd name="T9" fmla="*/ 0 h 39"/>
                <a:gd name="T10" fmla="*/ 4 w 4"/>
                <a:gd name="T11" fmla="*/ 2 h 39"/>
                <a:gd name="T12" fmla="*/ 4 w 4"/>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4" y="37"/>
                  </a:moveTo>
                  <a:cubicBezTo>
                    <a:pt x="4" y="38"/>
                    <a:pt x="3" y="39"/>
                    <a:pt x="2" y="39"/>
                  </a:cubicBezTo>
                  <a:cubicBezTo>
                    <a:pt x="1" y="39"/>
                    <a:pt x="0" y="38"/>
                    <a:pt x="0" y="37"/>
                  </a:cubicBezTo>
                  <a:cubicBezTo>
                    <a:pt x="0" y="2"/>
                    <a:pt x="0" y="2"/>
                    <a:pt x="0" y="2"/>
                  </a:cubicBezTo>
                  <a:cubicBezTo>
                    <a:pt x="0" y="1"/>
                    <a:pt x="1" y="0"/>
                    <a:pt x="2" y="0"/>
                  </a:cubicBezTo>
                  <a:cubicBezTo>
                    <a:pt x="3" y="0"/>
                    <a:pt x="4" y="1"/>
                    <a:pt x="4" y="2"/>
                  </a:cubicBezTo>
                  <a:lnTo>
                    <a:pt x="4" y="37"/>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29" name="Freeform 20"/>
            <p:cNvSpPr>
              <a:spLocks/>
            </p:cNvSpPr>
            <p:nvPr userDrawn="1"/>
          </p:nvSpPr>
          <p:spPr bwMode="auto">
            <a:xfrm>
              <a:off x="9798050" y="3192463"/>
              <a:ext cx="38100" cy="92075"/>
            </a:xfrm>
            <a:custGeom>
              <a:avLst/>
              <a:gdLst>
                <a:gd name="T0" fmla="*/ 15 w 15"/>
                <a:gd name="T1" fmla="*/ 34 h 37"/>
                <a:gd name="T2" fmla="*/ 14 w 15"/>
                <a:gd name="T3" fmla="*/ 37 h 37"/>
                <a:gd name="T4" fmla="*/ 12 w 15"/>
                <a:gd name="T5" fmla="*/ 36 h 37"/>
                <a:gd name="T6" fmla="*/ 0 w 15"/>
                <a:gd name="T7" fmla="*/ 3 h 37"/>
                <a:gd name="T8" fmla="*/ 1 w 15"/>
                <a:gd name="T9" fmla="*/ 1 h 37"/>
                <a:gd name="T10" fmla="*/ 3 w 15"/>
                <a:gd name="T11" fmla="*/ 2 h 37"/>
                <a:gd name="T12" fmla="*/ 15 w 15"/>
                <a:gd name="T13" fmla="*/ 34 h 37"/>
              </a:gdLst>
              <a:ahLst/>
              <a:cxnLst>
                <a:cxn ang="0">
                  <a:pos x="T0" y="T1"/>
                </a:cxn>
                <a:cxn ang="0">
                  <a:pos x="T2" y="T3"/>
                </a:cxn>
                <a:cxn ang="0">
                  <a:pos x="T4" y="T5"/>
                </a:cxn>
                <a:cxn ang="0">
                  <a:pos x="T6" y="T7"/>
                </a:cxn>
                <a:cxn ang="0">
                  <a:pos x="T8" y="T9"/>
                </a:cxn>
                <a:cxn ang="0">
                  <a:pos x="T10" y="T11"/>
                </a:cxn>
                <a:cxn ang="0">
                  <a:pos x="T12" y="T13"/>
                </a:cxn>
              </a:cxnLst>
              <a:rect l="0" t="0" r="r" b="b"/>
              <a:pathLst>
                <a:path w="15" h="37">
                  <a:moveTo>
                    <a:pt x="15" y="34"/>
                  </a:moveTo>
                  <a:cubicBezTo>
                    <a:pt x="15" y="35"/>
                    <a:pt x="15" y="36"/>
                    <a:pt x="14" y="37"/>
                  </a:cubicBezTo>
                  <a:cubicBezTo>
                    <a:pt x="13" y="37"/>
                    <a:pt x="12" y="37"/>
                    <a:pt x="12" y="36"/>
                  </a:cubicBezTo>
                  <a:cubicBezTo>
                    <a:pt x="0" y="3"/>
                    <a:pt x="0" y="3"/>
                    <a:pt x="0" y="3"/>
                  </a:cubicBezTo>
                  <a:cubicBezTo>
                    <a:pt x="0" y="2"/>
                    <a:pt x="0" y="1"/>
                    <a:pt x="1" y="1"/>
                  </a:cubicBezTo>
                  <a:cubicBezTo>
                    <a:pt x="2" y="0"/>
                    <a:pt x="3" y="1"/>
                    <a:pt x="3" y="2"/>
                  </a:cubicBezTo>
                  <a:lnTo>
                    <a:pt x="15" y="34"/>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0" name="Freeform 21"/>
            <p:cNvSpPr>
              <a:spLocks/>
            </p:cNvSpPr>
            <p:nvPr userDrawn="1"/>
          </p:nvSpPr>
          <p:spPr bwMode="auto">
            <a:xfrm>
              <a:off x="9850438" y="3162301"/>
              <a:ext cx="68262" cy="77788"/>
            </a:xfrm>
            <a:custGeom>
              <a:avLst/>
              <a:gdLst>
                <a:gd name="T0" fmla="*/ 26 w 27"/>
                <a:gd name="T1" fmla="*/ 28 h 31"/>
                <a:gd name="T2" fmla="*/ 26 w 27"/>
                <a:gd name="T3" fmla="*/ 30 h 31"/>
                <a:gd name="T4" fmla="*/ 24 w 27"/>
                <a:gd name="T5" fmla="*/ 30 h 31"/>
                <a:gd name="T6" fmla="*/ 1 w 27"/>
                <a:gd name="T7" fmla="*/ 3 h 31"/>
                <a:gd name="T8" fmla="*/ 1 w 27"/>
                <a:gd name="T9" fmla="*/ 0 h 31"/>
                <a:gd name="T10" fmla="*/ 4 w 27"/>
                <a:gd name="T11" fmla="*/ 1 h 31"/>
                <a:gd name="T12" fmla="*/ 26 w 27"/>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26" y="28"/>
                  </a:moveTo>
                  <a:cubicBezTo>
                    <a:pt x="27" y="28"/>
                    <a:pt x="27" y="29"/>
                    <a:pt x="26" y="30"/>
                  </a:cubicBezTo>
                  <a:cubicBezTo>
                    <a:pt x="25" y="31"/>
                    <a:pt x="24" y="31"/>
                    <a:pt x="24" y="30"/>
                  </a:cubicBezTo>
                  <a:cubicBezTo>
                    <a:pt x="1" y="3"/>
                    <a:pt x="1" y="3"/>
                    <a:pt x="1" y="3"/>
                  </a:cubicBezTo>
                  <a:cubicBezTo>
                    <a:pt x="0" y="2"/>
                    <a:pt x="1" y="1"/>
                    <a:pt x="1" y="0"/>
                  </a:cubicBezTo>
                  <a:cubicBezTo>
                    <a:pt x="2" y="0"/>
                    <a:pt x="3" y="0"/>
                    <a:pt x="4" y="1"/>
                  </a:cubicBezTo>
                  <a:lnTo>
                    <a:pt x="26" y="28"/>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1" name="Freeform 22"/>
            <p:cNvSpPr>
              <a:spLocks/>
            </p:cNvSpPr>
            <p:nvPr userDrawn="1"/>
          </p:nvSpPr>
          <p:spPr bwMode="auto">
            <a:xfrm>
              <a:off x="9893300" y="3114676"/>
              <a:ext cx="85725" cy="52388"/>
            </a:xfrm>
            <a:custGeom>
              <a:avLst/>
              <a:gdLst>
                <a:gd name="T0" fmla="*/ 33 w 34"/>
                <a:gd name="T1" fmla="*/ 18 h 21"/>
                <a:gd name="T2" fmla="*/ 34 w 34"/>
                <a:gd name="T3" fmla="*/ 20 h 21"/>
                <a:gd name="T4" fmla="*/ 31 w 34"/>
                <a:gd name="T5" fmla="*/ 21 h 21"/>
                <a:gd name="T6" fmla="*/ 1 w 34"/>
                <a:gd name="T7" fmla="*/ 3 h 21"/>
                <a:gd name="T8" fmla="*/ 0 w 34"/>
                <a:gd name="T9" fmla="*/ 1 h 21"/>
                <a:gd name="T10" fmla="*/ 3 w 34"/>
                <a:gd name="T11" fmla="*/ 0 h 21"/>
                <a:gd name="T12" fmla="*/ 33 w 34"/>
                <a:gd name="T13" fmla="*/ 18 h 21"/>
              </a:gdLst>
              <a:ahLst/>
              <a:cxnLst>
                <a:cxn ang="0">
                  <a:pos x="T0" y="T1"/>
                </a:cxn>
                <a:cxn ang="0">
                  <a:pos x="T2" y="T3"/>
                </a:cxn>
                <a:cxn ang="0">
                  <a:pos x="T4" y="T5"/>
                </a:cxn>
                <a:cxn ang="0">
                  <a:pos x="T6" y="T7"/>
                </a:cxn>
                <a:cxn ang="0">
                  <a:pos x="T8" y="T9"/>
                </a:cxn>
                <a:cxn ang="0">
                  <a:pos x="T10" y="T11"/>
                </a:cxn>
                <a:cxn ang="0">
                  <a:pos x="T12" y="T13"/>
                </a:cxn>
              </a:cxnLst>
              <a:rect l="0" t="0" r="r" b="b"/>
              <a:pathLst>
                <a:path w="34" h="21">
                  <a:moveTo>
                    <a:pt x="33" y="18"/>
                  </a:moveTo>
                  <a:cubicBezTo>
                    <a:pt x="34" y="18"/>
                    <a:pt x="34" y="19"/>
                    <a:pt x="34" y="20"/>
                  </a:cubicBezTo>
                  <a:cubicBezTo>
                    <a:pt x="33" y="21"/>
                    <a:pt x="32" y="21"/>
                    <a:pt x="31" y="21"/>
                  </a:cubicBezTo>
                  <a:cubicBezTo>
                    <a:pt x="1" y="3"/>
                    <a:pt x="1" y="3"/>
                    <a:pt x="1" y="3"/>
                  </a:cubicBezTo>
                  <a:cubicBezTo>
                    <a:pt x="0" y="3"/>
                    <a:pt x="0" y="2"/>
                    <a:pt x="0" y="1"/>
                  </a:cubicBezTo>
                  <a:cubicBezTo>
                    <a:pt x="1" y="0"/>
                    <a:pt x="2" y="0"/>
                    <a:pt x="3" y="0"/>
                  </a:cubicBezTo>
                  <a:lnTo>
                    <a:pt x="33" y="18"/>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48" name="Freeform 23"/>
            <p:cNvSpPr>
              <a:spLocks/>
            </p:cNvSpPr>
            <p:nvPr userDrawn="1"/>
          </p:nvSpPr>
          <p:spPr bwMode="auto">
            <a:xfrm>
              <a:off x="9915525" y="3054351"/>
              <a:ext cx="95250" cy="25400"/>
            </a:xfrm>
            <a:custGeom>
              <a:avLst/>
              <a:gdLst>
                <a:gd name="T0" fmla="*/ 36 w 38"/>
                <a:gd name="T1" fmla="*/ 7 h 10"/>
                <a:gd name="T2" fmla="*/ 38 w 38"/>
                <a:gd name="T3" fmla="*/ 9 h 10"/>
                <a:gd name="T4" fmla="*/ 36 w 38"/>
                <a:gd name="T5" fmla="*/ 10 h 10"/>
                <a:gd name="T6" fmla="*/ 1 w 38"/>
                <a:gd name="T7" fmla="*/ 4 h 10"/>
                <a:gd name="T8" fmla="*/ 0 w 38"/>
                <a:gd name="T9" fmla="*/ 2 h 10"/>
                <a:gd name="T10" fmla="*/ 2 w 38"/>
                <a:gd name="T11" fmla="*/ 1 h 10"/>
                <a:gd name="T12" fmla="*/ 36 w 38"/>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36" y="7"/>
                  </a:moveTo>
                  <a:cubicBezTo>
                    <a:pt x="37" y="7"/>
                    <a:pt x="38" y="8"/>
                    <a:pt x="38" y="9"/>
                  </a:cubicBezTo>
                  <a:cubicBezTo>
                    <a:pt x="38" y="10"/>
                    <a:pt x="37" y="10"/>
                    <a:pt x="36" y="10"/>
                  </a:cubicBezTo>
                  <a:cubicBezTo>
                    <a:pt x="1" y="4"/>
                    <a:pt x="1" y="4"/>
                    <a:pt x="1" y="4"/>
                  </a:cubicBezTo>
                  <a:cubicBezTo>
                    <a:pt x="0" y="4"/>
                    <a:pt x="0" y="3"/>
                    <a:pt x="0" y="2"/>
                  </a:cubicBezTo>
                  <a:cubicBezTo>
                    <a:pt x="0" y="1"/>
                    <a:pt x="1" y="0"/>
                    <a:pt x="2" y="1"/>
                  </a:cubicBezTo>
                  <a:lnTo>
                    <a:pt x="36" y="7"/>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49" name="Freeform 24"/>
            <p:cNvSpPr>
              <a:spLocks/>
            </p:cNvSpPr>
            <p:nvPr userDrawn="1"/>
          </p:nvSpPr>
          <p:spPr bwMode="auto">
            <a:xfrm>
              <a:off x="9915525" y="2976563"/>
              <a:ext cx="95250" cy="25400"/>
            </a:xfrm>
            <a:custGeom>
              <a:avLst/>
              <a:gdLst>
                <a:gd name="T0" fmla="*/ 36 w 38"/>
                <a:gd name="T1" fmla="*/ 0 h 10"/>
                <a:gd name="T2" fmla="*/ 38 w 38"/>
                <a:gd name="T3" fmla="*/ 2 h 10"/>
                <a:gd name="T4" fmla="*/ 37 w 38"/>
                <a:gd name="T5" fmla="*/ 4 h 10"/>
                <a:gd name="T6" fmla="*/ 2 w 38"/>
                <a:gd name="T7" fmla="*/ 10 h 10"/>
                <a:gd name="T8" fmla="*/ 0 w 38"/>
                <a:gd name="T9" fmla="*/ 8 h 10"/>
                <a:gd name="T10" fmla="*/ 1 w 38"/>
                <a:gd name="T11" fmla="*/ 6 h 10"/>
                <a:gd name="T12" fmla="*/ 36 w 3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36" y="0"/>
                  </a:moveTo>
                  <a:cubicBezTo>
                    <a:pt x="37" y="0"/>
                    <a:pt x="38" y="1"/>
                    <a:pt x="38" y="2"/>
                  </a:cubicBezTo>
                  <a:cubicBezTo>
                    <a:pt x="38" y="3"/>
                    <a:pt x="38" y="4"/>
                    <a:pt x="37" y="4"/>
                  </a:cubicBezTo>
                  <a:cubicBezTo>
                    <a:pt x="2" y="10"/>
                    <a:pt x="2" y="10"/>
                    <a:pt x="2" y="10"/>
                  </a:cubicBezTo>
                  <a:cubicBezTo>
                    <a:pt x="1" y="10"/>
                    <a:pt x="0" y="9"/>
                    <a:pt x="0" y="8"/>
                  </a:cubicBezTo>
                  <a:cubicBezTo>
                    <a:pt x="0" y="8"/>
                    <a:pt x="1" y="7"/>
                    <a:pt x="1" y="6"/>
                  </a:cubicBezTo>
                  <a:lnTo>
                    <a:pt x="36" y="0"/>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0" name="Freeform 25"/>
            <p:cNvSpPr>
              <a:spLocks/>
            </p:cNvSpPr>
            <p:nvPr userDrawn="1"/>
          </p:nvSpPr>
          <p:spPr bwMode="auto">
            <a:xfrm>
              <a:off x="9893300" y="2889251"/>
              <a:ext cx="87312" cy="55563"/>
            </a:xfrm>
            <a:custGeom>
              <a:avLst/>
              <a:gdLst>
                <a:gd name="T0" fmla="*/ 32 w 35"/>
                <a:gd name="T1" fmla="*/ 1 h 22"/>
                <a:gd name="T2" fmla="*/ 34 w 35"/>
                <a:gd name="T3" fmla="*/ 1 h 22"/>
                <a:gd name="T4" fmla="*/ 34 w 35"/>
                <a:gd name="T5" fmla="*/ 4 h 22"/>
                <a:gd name="T6" fmla="*/ 3 w 35"/>
                <a:gd name="T7" fmla="*/ 21 h 22"/>
                <a:gd name="T8" fmla="*/ 1 w 35"/>
                <a:gd name="T9" fmla="*/ 20 h 22"/>
                <a:gd name="T10" fmla="*/ 2 w 35"/>
                <a:gd name="T11" fmla="*/ 18 h 22"/>
                <a:gd name="T12" fmla="*/ 32 w 35"/>
                <a:gd name="T13" fmla="*/ 1 h 22"/>
              </a:gdLst>
              <a:ahLst/>
              <a:cxnLst>
                <a:cxn ang="0">
                  <a:pos x="T0" y="T1"/>
                </a:cxn>
                <a:cxn ang="0">
                  <a:pos x="T2" y="T3"/>
                </a:cxn>
                <a:cxn ang="0">
                  <a:pos x="T4" y="T5"/>
                </a:cxn>
                <a:cxn ang="0">
                  <a:pos x="T6" y="T7"/>
                </a:cxn>
                <a:cxn ang="0">
                  <a:pos x="T8" y="T9"/>
                </a:cxn>
                <a:cxn ang="0">
                  <a:pos x="T10" y="T11"/>
                </a:cxn>
                <a:cxn ang="0">
                  <a:pos x="T12" y="T13"/>
                </a:cxn>
              </a:cxnLst>
              <a:rect l="0" t="0" r="r" b="b"/>
              <a:pathLst>
                <a:path w="35" h="22">
                  <a:moveTo>
                    <a:pt x="32" y="1"/>
                  </a:moveTo>
                  <a:cubicBezTo>
                    <a:pt x="33" y="0"/>
                    <a:pt x="34" y="0"/>
                    <a:pt x="34" y="1"/>
                  </a:cubicBezTo>
                  <a:cubicBezTo>
                    <a:pt x="35" y="2"/>
                    <a:pt x="34" y="3"/>
                    <a:pt x="34" y="4"/>
                  </a:cubicBezTo>
                  <a:cubicBezTo>
                    <a:pt x="3" y="21"/>
                    <a:pt x="3" y="21"/>
                    <a:pt x="3" y="21"/>
                  </a:cubicBezTo>
                  <a:cubicBezTo>
                    <a:pt x="2" y="22"/>
                    <a:pt x="1" y="21"/>
                    <a:pt x="1" y="20"/>
                  </a:cubicBezTo>
                  <a:cubicBezTo>
                    <a:pt x="0" y="20"/>
                    <a:pt x="1" y="18"/>
                    <a:pt x="2" y="18"/>
                  </a:cubicBezTo>
                  <a:lnTo>
                    <a:pt x="32" y="1"/>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1" name="Freeform 26"/>
            <p:cNvSpPr>
              <a:spLocks/>
            </p:cNvSpPr>
            <p:nvPr userDrawn="1"/>
          </p:nvSpPr>
          <p:spPr bwMode="auto">
            <a:xfrm>
              <a:off x="9650413" y="3192463"/>
              <a:ext cx="38100" cy="92075"/>
            </a:xfrm>
            <a:custGeom>
              <a:avLst/>
              <a:gdLst>
                <a:gd name="T0" fmla="*/ 0 w 15"/>
                <a:gd name="T1" fmla="*/ 34 h 37"/>
                <a:gd name="T2" fmla="*/ 1 w 15"/>
                <a:gd name="T3" fmla="*/ 37 h 37"/>
                <a:gd name="T4" fmla="*/ 3 w 15"/>
                <a:gd name="T5" fmla="*/ 36 h 37"/>
                <a:gd name="T6" fmla="*/ 15 w 15"/>
                <a:gd name="T7" fmla="*/ 3 h 37"/>
                <a:gd name="T8" fmla="*/ 14 w 15"/>
                <a:gd name="T9" fmla="*/ 1 h 37"/>
                <a:gd name="T10" fmla="*/ 12 w 15"/>
                <a:gd name="T11" fmla="*/ 2 h 37"/>
                <a:gd name="T12" fmla="*/ 0 w 15"/>
                <a:gd name="T13" fmla="*/ 34 h 37"/>
              </a:gdLst>
              <a:ahLst/>
              <a:cxnLst>
                <a:cxn ang="0">
                  <a:pos x="T0" y="T1"/>
                </a:cxn>
                <a:cxn ang="0">
                  <a:pos x="T2" y="T3"/>
                </a:cxn>
                <a:cxn ang="0">
                  <a:pos x="T4" y="T5"/>
                </a:cxn>
                <a:cxn ang="0">
                  <a:pos x="T6" y="T7"/>
                </a:cxn>
                <a:cxn ang="0">
                  <a:pos x="T8" y="T9"/>
                </a:cxn>
                <a:cxn ang="0">
                  <a:pos x="T10" y="T11"/>
                </a:cxn>
                <a:cxn ang="0">
                  <a:pos x="T12" y="T13"/>
                </a:cxn>
              </a:cxnLst>
              <a:rect l="0" t="0" r="r" b="b"/>
              <a:pathLst>
                <a:path w="15" h="37">
                  <a:moveTo>
                    <a:pt x="0" y="34"/>
                  </a:moveTo>
                  <a:cubicBezTo>
                    <a:pt x="0" y="35"/>
                    <a:pt x="0" y="36"/>
                    <a:pt x="1" y="37"/>
                  </a:cubicBezTo>
                  <a:cubicBezTo>
                    <a:pt x="2" y="37"/>
                    <a:pt x="3" y="37"/>
                    <a:pt x="3" y="36"/>
                  </a:cubicBezTo>
                  <a:cubicBezTo>
                    <a:pt x="15" y="3"/>
                    <a:pt x="15" y="3"/>
                    <a:pt x="15" y="3"/>
                  </a:cubicBezTo>
                  <a:cubicBezTo>
                    <a:pt x="15" y="2"/>
                    <a:pt x="15" y="1"/>
                    <a:pt x="14" y="1"/>
                  </a:cubicBezTo>
                  <a:cubicBezTo>
                    <a:pt x="13" y="0"/>
                    <a:pt x="12" y="1"/>
                    <a:pt x="12" y="2"/>
                  </a:cubicBezTo>
                  <a:lnTo>
                    <a:pt x="0" y="34"/>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2" name="Freeform 27"/>
            <p:cNvSpPr>
              <a:spLocks/>
            </p:cNvSpPr>
            <p:nvPr userDrawn="1"/>
          </p:nvSpPr>
          <p:spPr bwMode="auto">
            <a:xfrm>
              <a:off x="9567863" y="3162301"/>
              <a:ext cx="68262" cy="77788"/>
            </a:xfrm>
            <a:custGeom>
              <a:avLst/>
              <a:gdLst>
                <a:gd name="T0" fmla="*/ 1 w 27"/>
                <a:gd name="T1" fmla="*/ 28 h 31"/>
                <a:gd name="T2" fmla="*/ 1 w 27"/>
                <a:gd name="T3" fmla="*/ 30 h 31"/>
                <a:gd name="T4" fmla="*/ 3 w 27"/>
                <a:gd name="T5" fmla="*/ 30 h 31"/>
                <a:gd name="T6" fmla="*/ 26 w 27"/>
                <a:gd name="T7" fmla="*/ 3 h 31"/>
                <a:gd name="T8" fmla="*/ 26 w 27"/>
                <a:gd name="T9" fmla="*/ 0 h 31"/>
                <a:gd name="T10" fmla="*/ 23 w 27"/>
                <a:gd name="T11" fmla="*/ 1 h 31"/>
                <a:gd name="T12" fmla="*/ 1 w 27"/>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1" y="28"/>
                  </a:moveTo>
                  <a:cubicBezTo>
                    <a:pt x="0" y="28"/>
                    <a:pt x="0" y="29"/>
                    <a:pt x="1" y="30"/>
                  </a:cubicBezTo>
                  <a:cubicBezTo>
                    <a:pt x="2" y="31"/>
                    <a:pt x="3" y="31"/>
                    <a:pt x="3" y="30"/>
                  </a:cubicBezTo>
                  <a:cubicBezTo>
                    <a:pt x="26" y="3"/>
                    <a:pt x="26" y="3"/>
                    <a:pt x="26" y="3"/>
                  </a:cubicBezTo>
                  <a:cubicBezTo>
                    <a:pt x="27" y="2"/>
                    <a:pt x="26" y="1"/>
                    <a:pt x="26" y="0"/>
                  </a:cubicBezTo>
                  <a:cubicBezTo>
                    <a:pt x="25" y="0"/>
                    <a:pt x="24" y="0"/>
                    <a:pt x="23" y="1"/>
                  </a:cubicBezTo>
                  <a:lnTo>
                    <a:pt x="1" y="28"/>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3" name="Freeform 28"/>
            <p:cNvSpPr>
              <a:spLocks/>
            </p:cNvSpPr>
            <p:nvPr userDrawn="1"/>
          </p:nvSpPr>
          <p:spPr bwMode="auto">
            <a:xfrm>
              <a:off x="9507538" y="3114676"/>
              <a:ext cx="85725" cy="52388"/>
            </a:xfrm>
            <a:custGeom>
              <a:avLst/>
              <a:gdLst>
                <a:gd name="T0" fmla="*/ 1 w 34"/>
                <a:gd name="T1" fmla="*/ 18 h 21"/>
                <a:gd name="T2" fmla="*/ 0 w 34"/>
                <a:gd name="T3" fmla="*/ 20 h 21"/>
                <a:gd name="T4" fmla="*/ 3 w 34"/>
                <a:gd name="T5" fmla="*/ 21 h 21"/>
                <a:gd name="T6" fmla="*/ 33 w 34"/>
                <a:gd name="T7" fmla="*/ 3 h 21"/>
                <a:gd name="T8" fmla="*/ 34 w 34"/>
                <a:gd name="T9" fmla="*/ 1 h 21"/>
                <a:gd name="T10" fmla="*/ 31 w 34"/>
                <a:gd name="T11" fmla="*/ 0 h 21"/>
                <a:gd name="T12" fmla="*/ 1 w 34"/>
                <a:gd name="T13" fmla="*/ 18 h 21"/>
              </a:gdLst>
              <a:ahLst/>
              <a:cxnLst>
                <a:cxn ang="0">
                  <a:pos x="T0" y="T1"/>
                </a:cxn>
                <a:cxn ang="0">
                  <a:pos x="T2" y="T3"/>
                </a:cxn>
                <a:cxn ang="0">
                  <a:pos x="T4" y="T5"/>
                </a:cxn>
                <a:cxn ang="0">
                  <a:pos x="T6" y="T7"/>
                </a:cxn>
                <a:cxn ang="0">
                  <a:pos x="T8" y="T9"/>
                </a:cxn>
                <a:cxn ang="0">
                  <a:pos x="T10" y="T11"/>
                </a:cxn>
                <a:cxn ang="0">
                  <a:pos x="T12" y="T13"/>
                </a:cxn>
              </a:cxnLst>
              <a:rect l="0" t="0" r="r" b="b"/>
              <a:pathLst>
                <a:path w="34" h="21">
                  <a:moveTo>
                    <a:pt x="1" y="18"/>
                  </a:moveTo>
                  <a:cubicBezTo>
                    <a:pt x="0" y="18"/>
                    <a:pt x="0" y="19"/>
                    <a:pt x="0" y="20"/>
                  </a:cubicBezTo>
                  <a:cubicBezTo>
                    <a:pt x="1" y="21"/>
                    <a:pt x="2" y="21"/>
                    <a:pt x="3" y="21"/>
                  </a:cubicBezTo>
                  <a:cubicBezTo>
                    <a:pt x="33" y="3"/>
                    <a:pt x="33" y="3"/>
                    <a:pt x="33" y="3"/>
                  </a:cubicBezTo>
                  <a:cubicBezTo>
                    <a:pt x="34" y="3"/>
                    <a:pt x="34" y="2"/>
                    <a:pt x="34" y="1"/>
                  </a:cubicBezTo>
                  <a:cubicBezTo>
                    <a:pt x="33" y="0"/>
                    <a:pt x="32" y="0"/>
                    <a:pt x="31" y="0"/>
                  </a:cubicBezTo>
                  <a:lnTo>
                    <a:pt x="1" y="18"/>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4" name="Freeform 29"/>
            <p:cNvSpPr>
              <a:spLocks/>
            </p:cNvSpPr>
            <p:nvPr userDrawn="1"/>
          </p:nvSpPr>
          <p:spPr bwMode="auto">
            <a:xfrm>
              <a:off x="9475788" y="3054351"/>
              <a:ext cx="95250" cy="25400"/>
            </a:xfrm>
            <a:custGeom>
              <a:avLst/>
              <a:gdLst>
                <a:gd name="T0" fmla="*/ 2 w 38"/>
                <a:gd name="T1" fmla="*/ 7 h 10"/>
                <a:gd name="T2" fmla="*/ 0 w 38"/>
                <a:gd name="T3" fmla="*/ 9 h 10"/>
                <a:gd name="T4" fmla="*/ 2 w 38"/>
                <a:gd name="T5" fmla="*/ 10 h 10"/>
                <a:gd name="T6" fmla="*/ 37 w 38"/>
                <a:gd name="T7" fmla="*/ 4 h 10"/>
                <a:gd name="T8" fmla="*/ 38 w 38"/>
                <a:gd name="T9" fmla="*/ 2 h 10"/>
                <a:gd name="T10" fmla="*/ 36 w 38"/>
                <a:gd name="T11" fmla="*/ 1 h 10"/>
                <a:gd name="T12" fmla="*/ 2 w 38"/>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2" y="7"/>
                  </a:moveTo>
                  <a:cubicBezTo>
                    <a:pt x="1" y="7"/>
                    <a:pt x="0" y="8"/>
                    <a:pt x="0" y="9"/>
                  </a:cubicBezTo>
                  <a:cubicBezTo>
                    <a:pt x="0" y="10"/>
                    <a:pt x="1" y="10"/>
                    <a:pt x="2" y="10"/>
                  </a:cubicBezTo>
                  <a:cubicBezTo>
                    <a:pt x="37" y="4"/>
                    <a:pt x="37" y="4"/>
                    <a:pt x="37" y="4"/>
                  </a:cubicBezTo>
                  <a:cubicBezTo>
                    <a:pt x="38" y="4"/>
                    <a:pt x="38" y="3"/>
                    <a:pt x="38" y="2"/>
                  </a:cubicBezTo>
                  <a:cubicBezTo>
                    <a:pt x="38" y="1"/>
                    <a:pt x="37" y="0"/>
                    <a:pt x="36" y="1"/>
                  </a:cubicBezTo>
                  <a:lnTo>
                    <a:pt x="2" y="7"/>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08" name="Freeform 30"/>
            <p:cNvSpPr>
              <a:spLocks/>
            </p:cNvSpPr>
            <p:nvPr userDrawn="1"/>
          </p:nvSpPr>
          <p:spPr bwMode="auto">
            <a:xfrm>
              <a:off x="9475788" y="2976563"/>
              <a:ext cx="95250" cy="25400"/>
            </a:xfrm>
            <a:custGeom>
              <a:avLst/>
              <a:gdLst>
                <a:gd name="T0" fmla="*/ 2 w 38"/>
                <a:gd name="T1" fmla="*/ 0 h 10"/>
                <a:gd name="T2" fmla="*/ 0 w 38"/>
                <a:gd name="T3" fmla="*/ 2 h 10"/>
                <a:gd name="T4" fmla="*/ 1 w 38"/>
                <a:gd name="T5" fmla="*/ 4 h 10"/>
                <a:gd name="T6" fmla="*/ 36 w 38"/>
                <a:gd name="T7" fmla="*/ 10 h 10"/>
                <a:gd name="T8" fmla="*/ 38 w 38"/>
                <a:gd name="T9" fmla="*/ 8 h 10"/>
                <a:gd name="T10" fmla="*/ 37 w 38"/>
                <a:gd name="T11" fmla="*/ 6 h 10"/>
                <a:gd name="T12" fmla="*/ 2 w 3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2" y="0"/>
                  </a:moveTo>
                  <a:cubicBezTo>
                    <a:pt x="1" y="0"/>
                    <a:pt x="0" y="1"/>
                    <a:pt x="0" y="2"/>
                  </a:cubicBezTo>
                  <a:cubicBezTo>
                    <a:pt x="0" y="3"/>
                    <a:pt x="0" y="4"/>
                    <a:pt x="1" y="4"/>
                  </a:cubicBezTo>
                  <a:cubicBezTo>
                    <a:pt x="36" y="10"/>
                    <a:pt x="36" y="10"/>
                    <a:pt x="36" y="10"/>
                  </a:cubicBezTo>
                  <a:cubicBezTo>
                    <a:pt x="37" y="10"/>
                    <a:pt x="38" y="9"/>
                    <a:pt x="38" y="8"/>
                  </a:cubicBezTo>
                  <a:cubicBezTo>
                    <a:pt x="38" y="8"/>
                    <a:pt x="37" y="7"/>
                    <a:pt x="37" y="6"/>
                  </a:cubicBezTo>
                  <a:lnTo>
                    <a:pt x="2" y="0"/>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09" name="Freeform 31"/>
            <p:cNvSpPr>
              <a:spLocks/>
            </p:cNvSpPr>
            <p:nvPr userDrawn="1"/>
          </p:nvSpPr>
          <p:spPr bwMode="auto">
            <a:xfrm>
              <a:off x="9505950" y="2889251"/>
              <a:ext cx="87312" cy="55563"/>
            </a:xfrm>
            <a:custGeom>
              <a:avLst/>
              <a:gdLst>
                <a:gd name="T0" fmla="*/ 3 w 35"/>
                <a:gd name="T1" fmla="*/ 1 h 22"/>
                <a:gd name="T2" fmla="*/ 1 w 35"/>
                <a:gd name="T3" fmla="*/ 1 h 22"/>
                <a:gd name="T4" fmla="*/ 1 w 35"/>
                <a:gd name="T5" fmla="*/ 4 h 22"/>
                <a:gd name="T6" fmla="*/ 32 w 35"/>
                <a:gd name="T7" fmla="*/ 21 h 22"/>
                <a:gd name="T8" fmla="*/ 34 w 35"/>
                <a:gd name="T9" fmla="*/ 20 h 22"/>
                <a:gd name="T10" fmla="*/ 33 w 35"/>
                <a:gd name="T11" fmla="*/ 18 h 22"/>
                <a:gd name="T12" fmla="*/ 3 w 35"/>
                <a:gd name="T13" fmla="*/ 1 h 22"/>
              </a:gdLst>
              <a:ahLst/>
              <a:cxnLst>
                <a:cxn ang="0">
                  <a:pos x="T0" y="T1"/>
                </a:cxn>
                <a:cxn ang="0">
                  <a:pos x="T2" y="T3"/>
                </a:cxn>
                <a:cxn ang="0">
                  <a:pos x="T4" y="T5"/>
                </a:cxn>
                <a:cxn ang="0">
                  <a:pos x="T6" y="T7"/>
                </a:cxn>
                <a:cxn ang="0">
                  <a:pos x="T8" y="T9"/>
                </a:cxn>
                <a:cxn ang="0">
                  <a:pos x="T10" y="T11"/>
                </a:cxn>
                <a:cxn ang="0">
                  <a:pos x="T12" y="T13"/>
                </a:cxn>
              </a:cxnLst>
              <a:rect l="0" t="0" r="r" b="b"/>
              <a:pathLst>
                <a:path w="35" h="22">
                  <a:moveTo>
                    <a:pt x="3" y="1"/>
                  </a:moveTo>
                  <a:cubicBezTo>
                    <a:pt x="2" y="0"/>
                    <a:pt x="1" y="0"/>
                    <a:pt x="1" y="1"/>
                  </a:cubicBezTo>
                  <a:cubicBezTo>
                    <a:pt x="0" y="2"/>
                    <a:pt x="1" y="3"/>
                    <a:pt x="1" y="4"/>
                  </a:cubicBezTo>
                  <a:cubicBezTo>
                    <a:pt x="32" y="21"/>
                    <a:pt x="32" y="21"/>
                    <a:pt x="32" y="21"/>
                  </a:cubicBezTo>
                  <a:cubicBezTo>
                    <a:pt x="33" y="22"/>
                    <a:pt x="34" y="21"/>
                    <a:pt x="34" y="20"/>
                  </a:cubicBezTo>
                  <a:cubicBezTo>
                    <a:pt x="35" y="20"/>
                    <a:pt x="34" y="18"/>
                    <a:pt x="33" y="18"/>
                  </a:cubicBezTo>
                  <a:lnTo>
                    <a:pt x="3" y="1"/>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10" name="Freeform 32"/>
            <p:cNvSpPr>
              <a:spLocks/>
            </p:cNvSpPr>
            <p:nvPr userDrawn="1"/>
          </p:nvSpPr>
          <p:spPr bwMode="auto">
            <a:xfrm>
              <a:off x="9728200" y="2784476"/>
              <a:ext cx="31750" cy="204788"/>
            </a:xfrm>
            <a:custGeom>
              <a:avLst/>
              <a:gdLst>
                <a:gd name="T0" fmla="*/ 13 w 13"/>
                <a:gd name="T1" fmla="*/ 75 h 82"/>
                <a:gd name="T2" fmla="*/ 7 w 13"/>
                <a:gd name="T3" fmla="*/ 82 h 82"/>
                <a:gd name="T4" fmla="*/ 0 w 13"/>
                <a:gd name="T5" fmla="*/ 75 h 82"/>
                <a:gd name="T6" fmla="*/ 0 w 13"/>
                <a:gd name="T7" fmla="*/ 7 h 82"/>
                <a:gd name="T8" fmla="*/ 7 w 13"/>
                <a:gd name="T9" fmla="*/ 0 h 82"/>
                <a:gd name="T10" fmla="*/ 13 w 13"/>
                <a:gd name="T11" fmla="*/ 7 h 82"/>
                <a:gd name="T12" fmla="*/ 13 w 13"/>
                <a:gd name="T13" fmla="*/ 75 h 82"/>
              </a:gdLst>
              <a:ahLst/>
              <a:cxnLst>
                <a:cxn ang="0">
                  <a:pos x="T0" y="T1"/>
                </a:cxn>
                <a:cxn ang="0">
                  <a:pos x="T2" y="T3"/>
                </a:cxn>
                <a:cxn ang="0">
                  <a:pos x="T4" y="T5"/>
                </a:cxn>
                <a:cxn ang="0">
                  <a:pos x="T6" y="T7"/>
                </a:cxn>
                <a:cxn ang="0">
                  <a:pos x="T8" y="T9"/>
                </a:cxn>
                <a:cxn ang="0">
                  <a:pos x="T10" y="T11"/>
                </a:cxn>
                <a:cxn ang="0">
                  <a:pos x="T12" y="T13"/>
                </a:cxn>
              </a:cxnLst>
              <a:rect l="0" t="0" r="r" b="b"/>
              <a:pathLst>
                <a:path w="13" h="82">
                  <a:moveTo>
                    <a:pt x="13" y="75"/>
                  </a:moveTo>
                  <a:cubicBezTo>
                    <a:pt x="13" y="79"/>
                    <a:pt x="10" y="82"/>
                    <a:pt x="7" y="82"/>
                  </a:cubicBezTo>
                  <a:cubicBezTo>
                    <a:pt x="3" y="82"/>
                    <a:pt x="0" y="79"/>
                    <a:pt x="0" y="75"/>
                  </a:cubicBezTo>
                  <a:cubicBezTo>
                    <a:pt x="0" y="7"/>
                    <a:pt x="0" y="7"/>
                    <a:pt x="0" y="7"/>
                  </a:cubicBezTo>
                  <a:cubicBezTo>
                    <a:pt x="0" y="3"/>
                    <a:pt x="3" y="0"/>
                    <a:pt x="7" y="0"/>
                  </a:cubicBezTo>
                  <a:cubicBezTo>
                    <a:pt x="10" y="0"/>
                    <a:pt x="13" y="3"/>
                    <a:pt x="13" y="7"/>
                  </a:cubicBezTo>
                  <a:lnTo>
                    <a:pt x="13" y="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1" name="Rectangle 33"/>
            <p:cNvSpPr>
              <a:spLocks noChangeArrowheads="1"/>
            </p:cNvSpPr>
            <p:nvPr userDrawn="1"/>
          </p:nvSpPr>
          <p:spPr bwMode="auto">
            <a:xfrm>
              <a:off x="9680575" y="2754313"/>
              <a:ext cx="127000" cy="49213"/>
            </a:xfrm>
            <a:prstGeom prst="rect">
              <a:avLst/>
            </a:prstGeom>
            <a:solidFill>
              <a:srgbClr val="01D1D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2" name="Rectangle 34"/>
            <p:cNvSpPr>
              <a:spLocks noChangeArrowheads="1"/>
            </p:cNvSpPr>
            <p:nvPr userDrawn="1"/>
          </p:nvSpPr>
          <p:spPr bwMode="auto">
            <a:xfrm>
              <a:off x="9705975" y="2732088"/>
              <a:ext cx="77787" cy="30163"/>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sz="1544"/>
            </a:p>
          </p:txBody>
        </p:sp>
      </p:grpSp>
      <p:grpSp>
        <p:nvGrpSpPr>
          <p:cNvPr id="167" name="Group 166"/>
          <p:cNvGrpSpPr/>
          <p:nvPr userDrawn="1"/>
        </p:nvGrpSpPr>
        <p:grpSpPr>
          <a:xfrm flipH="1">
            <a:off x="6687715" y="2429669"/>
            <a:ext cx="1690817" cy="3628232"/>
            <a:chOff x="9758363" y="3062288"/>
            <a:chExt cx="1770062" cy="3086101"/>
          </a:xfrm>
        </p:grpSpPr>
        <p:sp>
          <p:nvSpPr>
            <p:cNvPr id="14" name="Freeform 7"/>
            <p:cNvSpPr>
              <a:spLocks/>
            </p:cNvSpPr>
            <p:nvPr userDrawn="1"/>
          </p:nvSpPr>
          <p:spPr bwMode="auto">
            <a:xfrm>
              <a:off x="10086975" y="5902326"/>
              <a:ext cx="1441450" cy="246063"/>
            </a:xfrm>
            <a:custGeom>
              <a:avLst/>
              <a:gdLst>
                <a:gd name="T0" fmla="*/ 288 w 576"/>
                <a:gd name="T1" fmla="*/ 0 h 98"/>
                <a:gd name="T2" fmla="*/ 288 w 576"/>
                <a:gd name="T3" fmla="*/ 0 h 98"/>
                <a:gd name="T4" fmla="*/ 0 w 576"/>
                <a:gd name="T5" fmla="*/ 49 h 98"/>
                <a:gd name="T6" fmla="*/ 288 w 576"/>
                <a:gd name="T7" fmla="*/ 98 h 98"/>
                <a:gd name="T8" fmla="*/ 576 w 576"/>
                <a:gd name="T9" fmla="*/ 49 h 98"/>
                <a:gd name="T10" fmla="*/ 576 w 576"/>
                <a:gd name="T11" fmla="*/ 49 h 98"/>
                <a:gd name="T12" fmla="*/ 288 w 576"/>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576" h="98">
                  <a:moveTo>
                    <a:pt x="288" y="0"/>
                  </a:moveTo>
                  <a:cubicBezTo>
                    <a:pt x="288" y="0"/>
                    <a:pt x="288" y="0"/>
                    <a:pt x="288" y="0"/>
                  </a:cubicBezTo>
                  <a:cubicBezTo>
                    <a:pt x="129" y="0"/>
                    <a:pt x="0" y="22"/>
                    <a:pt x="0" y="49"/>
                  </a:cubicBezTo>
                  <a:cubicBezTo>
                    <a:pt x="0" y="76"/>
                    <a:pt x="129" y="98"/>
                    <a:pt x="288" y="98"/>
                  </a:cubicBezTo>
                  <a:cubicBezTo>
                    <a:pt x="447" y="98"/>
                    <a:pt x="576" y="76"/>
                    <a:pt x="576" y="49"/>
                  </a:cubicBezTo>
                  <a:cubicBezTo>
                    <a:pt x="576" y="49"/>
                    <a:pt x="576" y="49"/>
                    <a:pt x="576" y="49"/>
                  </a:cubicBezTo>
                  <a:cubicBezTo>
                    <a:pt x="576" y="22"/>
                    <a:pt x="447" y="0"/>
                    <a:pt x="288"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5" name="Rectangle 8"/>
            <p:cNvSpPr>
              <a:spLocks noChangeArrowheads="1"/>
            </p:cNvSpPr>
            <p:nvPr userDrawn="1"/>
          </p:nvSpPr>
          <p:spPr bwMode="auto">
            <a:xfrm>
              <a:off x="10244138" y="3438526"/>
              <a:ext cx="69850" cy="2593975"/>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7" name="Rectangle 9"/>
            <p:cNvSpPr>
              <a:spLocks noChangeArrowheads="1"/>
            </p:cNvSpPr>
            <p:nvPr userDrawn="1"/>
          </p:nvSpPr>
          <p:spPr bwMode="auto">
            <a:xfrm>
              <a:off x="10644188" y="3162301"/>
              <a:ext cx="71437" cy="2870200"/>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9" name="Rectangle 10"/>
            <p:cNvSpPr>
              <a:spLocks noChangeArrowheads="1"/>
            </p:cNvSpPr>
            <p:nvPr userDrawn="1"/>
          </p:nvSpPr>
          <p:spPr bwMode="auto">
            <a:xfrm>
              <a:off x="10244138" y="3738563"/>
              <a:ext cx="471487" cy="44450"/>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0" name="Rectangle 11"/>
            <p:cNvSpPr>
              <a:spLocks noChangeArrowheads="1"/>
            </p:cNvSpPr>
            <p:nvPr userDrawn="1"/>
          </p:nvSpPr>
          <p:spPr bwMode="auto">
            <a:xfrm>
              <a:off x="10244138" y="3332163"/>
              <a:ext cx="471487" cy="47625"/>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1" name="Rectangle 12"/>
            <p:cNvSpPr>
              <a:spLocks noChangeArrowheads="1"/>
            </p:cNvSpPr>
            <p:nvPr userDrawn="1"/>
          </p:nvSpPr>
          <p:spPr bwMode="auto">
            <a:xfrm>
              <a:off x="10244138" y="4138613"/>
              <a:ext cx="471487" cy="46038"/>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2" name="Rectangle 13"/>
            <p:cNvSpPr>
              <a:spLocks noChangeArrowheads="1"/>
            </p:cNvSpPr>
            <p:nvPr userDrawn="1"/>
          </p:nvSpPr>
          <p:spPr bwMode="auto">
            <a:xfrm>
              <a:off x="10244138" y="4540251"/>
              <a:ext cx="471487" cy="44450"/>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3" name="Rectangle 14"/>
            <p:cNvSpPr>
              <a:spLocks noChangeArrowheads="1"/>
            </p:cNvSpPr>
            <p:nvPr userDrawn="1"/>
          </p:nvSpPr>
          <p:spPr bwMode="auto">
            <a:xfrm>
              <a:off x="10244138" y="4940301"/>
              <a:ext cx="471487" cy="46038"/>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4" name="Rectangle 15"/>
            <p:cNvSpPr>
              <a:spLocks noChangeArrowheads="1"/>
            </p:cNvSpPr>
            <p:nvPr userDrawn="1"/>
          </p:nvSpPr>
          <p:spPr bwMode="auto">
            <a:xfrm>
              <a:off x="10244138" y="5341938"/>
              <a:ext cx="471487" cy="44450"/>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25" name="Rectangle 16"/>
            <p:cNvSpPr>
              <a:spLocks noChangeArrowheads="1"/>
            </p:cNvSpPr>
            <p:nvPr userDrawn="1"/>
          </p:nvSpPr>
          <p:spPr bwMode="auto">
            <a:xfrm>
              <a:off x="10244138" y="5741988"/>
              <a:ext cx="471487" cy="44450"/>
            </a:xfrm>
            <a:prstGeom prst="rect">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3" name="Freeform 35"/>
            <p:cNvSpPr>
              <a:spLocks/>
            </p:cNvSpPr>
            <p:nvPr userDrawn="1"/>
          </p:nvSpPr>
          <p:spPr bwMode="auto">
            <a:xfrm>
              <a:off x="10691813" y="4584701"/>
              <a:ext cx="63500" cy="100013"/>
            </a:xfrm>
            <a:custGeom>
              <a:avLst/>
              <a:gdLst>
                <a:gd name="T0" fmla="*/ 16 w 25"/>
                <a:gd name="T1" fmla="*/ 31 h 40"/>
                <a:gd name="T2" fmla="*/ 25 w 25"/>
                <a:gd name="T3" fmla="*/ 20 h 40"/>
                <a:gd name="T4" fmla="*/ 24 w 25"/>
                <a:gd name="T5" fmla="*/ 12 h 40"/>
                <a:gd name="T6" fmla="*/ 23 w 25"/>
                <a:gd name="T7" fmla="*/ 18 h 40"/>
                <a:gd name="T8" fmla="*/ 19 w 25"/>
                <a:gd name="T9" fmla="*/ 21 h 40"/>
                <a:gd name="T10" fmla="*/ 19 w 25"/>
                <a:gd name="T11" fmla="*/ 10 h 40"/>
                <a:gd name="T12" fmla="*/ 16 w 25"/>
                <a:gd name="T13" fmla="*/ 1 h 40"/>
                <a:gd name="T14" fmla="*/ 14 w 25"/>
                <a:gd name="T15" fmla="*/ 2 h 40"/>
                <a:gd name="T16" fmla="*/ 15 w 25"/>
                <a:gd name="T17" fmla="*/ 9 h 40"/>
                <a:gd name="T18" fmla="*/ 15 w 25"/>
                <a:gd name="T19" fmla="*/ 14 h 40"/>
                <a:gd name="T20" fmla="*/ 12 w 25"/>
                <a:gd name="T21" fmla="*/ 9 h 40"/>
                <a:gd name="T22" fmla="*/ 4 w 25"/>
                <a:gd name="T23" fmla="*/ 4 h 40"/>
                <a:gd name="T24" fmla="*/ 7 w 25"/>
                <a:gd name="T25" fmla="*/ 9 h 40"/>
                <a:gd name="T26" fmla="*/ 10 w 25"/>
                <a:gd name="T27" fmla="*/ 14 h 40"/>
                <a:gd name="T28" fmla="*/ 5 w 25"/>
                <a:gd name="T29" fmla="*/ 12 h 40"/>
                <a:gd name="T30" fmla="*/ 0 w 25"/>
                <a:gd name="T31" fmla="*/ 11 h 40"/>
                <a:gd name="T32" fmla="*/ 2 w 25"/>
                <a:gd name="T33" fmla="*/ 13 h 40"/>
                <a:gd name="T34" fmla="*/ 0 w 25"/>
                <a:gd name="T35" fmla="*/ 14 h 40"/>
                <a:gd name="T36" fmla="*/ 3 w 25"/>
                <a:gd name="T37" fmla="*/ 16 h 40"/>
                <a:gd name="T38" fmla="*/ 4 w 25"/>
                <a:gd name="T39" fmla="*/ 21 h 40"/>
                <a:gd name="T40" fmla="*/ 8 w 25"/>
                <a:gd name="T41" fmla="*/ 34 h 40"/>
                <a:gd name="T42" fmla="*/ 11 w 25"/>
                <a:gd name="T43" fmla="*/ 40 h 40"/>
                <a:gd name="T44" fmla="*/ 16 w 25"/>
                <a:gd name="T45"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40">
                  <a:moveTo>
                    <a:pt x="16" y="31"/>
                  </a:moveTo>
                  <a:cubicBezTo>
                    <a:pt x="25" y="20"/>
                    <a:pt x="25" y="20"/>
                    <a:pt x="25" y="20"/>
                  </a:cubicBezTo>
                  <a:cubicBezTo>
                    <a:pt x="24" y="12"/>
                    <a:pt x="24" y="12"/>
                    <a:pt x="24" y="12"/>
                  </a:cubicBezTo>
                  <a:cubicBezTo>
                    <a:pt x="24" y="12"/>
                    <a:pt x="23" y="13"/>
                    <a:pt x="23" y="18"/>
                  </a:cubicBezTo>
                  <a:cubicBezTo>
                    <a:pt x="19" y="21"/>
                    <a:pt x="19" y="21"/>
                    <a:pt x="19" y="21"/>
                  </a:cubicBezTo>
                  <a:cubicBezTo>
                    <a:pt x="19" y="10"/>
                    <a:pt x="19" y="10"/>
                    <a:pt x="19" y="10"/>
                  </a:cubicBezTo>
                  <a:cubicBezTo>
                    <a:pt x="16" y="1"/>
                    <a:pt x="16" y="1"/>
                    <a:pt x="16" y="1"/>
                  </a:cubicBezTo>
                  <a:cubicBezTo>
                    <a:pt x="16" y="1"/>
                    <a:pt x="14" y="0"/>
                    <a:pt x="14" y="2"/>
                  </a:cubicBezTo>
                  <a:cubicBezTo>
                    <a:pt x="13" y="4"/>
                    <a:pt x="15" y="9"/>
                    <a:pt x="15" y="9"/>
                  </a:cubicBezTo>
                  <a:cubicBezTo>
                    <a:pt x="15" y="14"/>
                    <a:pt x="15" y="14"/>
                    <a:pt x="15" y="14"/>
                  </a:cubicBezTo>
                  <a:cubicBezTo>
                    <a:pt x="12" y="9"/>
                    <a:pt x="12" y="9"/>
                    <a:pt x="12" y="9"/>
                  </a:cubicBezTo>
                  <a:cubicBezTo>
                    <a:pt x="4" y="4"/>
                    <a:pt x="4" y="4"/>
                    <a:pt x="4" y="4"/>
                  </a:cubicBezTo>
                  <a:cubicBezTo>
                    <a:pt x="4" y="4"/>
                    <a:pt x="2" y="6"/>
                    <a:pt x="7" y="9"/>
                  </a:cubicBezTo>
                  <a:cubicBezTo>
                    <a:pt x="9" y="10"/>
                    <a:pt x="10" y="14"/>
                    <a:pt x="10" y="14"/>
                  </a:cubicBezTo>
                  <a:cubicBezTo>
                    <a:pt x="5" y="12"/>
                    <a:pt x="5" y="12"/>
                    <a:pt x="5" y="12"/>
                  </a:cubicBezTo>
                  <a:cubicBezTo>
                    <a:pt x="5" y="12"/>
                    <a:pt x="1" y="10"/>
                    <a:pt x="0" y="11"/>
                  </a:cubicBezTo>
                  <a:cubicBezTo>
                    <a:pt x="0" y="12"/>
                    <a:pt x="2" y="13"/>
                    <a:pt x="2" y="13"/>
                  </a:cubicBezTo>
                  <a:cubicBezTo>
                    <a:pt x="2" y="13"/>
                    <a:pt x="0" y="13"/>
                    <a:pt x="0" y="14"/>
                  </a:cubicBezTo>
                  <a:cubicBezTo>
                    <a:pt x="1" y="15"/>
                    <a:pt x="3" y="16"/>
                    <a:pt x="3" y="16"/>
                  </a:cubicBezTo>
                  <a:cubicBezTo>
                    <a:pt x="4" y="21"/>
                    <a:pt x="4" y="21"/>
                    <a:pt x="4" y="21"/>
                  </a:cubicBezTo>
                  <a:cubicBezTo>
                    <a:pt x="4" y="21"/>
                    <a:pt x="2" y="31"/>
                    <a:pt x="8" y="34"/>
                  </a:cubicBezTo>
                  <a:cubicBezTo>
                    <a:pt x="10" y="34"/>
                    <a:pt x="11" y="40"/>
                    <a:pt x="11" y="40"/>
                  </a:cubicBezTo>
                  <a:lnTo>
                    <a:pt x="16" y="31"/>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6" name="Freeform 36"/>
            <p:cNvSpPr>
              <a:spLocks/>
            </p:cNvSpPr>
            <p:nvPr userDrawn="1"/>
          </p:nvSpPr>
          <p:spPr bwMode="auto">
            <a:xfrm>
              <a:off x="10704513" y="4657726"/>
              <a:ext cx="254000" cy="423863"/>
            </a:xfrm>
            <a:custGeom>
              <a:avLst/>
              <a:gdLst>
                <a:gd name="T0" fmla="*/ 77 w 101"/>
                <a:gd name="T1" fmla="*/ 125 h 169"/>
                <a:gd name="T2" fmla="*/ 35 w 101"/>
                <a:gd name="T3" fmla="*/ 69 h 169"/>
                <a:gd name="T4" fmla="*/ 15 w 101"/>
                <a:gd name="T5" fmla="*/ 0 h 169"/>
                <a:gd name="T6" fmla="*/ 0 w 101"/>
                <a:gd name="T7" fmla="*/ 6 h 169"/>
                <a:gd name="T8" fmla="*/ 11 w 101"/>
                <a:gd name="T9" fmla="*/ 86 h 169"/>
                <a:gd name="T10" fmla="*/ 69 w 101"/>
                <a:gd name="T11" fmla="*/ 162 h 169"/>
                <a:gd name="T12" fmla="*/ 77 w 101"/>
                <a:gd name="T13" fmla="*/ 125 h 169"/>
              </a:gdLst>
              <a:ahLst/>
              <a:cxnLst>
                <a:cxn ang="0">
                  <a:pos x="T0" y="T1"/>
                </a:cxn>
                <a:cxn ang="0">
                  <a:pos x="T2" y="T3"/>
                </a:cxn>
                <a:cxn ang="0">
                  <a:pos x="T4" y="T5"/>
                </a:cxn>
                <a:cxn ang="0">
                  <a:pos x="T6" y="T7"/>
                </a:cxn>
                <a:cxn ang="0">
                  <a:pos x="T8" y="T9"/>
                </a:cxn>
                <a:cxn ang="0">
                  <a:pos x="T10" y="T11"/>
                </a:cxn>
                <a:cxn ang="0">
                  <a:pos x="T12" y="T13"/>
                </a:cxn>
              </a:cxnLst>
              <a:rect l="0" t="0" r="r" b="b"/>
              <a:pathLst>
                <a:path w="101" h="169">
                  <a:moveTo>
                    <a:pt x="77" y="125"/>
                  </a:moveTo>
                  <a:cubicBezTo>
                    <a:pt x="67" y="111"/>
                    <a:pt x="35" y="69"/>
                    <a:pt x="35" y="69"/>
                  </a:cubicBezTo>
                  <a:cubicBezTo>
                    <a:pt x="15" y="0"/>
                    <a:pt x="15" y="0"/>
                    <a:pt x="15" y="0"/>
                  </a:cubicBezTo>
                  <a:cubicBezTo>
                    <a:pt x="0" y="6"/>
                    <a:pt x="0" y="6"/>
                    <a:pt x="0" y="6"/>
                  </a:cubicBezTo>
                  <a:cubicBezTo>
                    <a:pt x="11" y="86"/>
                    <a:pt x="11" y="86"/>
                    <a:pt x="11" y="86"/>
                  </a:cubicBezTo>
                  <a:cubicBezTo>
                    <a:pt x="11" y="86"/>
                    <a:pt x="53" y="149"/>
                    <a:pt x="69" y="162"/>
                  </a:cubicBezTo>
                  <a:cubicBezTo>
                    <a:pt x="77" y="169"/>
                    <a:pt x="101" y="157"/>
                    <a:pt x="77" y="125"/>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7" name="Freeform 37"/>
            <p:cNvSpPr>
              <a:spLocks/>
            </p:cNvSpPr>
            <p:nvPr userDrawn="1"/>
          </p:nvSpPr>
          <p:spPr bwMode="auto">
            <a:xfrm>
              <a:off x="10925175" y="4719638"/>
              <a:ext cx="157162" cy="219075"/>
            </a:xfrm>
            <a:custGeom>
              <a:avLst/>
              <a:gdLst>
                <a:gd name="T0" fmla="*/ 62 w 63"/>
                <a:gd name="T1" fmla="*/ 30 h 87"/>
                <a:gd name="T2" fmla="*/ 44 w 63"/>
                <a:gd name="T3" fmla="*/ 61 h 87"/>
                <a:gd name="T4" fmla="*/ 45 w 63"/>
                <a:gd name="T5" fmla="*/ 79 h 87"/>
                <a:gd name="T6" fmla="*/ 20 w 63"/>
                <a:gd name="T7" fmla="*/ 81 h 87"/>
                <a:gd name="T8" fmla="*/ 16 w 63"/>
                <a:gd name="T9" fmla="*/ 65 h 87"/>
                <a:gd name="T10" fmla="*/ 2 w 63"/>
                <a:gd name="T11" fmla="*/ 56 h 87"/>
                <a:gd name="T12" fmla="*/ 26 w 63"/>
                <a:gd name="T13" fmla="*/ 4 h 87"/>
                <a:gd name="T14" fmla="*/ 30 w 63"/>
                <a:gd name="T15" fmla="*/ 2 h 87"/>
                <a:gd name="T16" fmla="*/ 62 w 63"/>
                <a:gd name="T17" fmla="*/ 3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7">
                  <a:moveTo>
                    <a:pt x="62" y="30"/>
                  </a:moveTo>
                  <a:cubicBezTo>
                    <a:pt x="63" y="48"/>
                    <a:pt x="48" y="55"/>
                    <a:pt x="44" y="61"/>
                  </a:cubicBezTo>
                  <a:cubicBezTo>
                    <a:pt x="40" y="68"/>
                    <a:pt x="45" y="79"/>
                    <a:pt x="45" y="79"/>
                  </a:cubicBezTo>
                  <a:cubicBezTo>
                    <a:pt x="45" y="79"/>
                    <a:pt x="19" y="87"/>
                    <a:pt x="20" y="81"/>
                  </a:cubicBezTo>
                  <a:cubicBezTo>
                    <a:pt x="21" y="80"/>
                    <a:pt x="21" y="72"/>
                    <a:pt x="16" y="65"/>
                  </a:cubicBezTo>
                  <a:cubicBezTo>
                    <a:pt x="13" y="62"/>
                    <a:pt x="2" y="59"/>
                    <a:pt x="2" y="56"/>
                  </a:cubicBezTo>
                  <a:cubicBezTo>
                    <a:pt x="0" y="34"/>
                    <a:pt x="15" y="8"/>
                    <a:pt x="26" y="4"/>
                  </a:cubicBezTo>
                  <a:cubicBezTo>
                    <a:pt x="27" y="3"/>
                    <a:pt x="29" y="3"/>
                    <a:pt x="30" y="2"/>
                  </a:cubicBezTo>
                  <a:cubicBezTo>
                    <a:pt x="48" y="0"/>
                    <a:pt x="62" y="13"/>
                    <a:pt x="62" y="30"/>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8" name="Freeform 38"/>
            <p:cNvSpPr>
              <a:spLocks/>
            </p:cNvSpPr>
            <p:nvPr userDrawn="1"/>
          </p:nvSpPr>
          <p:spPr bwMode="auto">
            <a:xfrm>
              <a:off x="10975975" y="4706938"/>
              <a:ext cx="139700" cy="176213"/>
            </a:xfrm>
            <a:custGeom>
              <a:avLst/>
              <a:gdLst>
                <a:gd name="T0" fmla="*/ 0 w 56"/>
                <a:gd name="T1" fmla="*/ 12 h 70"/>
                <a:gd name="T2" fmla="*/ 20 w 56"/>
                <a:gd name="T3" fmla="*/ 0 h 70"/>
                <a:gd name="T4" fmla="*/ 50 w 56"/>
                <a:gd name="T5" fmla="*/ 40 h 70"/>
                <a:gd name="T6" fmla="*/ 25 w 56"/>
                <a:gd name="T7" fmla="*/ 70 h 70"/>
                <a:gd name="T8" fmla="*/ 18 w 56"/>
                <a:gd name="T9" fmla="*/ 49 h 70"/>
                <a:gd name="T10" fmla="*/ 13 w 56"/>
                <a:gd name="T11" fmla="*/ 34 h 70"/>
                <a:gd name="T12" fmla="*/ 0 w 56"/>
                <a:gd name="T13" fmla="*/ 12 h 70"/>
              </a:gdLst>
              <a:ahLst/>
              <a:cxnLst>
                <a:cxn ang="0">
                  <a:pos x="T0" y="T1"/>
                </a:cxn>
                <a:cxn ang="0">
                  <a:pos x="T2" y="T3"/>
                </a:cxn>
                <a:cxn ang="0">
                  <a:pos x="T4" y="T5"/>
                </a:cxn>
                <a:cxn ang="0">
                  <a:pos x="T6" y="T7"/>
                </a:cxn>
                <a:cxn ang="0">
                  <a:pos x="T8" y="T9"/>
                </a:cxn>
                <a:cxn ang="0">
                  <a:pos x="T10" y="T11"/>
                </a:cxn>
                <a:cxn ang="0">
                  <a:pos x="T12" y="T13"/>
                </a:cxn>
              </a:cxnLst>
              <a:rect l="0" t="0" r="r" b="b"/>
              <a:pathLst>
                <a:path w="56" h="70">
                  <a:moveTo>
                    <a:pt x="0" y="12"/>
                  </a:moveTo>
                  <a:cubicBezTo>
                    <a:pt x="0" y="12"/>
                    <a:pt x="7" y="0"/>
                    <a:pt x="20" y="0"/>
                  </a:cubicBezTo>
                  <a:cubicBezTo>
                    <a:pt x="51" y="0"/>
                    <a:pt x="56" y="18"/>
                    <a:pt x="50" y="40"/>
                  </a:cubicBezTo>
                  <a:cubicBezTo>
                    <a:pt x="45" y="58"/>
                    <a:pt x="25" y="70"/>
                    <a:pt x="25" y="70"/>
                  </a:cubicBezTo>
                  <a:cubicBezTo>
                    <a:pt x="16" y="67"/>
                    <a:pt x="15" y="61"/>
                    <a:pt x="18" y="49"/>
                  </a:cubicBezTo>
                  <a:cubicBezTo>
                    <a:pt x="21" y="37"/>
                    <a:pt x="13" y="34"/>
                    <a:pt x="13" y="34"/>
                  </a:cubicBezTo>
                  <a:cubicBezTo>
                    <a:pt x="13" y="34"/>
                    <a:pt x="28" y="15"/>
                    <a:pt x="0" y="1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9" name="Freeform 39"/>
            <p:cNvSpPr>
              <a:spLocks/>
            </p:cNvSpPr>
            <p:nvPr userDrawn="1"/>
          </p:nvSpPr>
          <p:spPr bwMode="auto">
            <a:xfrm>
              <a:off x="10856913" y="4905376"/>
              <a:ext cx="319087" cy="395288"/>
            </a:xfrm>
            <a:custGeom>
              <a:avLst/>
              <a:gdLst>
                <a:gd name="T0" fmla="*/ 3 w 127"/>
                <a:gd name="T1" fmla="*/ 57 h 158"/>
                <a:gd name="T2" fmla="*/ 0 w 127"/>
                <a:gd name="T3" fmla="*/ 158 h 158"/>
                <a:gd name="T4" fmla="*/ 70 w 127"/>
                <a:gd name="T5" fmla="*/ 155 h 158"/>
                <a:gd name="T6" fmla="*/ 87 w 127"/>
                <a:gd name="T7" fmla="*/ 78 h 158"/>
                <a:gd name="T8" fmla="*/ 99 w 127"/>
                <a:gd name="T9" fmla="*/ 12 h 158"/>
                <a:gd name="T10" fmla="*/ 12 w 127"/>
                <a:gd name="T11" fmla="*/ 16 h 158"/>
                <a:gd name="T12" fmla="*/ 3 w 127"/>
                <a:gd name="T13" fmla="*/ 57 h 158"/>
              </a:gdLst>
              <a:ahLst/>
              <a:cxnLst>
                <a:cxn ang="0">
                  <a:pos x="T0" y="T1"/>
                </a:cxn>
                <a:cxn ang="0">
                  <a:pos x="T2" y="T3"/>
                </a:cxn>
                <a:cxn ang="0">
                  <a:pos x="T4" y="T5"/>
                </a:cxn>
                <a:cxn ang="0">
                  <a:pos x="T6" y="T7"/>
                </a:cxn>
                <a:cxn ang="0">
                  <a:pos x="T8" y="T9"/>
                </a:cxn>
                <a:cxn ang="0">
                  <a:pos x="T10" y="T11"/>
                </a:cxn>
                <a:cxn ang="0">
                  <a:pos x="T12" y="T13"/>
                </a:cxn>
              </a:cxnLst>
              <a:rect l="0" t="0" r="r" b="b"/>
              <a:pathLst>
                <a:path w="127" h="158">
                  <a:moveTo>
                    <a:pt x="3" y="57"/>
                  </a:moveTo>
                  <a:cubicBezTo>
                    <a:pt x="3" y="57"/>
                    <a:pt x="3" y="112"/>
                    <a:pt x="0" y="158"/>
                  </a:cubicBezTo>
                  <a:cubicBezTo>
                    <a:pt x="70" y="155"/>
                    <a:pt x="70" y="155"/>
                    <a:pt x="70" y="155"/>
                  </a:cubicBezTo>
                  <a:cubicBezTo>
                    <a:pt x="70" y="155"/>
                    <a:pt x="72" y="115"/>
                    <a:pt x="87" y="78"/>
                  </a:cubicBezTo>
                  <a:cubicBezTo>
                    <a:pt x="100" y="47"/>
                    <a:pt x="127" y="24"/>
                    <a:pt x="99" y="12"/>
                  </a:cubicBezTo>
                  <a:cubicBezTo>
                    <a:pt x="69" y="0"/>
                    <a:pt x="27" y="10"/>
                    <a:pt x="12" y="16"/>
                  </a:cubicBezTo>
                  <a:cubicBezTo>
                    <a:pt x="2" y="21"/>
                    <a:pt x="3" y="57"/>
                    <a:pt x="3" y="57"/>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0" name="Freeform 40"/>
            <p:cNvSpPr>
              <a:spLocks/>
            </p:cNvSpPr>
            <p:nvPr userDrawn="1"/>
          </p:nvSpPr>
          <p:spPr bwMode="auto">
            <a:xfrm>
              <a:off x="10898188" y="4727576"/>
              <a:ext cx="149225" cy="146050"/>
            </a:xfrm>
            <a:custGeom>
              <a:avLst/>
              <a:gdLst>
                <a:gd name="T0" fmla="*/ 50 w 60"/>
                <a:gd name="T1" fmla="*/ 28 h 58"/>
                <a:gd name="T2" fmla="*/ 52 w 60"/>
                <a:gd name="T3" fmla="*/ 40 h 58"/>
                <a:gd name="T4" fmla="*/ 42 w 60"/>
                <a:gd name="T5" fmla="*/ 39 h 58"/>
                <a:gd name="T6" fmla="*/ 16 w 60"/>
                <a:gd name="T7" fmla="*/ 56 h 58"/>
                <a:gd name="T8" fmla="*/ 37 w 60"/>
                <a:gd name="T9" fmla="*/ 1 h 58"/>
                <a:gd name="T10" fmla="*/ 55 w 60"/>
                <a:gd name="T11" fmla="*/ 9 h 58"/>
                <a:gd name="T12" fmla="*/ 50 w 60"/>
                <a:gd name="T13" fmla="*/ 28 h 58"/>
              </a:gdLst>
              <a:ahLst/>
              <a:cxnLst>
                <a:cxn ang="0">
                  <a:pos x="T0" y="T1"/>
                </a:cxn>
                <a:cxn ang="0">
                  <a:pos x="T2" y="T3"/>
                </a:cxn>
                <a:cxn ang="0">
                  <a:pos x="T4" y="T5"/>
                </a:cxn>
                <a:cxn ang="0">
                  <a:pos x="T6" y="T7"/>
                </a:cxn>
                <a:cxn ang="0">
                  <a:pos x="T8" y="T9"/>
                </a:cxn>
                <a:cxn ang="0">
                  <a:pos x="T10" y="T11"/>
                </a:cxn>
                <a:cxn ang="0">
                  <a:pos x="T12" y="T13"/>
                </a:cxn>
              </a:cxnLst>
              <a:rect l="0" t="0" r="r" b="b"/>
              <a:pathLst>
                <a:path w="60" h="58">
                  <a:moveTo>
                    <a:pt x="50" y="28"/>
                  </a:moveTo>
                  <a:cubicBezTo>
                    <a:pt x="59" y="27"/>
                    <a:pt x="60" y="35"/>
                    <a:pt x="52" y="40"/>
                  </a:cubicBezTo>
                  <a:cubicBezTo>
                    <a:pt x="41" y="48"/>
                    <a:pt x="42" y="39"/>
                    <a:pt x="42" y="39"/>
                  </a:cubicBezTo>
                  <a:cubicBezTo>
                    <a:pt x="33" y="54"/>
                    <a:pt x="27" y="58"/>
                    <a:pt x="16" y="56"/>
                  </a:cubicBezTo>
                  <a:cubicBezTo>
                    <a:pt x="0" y="49"/>
                    <a:pt x="21" y="7"/>
                    <a:pt x="37" y="1"/>
                  </a:cubicBezTo>
                  <a:cubicBezTo>
                    <a:pt x="52" y="0"/>
                    <a:pt x="55" y="9"/>
                    <a:pt x="55" y="9"/>
                  </a:cubicBezTo>
                  <a:cubicBezTo>
                    <a:pt x="47" y="15"/>
                    <a:pt x="50" y="28"/>
                    <a:pt x="50" y="28"/>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1" name="Freeform 41"/>
            <p:cNvSpPr>
              <a:spLocks/>
            </p:cNvSpPr>
            <p:nvPr userDrawn="1"/>
          </p:nvSpPr>
          <p:spPr bwMode="auto">
            <a:xfrm>
              <a:off x="10880725" y="4914901"/>
              <a:ext cx="109537" cy="314325"/>
            </a:xfrm>
            <a:custGeom>
              <a:avLst/>
              <a:gdLst>
                <a:gd name="T0" fmla="*/ 44 w 44"/>
                <a:gd name="T1" fmla="*/ 8 h 125"/>
                <a:gd name="T2" fmla="*/ 39 w 44"/>
                <a:gd name="T3" fmla="*/ 0 h 125"/>
                <a:gd name="T4" fmla="*/ 30 w 44"/>
                <a:gd name="T5" fmla="*/ 8 h 125"/>
                <a:gd name="T6" fmla="*/ 33 w 44"/>
                <a:gd name="T7" fmla="*/ 15 h 125"/>
                <a:gd name="T8" fmla="*/ 0 w 44"/>
                <a:gd name="T9" fmla="*/ 95 h 125"/>
                <a:gd name="T10" fmla="*/ 9 w 44"/>
                <a:gd name="T11" fmla="*/ 125 h 125"/>
                <a:gd name="T12" fmla="*/ 18 w 44"/>
                <a:gd name="T13" fmla="*/ 99 h 125"/>
                <a:gd name="T14" fmla="*/ 37 w 44"/>
                <a:gd name="T15" fmla="*/ 15 h 125"/>
                <a:gd name="T16" fmla="*/ 44 w 44"/>
                <a:gd name="T17" fmla="*/ 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5">
                  <a:moveTo>
                    <a:pt x="44" y="8"/>
                  </a:moveTo>
                  <a:cubicBezTo>
                    <a:pt x="39" y="0"/>
                    <a:pt x="39" y="0"/>
                    <a:pt x="39" y="0"/>
                  </a:cubicBezTo>
                  <a:cubicBezTo>
                    <a:pt x="30" y="8"/>
                    <a:pt x="30" y="8"/>
                    <a:pt x="30" y="8"/>
                  </a:cubicBezTo>
                  <a:cubicBezTo>
                    <a:pt x="33" y="15"/>
                    <a:pt x="33" y="15"/>
                    <a:pt x="33" y="15"/>
                  </a:cubicBezTo>
                  <a:cubicBezTo>
                    <a:pt x="16" y="42"/>
                    <a:pt x="0" y="95"/>
                    <a:pt x="0" y="95"/>
                  </a:cubicBezTo>
                  <a:cubicBezTo>
                    <a:pt x="9" y="125"/>
                    <a:pt x="9" y="125"/>
                    <a:pt x="9" y="125"/>
                  </a:cubicBezTo>
                  <a:cubicBezTo>
                    <a:pt x="18" y="99"/>
                    <a:pt x="18" y="99"/>
                    <a:pt x="18" y="99"/>
                  </a:cubicBezTo>
                  <a:cubicBezTo>
                    <a:pt x="13" y="75"/>
                    <a:pt x="37" y="15"/>
                    <a:pt x="37" y="15"/>
                  </a:cubicBezTo>
                  <a:lnTo>
                    <a:pt x="44" y="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2" name="Freeform 42"/>
            <p:cNvSpPr>
              <a:spLocks/>
            </p:cNvSpPr>
            <p:nvPr userDrawn="1"/>
          </p:nvSpPr>
          <p:spPr bwMode="auto">
            <a:xfrm>
              <a:off x="10941050" y="4897438"/>
              <a:ext cx="109537" cy="58738"/>
            </a:xfrm>
            <a:custGeom>
              <a:avLst/>
              <a:gdLst>
                <a:gd name="T0" fmla="*/ 3 w 44"/>
                <a:gd name="T1" fmla="*/ 14 h 23"/>
                <a:gd name="T2" fmla="*/ 0 w 44"/>
                <a:gd name="T3" fmla="*/ 23 h 23"/>
                <a:gd name="T4" fmla="*/ 12 w 44"/>
                <a:gd name="T5" fmla="*/ 12 h 23"/>
                <a:gd name="T6" fmla="*/ 20 w 44"/>
                <a:gd name="T7" fmla="*/ 20 h 23"/>
                <a:gd name="T8" fmla="*/ 44 w 44"/>
                <a:gd name="T9" fmla="*/ 10 h 23"/>
                <a:gd name="T10" fmla="*/ 40 w 44"/>
                <a:gd name="T11" fmla="*/ 0 h 23"/>
                <a:gd name="T12" fmla="*/ 15 w 44"/>
                <a:gd name="T13" fmla="*/ 7 h 23"/>
                <a:gd name="T14" fmla="*/ 14 w 44"/>
                <a:gd name="T15" fmla="*/ 5 h 23"/>
                <a:gd name="T16" fmla="*/ 3 w 44"/>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3" y="14"/>
                  </a:moveTo>
                  <a:cubicBezTo>
                    <a:pt x="0" y="23"/>
                    <a:pt x="0" y="23"/>
                    <a:pt x="0" y="23"/>
                  </a:cubicBezTo>
                  <a:cubicBezTo>
                    <a:pt x="12" y="12"/>
                    <a:pt x="12" y="12"/>
                    <a:pt x="12" y="12"/>
                  </a:cubicBezTo>
                  <a:cubicBezTo>
                    <a:pt x="12" y="12"/>
                    <a:pt x="18" y="20"/>
                    <a:pt x="20" y="20"/>
                  </a:cubicBezTo>
                  <a:cubicBezTo>
                    <a:pt x="22" y="21"/>
                    <a:pt x="44" y="10"/>
                    <a:pt x="44" y="10"/>
                  </a:cubicBezTo>
                  <a:cubicBezTo>
                    <a:pt x="40" y="0"/>
                    <a:pt x="40" y="0"/>
                    <a:pt x="40" y="0"/>
                  </a:cubicBezTo>
                  <a:cubicBezTo>
                    <a:pt x="15" y="7"/>
                    <a:pt x="15" y="7"/>
                    <a:pt x="15" y="7"/>
                  </a:cubicBezTo>
                  <a:cubicBezTo>
                    <a:pt x="14" y="5"/>
                    <a:pt x="14" y="5"/>
                    <a:pt x="14" y="5"/>
                  </a:cubicBezTo>
                  <a:lnTo>
                    <a:pt x="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23" name="Freeform 43"/>
            <p:cNvSpPr>
              <a:spLocks/>
            </p:cNvSpPr>
            <p:nvPr userDrawn="1"/>
          </p:nvSpPr>
          <p:spPr bwMode="auto">
            <a:xfrm>
              <a:off x="10799763" y="5251451"/>
              <a:ext cx="466725" cy="831850"/>
            </a:xfrm>
            <a:custGeom>
              <a:avLst/>
              <a:gdLst>
                <a:gd name="T0" fmla="*/ 94 w 186"/>
                <a:gd name="T1" fmla="*/ 8 h 332"/>
                <a:gd name="T2" fmla="*/ 111 w 186"/>
                <a:gd name="T3" fmla="*/ 168 h 332"/>
                <a:gd name="T4" fmla="*/ 186 w 186"/>
                <a:gd name="T5" fmla="*/ 307 h 332"/>
                <a:gd name="T6" fmla="*/ 144 w 186"/>
                <a:gd name="T7" fmla="*/ 329 h 332"/>
                <a:gd name="T8" fmla="*/ 169 w 186"/>
                <a:gd name="T9" fmla="*/ 301 h 332"/>
                <a:gd name="T10" fmla="*/ 80 w 186"/>
                <a:gd name="T11" fmla="*/ 174 h 332"/>
                <a:gd name="T12" fmla="*/ 48 w 186"/>
                <a:gd name="T13" fmla="*/ 73 h 332"/>
                <a:gd name="T14" fmla="*/ 39 w 186"/>
                <a:gd name="T15" fmla="*/ 185 h 332"/>
                <a:gd name="T16" fmla="*/ 57 w 186"/>
                <a:gd name="T17" fmla="*/ 306 h 332"/>
                <a:gd name="T18" fmla="*/ 9 w 186"/>
                <a:gd name="T19" fmla="*/ 318 h 332"/>
                <a:gd name="T20" fmla="*/ 43 w 186"/>
                <a:gd name="T21" fmla="*/ 304 h 332"/>
                <a:gd name="T22" fmla="*/ 8 w 186"/>
                <a:gd name="T23" fmla="*/ 177 h 332"/>
                <a:gd name="T24" fmla="*/ 24 w 186"/>
                <a:gd name="T25" fmla="*/ 8 h 332"/>
                <a:gd name="T26" fmla="*/ 94 w 186"/>
                <a:gd name="T27" fmla="*/ 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332">
                  <a:moveTo>
                    <a:pt x="94" y="8"/>
                  </a:moveTo>
                  <a:cubicBezTo>
                    <a:pt x="94" y="8"/>
                    <a:pt x="98" y="129"/>
                    <a:pt x="111" y="168"/>
                  </a:cubicBezTo>
                  <a:cubicBezTo>
                    <a:pt x="120" y="197"/>
                    <a:pt x="186" y="307"/>
                    <a:pt x="186" y="307"/>
                  </a:cubicBezTo>
                  <a:cubicBezTo>
                    <a:pt x="186" y="307"/>
                    <a:pt x="159" y="332"/>
                    <a:pt x="144" y="329"/>
                  </a:cubicBezTo>
                  <a:cubicBezTo>
                    <a:pt x="144" y="329"/>
                    <a:pt x="134" y="325"/>
                    <a:pt x="169" y="301"/>
                  </a:cubicBezTo>
                  <a:cubicBezTo>
                    <a:pt x="169" y="301"/>
                    <a:pt x="89" y="199"/>
                    <a:pt x="80" y="174"/>
                  </a:cubicBezTo>
                  <a:cubicBezTo>
                    <a:pt x="65" y="134"/>
                    <a:pt x="54" y="73"/>
                    <a:pt x="48" y="73"/>
                  </a:cubicBezTo>
                  <a:cubicBezTo>
                    <a:pt x="42" y="73"/>
                    <a:pt x="37" y="171"/>
                    <a:pt x="39" y="185"/>
                  </a:cubicBezTo>
                  <a:cubicBezTo>
                    <a:pt x="48" y="239"/>
                    <a:pt x="55" y="297"/>
                    <a:pt x="57" y="306"/>
                  </a:cubicBezTo>
                  <a:cubicBezTo>
                    <a:pt x="57" y="306"/>
                    <a:pt x="27" y="327"/>
                    <a:pt x="9" y="318"/>
                  </a:cubicBezTo>
                  <a:cubicBezTo>
                    <a:pt x="9" y="318"/>
                    <a:pt x="19" y="305"/>
                    <a:pt x="43" y="304"/>
                  </a:cubicBezTo>
                  <a:cubicBezTo>
                    <a:pt x="43" y="304"/>
                    <a:pt x="13" y="200"/>
                    <a:pt x="8" y="177"/>
                  </a:cubicBezTo>
                  <a:cubicBezTo>
                    <a:pt x="0" y="133"/>
                    <a:pt x="24" y="40"/>
                    <a:pt x="24" y="8"/>
                  </a:cubicBezTo>
                  <a:cubicBezTo>
                    <a:pt x="24" y="8"/>
                    <a:pt x="45" y="0"/>
                    <a:pt x="94" y="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4" name="Freeform 44"/>
            <p:cNvSpPr>
              <a:spLocks/>
            </p:cNvSpPr>
            <p:nvPr userDrawn="1"/>
          </p:nvSpPr>
          <p:spPr bwMode="auto">
            <a:xfrm>
              <a:off x="10880725" y="5268913"/>
              <a:ext cx="44450" cy="30163"/>
            </a:xfrm>
            <a:custGeom>
              <a:avLst/>
              <a:gdLst>
                <a:gd name="T0" fmla="*/ 1 w 18"/>
                <a:gd name="T1" fmla="*/ 12 h 12"/>
                <a:gd name="T2" fmla="*/ 18 w 18"/>
                <a:gd name="T3" fmla="*/ 10 h 12"/>
                <a:gd name="T4" fmla="*/ 17 w 18"/>
                <a:gd name="T5" fmla="*/ 2 h 12"/>
                <a:gd name="T6" fmla="*/ 0 w 18"/>
                <a:gd name="T7" fmla="*/ 2 h 12"/>
                <a:gd name="T8" fmla="*/ 1 w 18"/>
                <a:gd name="T9" fmla="*/ 12 h 12"/>
              </a:gdLst>
              <a:ahLst/>
              <a:cxnLst>
                <a:cxn ang="0">
                  <a:pos x="T0" y="T1"/>
                </a:cxn>
                <a:cxn ang="0">
                  <a:pos x="T2" y="T3"/>
                </a:cxn>
                <a:cxn ang="0">
                  <a:pos x="T4" y="T5"/>
                </a:cxn>
                <a:cxn ang="0">
                  <a:pos x="T6" y="T7"/>
                </a:cxn>
                <a:cxn ang="0">
                  <a:pos x="T8" y="T9"/>
                </a:cxn>
              </a:cxnLst>
              <a:rect l="0" t="0" r="r" b="b"/>
              <a:pathLst>
                <a:path w="18" h="12">
                  <a:moveTo>
                    <a:pt x="1" y="12"/>
                  </a:moveTo>
                  <a:cubicBezTo>
                    <a:pt x="1" y="12"/>
                    <a:pt x="5" y="7"/>
                    <a:pt x="18" y="10"/>
                  </a:cubicBezTo>
                  <a:cubicBezTo>
                    <a:pt x="17" y="2"/>
                    <a:pt x="17" y="2"/>
                    <a:pt x="17" y="2"/>
                  </a:cubicBezTo>
                  <a:cubicBezTo>
                    <a:pt x="17" y="2"/>
                    <a:pt x="9" y="0"/>
                    <a:pt x="0" y="2"/>
                  </a:cubicBezTo>
                  <a:lnTo>
                    <a:pt x="1" y="1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5" name="Freeform 45"/>
            <p:cNvSpPr>
              <a:spLocks/>
            </p:cNvSpPr>
            <p:nvPr userDrawn="1"/>
          </p:nvSpPr>
          <p:spPr bwMode="auto">
            <a:xfrm>
              <a:off x="10950575" y="4700588"/>
              <a:ext cx="130175" cy="60325"/>
            </a:xfrm>
            <a:custGeom>
              <a:avLst/>
              <a:gdLst>
                <a:gd name="T0" fmla="*/ 38 w 52"/>
                <a:gd name="T1" fmla="*/ 24 h 24"/>
                <a:gd name="T2" fmla="*/ 10 w 52"/>
                <a:gd name="T3" fmla="*/ 19 h 24"/>
                <a:gd name="T4" fmla="*/ 6 w 52"/>
                <a:gd name="T5" fmla="*/ 0 h 24"/>
                <a:gd name="T6" fmla="*/ 13 w 52"/>
                <a:gd name="T7" fmla="*/ 1 h 24"/>
                <a:gd name="T8" fmla="*/ 42 w 52"/>
                <a:gd name="T9" fmla="*/ 11 h 24"/>
                <a:gd name="T10" fmla="*/ 38 w 52"/>
                <a:gd name="T11" fmla="*/ 24 h 24"/>
              </a:gdLst>
              <a:ahLst/>
              <a:cxnLst>
                <a:cxn ang="0">
                  <a:pos x="T0" y="T1"/>
                </a:cxn>
                <a:cxn ang="0">
                  <a:pos x="T2" y="T3"/>
                </a:cxn>
                <a:cxn ang="0">
                  <a:pos x="T4" y="T5"/>
                </a:cxn>
                <a:cxn ang="0">
                  <a:pos x="T6" y="T7"/>
                </a:cxn>
                <a:cxn ang="0">
                  <a:pos x="T8" y="T9"/>
                </a:cxn>
                <a:cxn ang="0">
                  <a:pos x="T10" y="T11"/>
                </a:cxn>
              </a:cxnLst>
              <a:rect l="0" t="0" r="r" b="b"/>
              <a:pathLst>
                <a:path w="52" h="24">
                  <a:moveTo>
                    <a:pt x="38" y="24"/>
                  </a:moveTo>
                  <a:cubicBezTo>
                    <a:pt x="38" y="24"/>
                    <a:pt x="21" y="24"/>
                    <a:pt x="10" y="19"/>
                  </a:cubicBezTo>
                  <a:cubicBezTo>
                    <a:pt x="0" y="15"/>
                    <a:pt x="3" y="2"/>
                    <a:pt x="6" y="0"/>
                  </a:cubicBezTo>
                  <a:cubicBezTo>
                    <a:pt x="6" y="0"/>
                    <a:pt x="9" y="2"/>
                    <a:pt x="13" y="1"/>
                  </a:cubicBezTo>
                  <a:cubicBezTo>
                    <a:pt x="18" y="1"/>
                    <a:pt x="31" y="5"/>
                    <a:pt x="42" y="11"/>
                  </a:cubicBezTo>
                  <a:cubicBezTo>
                    <a:pt x="52" y="17"/>
                    <a:pt x="38" y="24"/>
                    <a:pt x="38" y="2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6" name="Freeform 46"/>
            <p:cNvSpPr>
              <a:spLocks/>
            </p:cNvSpPr>
            <p:nvPr userDrawn="1"/>
          </p:nvSpPr>
          <p:spPr bwMode="auto">
            <a:xfrm>
              <a:off x="10637838" y="5170488"/>
              <a:ext cx="100012" cy="63500"/>
            </a:xfrm>
            <a:custGeom>
              <a:avLst/>
              <a:gdLst>
                <a:gd name="T0" fmla="*/ 31 w 40"/>
                <a:gd name="T1" fmla="*/ 12 h 25"/>
                <a:gd name="T2" fmla="*/ 22 w 40"/>
                <a:gd name="T3" fmla="*/ 1 h 25"/>
                <a:gd name="T4" fmla="*/ 14 w 40"/>
                <a:gd name="T5" fmla="*/ 0 h 25"/>
                <a:gd name="T6" fmla="*/ 20 w 40"/>
                <a:gd name="T7" fmla="*/ 3 h 25"/>
                <a:gd name="T8" fmla="*/ 22 w 40"/>
                <a:gd name="T9" fmla="*/ 7 h 25"/>
                <a:gd name="T10" fmla="*/ 11 w 40"/>
                <a:gd name="T11" fmla="*/ 5 h 25"/>
                <a:gd name="T12" fmla="*/ 1 w 40"/>
                <a:gd name="T13" fmla="*/ 7 h 25"/>
                <a:gd name="T14" fmla="*/ 2 w 40"/>
                <a:gd name="T15" fmla="*/ 9 h 25"/>
                <a:gd name="T16" fmla="*/ 10 w 40"/>
                <a:gd name="T17" fmla="*/ 9 h 25"/>
                <a:gd name="T18" fmla="*/ 15 w 40"/>
                <a:gd name="T19" fmla="*/ 10 h 25"/>
                <a:gd name="T20" fmla="*/ 9 w 40"/>
                <a:gd name="T21" fmla="*/ 12 h 25"/>
                <a:gd name="T22" fmla="*/ 3 w 40"/>
                <a:gd name="T23" fmla="*/ 19 h 25"/>
                <a:gd name="T24" fmla="*/ 8 w 40"/>
                <a:gd name="T25" fmla="*/ 16 h 25"/>
                <a:gd name="T26" fmla="*/ 14 w 40"/>
                <a:gd name="T27" fmla="*/ 15 h 25"/>
                <a:gd name="T28" fmla="*/ 10 w 40"/>
                <a:gd name="T29" fmla="*/ 19 h 25"/>
                <a:gd name="T30" fmla="*/ 9 w 40"/>
                <a:gd name="T31" fmla="*/ 24 h 25"/>
                <a:gd name="T32" fmla="*/ 11 w 40"/>
                <a:gd name="T33" fmla="*/ 23 h 25"/>
                <a:gd name="T34" fmla="*/ 12 w 40"/>
                <a:gd name="T35" fmla="*/ 24 h 25"/>
                <a:gd name="T36" fmla="*/ 15 w 40"/>
                <a:gd name="T37" fmla="*/ 22 h 25"/>
                <a:gd name="T38" fmla="*/ 19 w 40"/>
                <a:gd name="T39" fmla="*/ 21 h 25"/>
                <a:gd name="T40" fmla="*/ 33 w 40"/>
                <a:gd name="T41" fmla="*/ 20 h 25"/>
                <a:gd name="T42" fmla="*/ 40 w 40"/>
                <a:gd name="T43" fmla="*/ 18 h 25"/>
                <a:gd name="T44" fmla="*/ 31 w 40"/>
                <a:gd name="T4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25">
                  <a:moveTo>
                    <a:pt x="31" y="12"/>
                  </a:moveTo>
                  <a:cubicBezTo>
                    <a:pt x="22" y="1"/>
                    <a:pt x="22" y="1"/>
                    <a:pt x="22" y="1"/>
                  </a:cubicBezTo>
                  <a:cubicBezTo>
                    <a:pt x="14" y="0"/>
                    <a:pt x="14" y="0"/>
                    <a:pt x="14" y="0"/>
                  </a:cubicBezTo>
                  <a:cubicBezTo>
                    <a:pt x="14" y="0"/>
                    <a:pt x="15" y="2"/>
                    <a:pt x="20" y="3"/>
                  </a:cubicBezTo>
                  <a:cubicBezTo>
                    <a:pt x="22" y="7"/>
                    <a:pt x="22" y="7"/>
                    <a:pt x="22" y="7"/>
                  </a:cubicBezTo>
                  <a:cubicBezTo>
                    <a:pt x="11" y="5"/>
                    <a:pt x="11" y="5"/>
                    <a:pt x="11" y="5"/>
                  </a:cubicBezTo>
                  <a:cubicBezTo>
                    <a:pt x="1" y="7"/>
                    <a:pt x="1" y="7"/>
                    <a:pt x="1" y="7"/>
                  </a:cubicBezTo>
                  <a:cubicBezTo>
                    <a:pt x="1" y="7"/>
                    <a:pt x="0" y="8"/>
                    <a:pt x="2" y="9"/>
                  </a:cubicBezTo>
                  <a:cubicBezTo>
                    <a:pt x="4" y="9"/>
                    <a:pt x="10" y="9"/>
                    <a:pt x="10" y="9"/>
                  </a:cubicBezTo>
                  <a:cubicBezTo>
                    <a:pt x="15" y="10"/>
                    <a:pt x="15" y="10"/>
                    <a:pt x="15" y="10"/>
                  </a:cubicBezTo>
                  <a:cubicBezTo>
                    <a:pt x="9" y="12"/>
                    <a:pt x="9" y="12"/>
                    <a:pt x="9" y="12"/>
                  </a:cubicBezTo>
                  <a:cubicBezTo>
                    <a:pt x="3" y="19"/>
                    <a:pt x="3" y="19"/>
                    <a:pt x="3" y="19"/>
                  </a:cubicBezTo>
                  <a:cubicBezTo>
                    <a:pt x="3" y="19"/>
                    <a:pt x="5" y="21"/>
                    <a:pt x="8" y="16"/>
                  </a:cubicBezTo>
                  <a:cubicBezTo>
                    <a:pt x="10" y="14"/>
                    <a:pt x="14" y="15"/>
                    <a:pt x="14" y="15"/>
                  </a:cubicBezTo>
                  <a:cubicBezTo>
                    <a:pt x="10" y="19"/>
                    <a:pt x="10" y="19"/>
                    <a:pt x="10" y="19"/>
                  </a:cubicBezTo>
                  <a:cubicBezTo>
                    <a:pt x="10" y="19"/>
                    <a:pt x="8" y="23"/>
                    <a:pt x="9" y="24"/>
                  </a:cubicBezTo>
                  <a:cubicBezTo>
                    <a:pt x="10" y="24"/>
                    <a:pt x="11" y="23"/>
                    <a:pt x="11" y="23"/>
                  </a:cubicBezTo>
                  <a:cubicBezTo>
                    <a:pt x="11" y="23"/>
                    <a:pt x="11" y="24"/>
                    <a:pt x="12" y="24"/>
                  </a:cubicBezTo>
                  <a:cubicBezTo>
                    <a:pt x="13" y="24"/>
                    <a:pt x="15" y="22"/>
                    <a:pt x="15" y="22"/>
                  </a:cubicBezTo>
                  <a:cubicBezTo>
                    <a:pt x="19" y="21"/>
                    <a:pt x="19" y="21"/>
                    <a:pt x="19" y="21"/>
                  </a:cubicBezTo>
                  <a:cubicBezTo>
                    <a:pt x="19" y="21"/>
                    <a:pt x="29" y="25"/>
                    <a:pt x="33" y="20"/>
                  </a:cubicBezTo>
                  <a:cubicBezTo>
                    <a:pt x="34" y="18"/>
                    <a:pt x="40" y="18"/>
                    <a:pt x="40" y="18"/>
                  </a:cubicBezTo>
                  <a:lnTo>
                    <a:pt x="31" y="12"/>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7" name="Freeform 47"/>
            <p:cNvSpPr>
              <a:spLocks/>
            </p:cNvSpPr>
            <p:nvPr userDrawn="1"/>
          </p:nvSpPr>
          <p:spPr bwMode="auto">
            <a:xfrm>
              <a:off x="10712450" y="4903788"/>
              <a:ext cx="446087" cy="325438"/>
            </a:xfrm>
            <a:custGeom>
              <a:avLst/>
              <a:gdLst>
                <a:gd name="T0" fmla="*/ 143 w 178"/>
                <a:gd name="T1" fmla="*/ 21 h 130"/>
                <a:gd name="T2" fmla="*/ 79 w 178"/>
                <a:gd name="T3" fmla="*/ 76 h 130"/>
                <a:gd name="T4" fmla="*/ 0 w 178"/>
                <a:gd name="T5" fmla="*/ 114 h 130"/>
                <a:gd name="T6" fmla="*/ 4 w 178"/>
                <a:gd name="T7" fmla="*/ 130 h 130"/>
                <a:gd name="T8" fmla="*/ 90 w 178"/>
                <a:gd name="T9" fmla="*/ 104 h 130"/>
                <a:gd name="T10" fmla="*/ 161 w 178"/>
                <a:gd name="T11" fmla="*/ 55 h 130"/>
                <a:gd name="T12" fmla="*/ 143 w 178"/>
                <a:gd name="T13" fmla="*/ 21 h 130"/>
              </a:gdLst>
              <a:ahLst/>
              <a:cxnLst>
                <a:cxn ang="0">
                  <a:pos x="T0" y="T1"/>
                </a:cxn>
                <a:cxn ang="0">
                  <a:pos x="T2" y="T3"/>
                </a:cxn>
                <a:cxn ang="0">
                  <a:pos x="T4" y="T5"/>
                </a:cxn>
                <a:cxn ang="0">
                  <a:pos x="T6" y="T7"/>
                </a:cxn>
                <a:cxn ang="0">
                  <a:pos x="T8" y="T9"/>
                </a:cxn>
                <a:cxn ang="0">
                  <a:pos x="T10" y="T11"/>
                </a:cxn>
                <a:cxn ang="0">
                  <a:pos x="T12" y="T13"/>
                </a:cxn>
              </a:cxnLst>
              <a:rect l="0" t="0" r="r" b="b"/>
              <a:pathLst>
                <a:path w="178" h="130">
                  <a:moveTo>
                    <a:pt x="143" y="21"/>
                  </a:moveTo>
                  <a:cubicBezTo>
                    <a:pt x="128" y="29"/>
                    <a:pt x="79" y="76"/>
                    <a:pt x="79" y="76"/>
                  </a:cubicBezTo>
                  <a:cubicBezTo>
                    <a:pt x="0" y="114"/>
                    <a:pt x="0" y="114"/>
                    <a:pt x="0" y="114"/>
                  </a:cubicBezTo>
                  <a:cubicBezTo>
                    <a:pt x="4" y="130"/>
                    <a:pt x="4" y="130"/>
                    <a:pt x="4" y="130"/>
                  </a:cubicBezTo>
                  <a:cubicBezTo>
                    <a:pt x="90" y="104"/>
                    <a:pt x="90" y="104"/>
                    <a:pt x="90" y="104"/>
                  </a:cubicBezTo>
                  <a:cubicBezTo>
                    <a:pt x="90" y="104"/>
                    <a:pt x="144" y="67"/>
                    <a:pt x="161" y="55"/>
                  </a:cubicBezTo>
                  <a:cubicBezTo>
                    <a:pt x="177" y="44"/>
                    <a:pt x="178" y="0"/>
                    <a:pt x="143" y="21"/>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 name="Freeform 87"/>
            <p:cNvSpPr>
              <a:spLocks/>
            </p:cNvSpPr>
            <p:nvPr userDrawn="1"/>
          </p:nvSpPr>
          <p:spPr bwMode="auto">
            <a:xfrm>
              <a:off x="9758363" y="3279776"/>
              <a:ext cx="109537" cy="122238"/>
            </a:xfrm>
            <a:custGeom>
              <a:avLst/>
              <a:gdLst>
                <a:gd name="T0" fmla="*/ 44 w 44"/>
                <a:gd name="T1" fmla="*/ 31 h 49"/>
                <a:gd name="T2" fmla="*/ 39 w 44"/>
                <a:gd name="T3" fmla="*/ 14 h 49"/>
                <a:gd name="T4" fmla="*/ 20 w 44"/>
                <a:gd name="T5" fmla="*/ 0 h 49"/>
                <a:gd name="T6" fmla="*/ 25 w 44"/>
                <a:gd name="T7" fmla="*/ 11 h 49"/>
                <a:gd name="T8" fmla="*/ 9 w 44"/>
                <a:gd name="T9" fmla="*/ 2 h 49"/>
                <a:gd name="T10" fmla="*/ 5 w 44"/>
                <a:gd name="T11" fmla="*/ 6 h 49"/>
                <a:gd name="T12" fmla="*/ 10 w 44"/>
                <a:gd name="T13" fmla="*/ 21 h 49"/>
                <a:gd name="T14" fmla="*/ 34 w 44"/>
                <a:gd name="T15" fmla="*/ 41 h 49"/>
                <a:gd name="T16" fmla="*/ 44 w 44"/>
                <a:gd name="T17" fmla="*/ 3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9">
                  <a:moveTo>
                    <a:pt x="44" y="31"/>
                  </a:moveTo>
                  <a:cubicBezTo>
                    <a:pt x="39" y="14"/>
                    <a:pt x="39" y="14"/>
                    <a:pt x="39" y="14"/>
                  </a:cubicBezTo>
                  <a:cubicBezTo>
                    <a:pt x="39" y="14"/>
                    <a:pt x="26" y="7"/>
                    <a:pt x="20" y="0"/>
                  </a:cubicBezTo>
                  <a:cubicBezTo>
                    <a:pt x="20" y="0"/>
                    <a:pt x="19" y="5"/>
                    <a:pt x="25" y="11"/>
                  </a:cubicBezTo>
                  <a:cubicBezTo>
                    <a:pt x="9" y="2"/>
                    <a:pt x="9" y="2"/>
                    <a:pt x="9" y="2"/>
                  </a:cubicBezTo>
                  <a:cubicBezTo>
                    <a:pt x="9" y="2"/>
                    <a:pt x="0" y="1"/>
                    <a:pt x="5" y="6"/>
                  </a:cubicBezTo>
                  <a:cubicBezTo>
                    <a:pt x="9" y="11"/>
                    <a:pt x="9" y="17"/>
                    <a:pt x="10" y="21"/>
                  </a:cubicBezTo>
                  <a:cubicBezTo>
                    <a:pt x="11" y="26"/>
                    <a:pt x="29" y="33"/>
                    <a:pt x="34" y="41"/>
                  </a:cubicBezTo>
                  <a:cubicBezTo>
                    <a:pt x="38" y="49"/>
                    <a:pt x="44" y="31"/>
                    <a:pt x="44" y="31"/>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4" name="Freeform 88"/>
            <p:cNvSpPr>
              <a:spLocks/>
            </p:cNvSpPr>
            <p:nvPr userDrawn="1"/>
          </p:nvSpPr>
          <p:spPr bwMode="auto">
            <a:xfrm>
              <a:off x="10304463" y="3106738"/>
              <a:ext cx="187325" cy="236538"/>
            </a:xfrm>
            <a:custGeom>
              <a:avLst/>
              <a:gdLst>
                <a:gd name="T0" fmla="*/ 37 w 75"/>
                <a:gd name="T1" fmla="*/ 94 h 94"/>
                <a:gd name="T2" fmla="*/ 46 w 75"/>
                <a:gd name="T3" fmla="*/ 69 h 94"/>
                <a:gd name="T4" fmla="*/ 72 w 75"/>
                <a:gd name="T5" fmla="*/ 38 h 94"/>
                <a:gd name="T6" fmla="*/ 32 w 75"/>
                <a:gd name="T7" fmla="*/ 2 h 94"/>
                <a:gd name="T8" fmla="*/ 1 w 75"/>
                <a:gd name="T9" fmla="*/ 40 h 94"/>
                <a:gd name="T10" fmla="*/ 13 w 75"/>
                <a:gd name="T11" fmla="*/ 62 h 94"/>
                <a:gd name="T12" fmla="*/ 6 w 75"/>
                <a:gd name="T13" fmla="*/ 94 h 94"/>
                <a:gd name="T14" fmla="*/ 37 w 75"/>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4">
                  <a:moveTo>
                    <a:pt x="37" y="94"/>
                  </a:moveTo>
                  <a:cubicBezTo>
                    <a:pt x="38" y="90"/>
                    <a:pt x="37" y="74"/>
                    <a:pt x="46" y="69"/>
                  </a:cubicBezTo>
                  <a:cubicBezTo>
                    <a:pt x="54" y="64"/>
                    <a:pt x="68" y="65"/>
                    <a:pt x="72" y="38"/>
                  </a:cubicBezTo>
                  <a:cubicBezTo>
                    <a:pt x="75" y="12"/>
                    <a:pt x="44" y="4"/>
                    <a:pt x="32" y="2"/>
                  </a:cubicBezTo>
                  <a:cubicBezTo>
                    <a:pt x="21" y="0"/>
                    <a:pt x="0" y="32"/>
                    <a:pt x="1" y="40"/>
                  </a:cubicBezTo>
                  <a:cubicBezTo>
                    <a:pt x="3" y="51"/>
                    <a:pt x="13" y="62"/>
                    <a:pt x="13" y="62"/>
                  </a:cubicBezTo>
                  <a:cubicBezTo>
                    <a:pt x="6" y="94"/>
                    <a:pt x="6" y="94"/>
                    <a:pt x="6" y="94"/>
                  </a:cubicBezTo>
                  <a:lnTo>
                    <a:pt x="37" y="94"/>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5" name="Freeform 89"/>
            <p:cNvSpPr>
              <a:spLocks/>
            </p:cNvSpPr>
            <p:nvPr userDrawn="1"/>
          </p:nvSpPr>
          <p:spPr bwMode="auto">
            <a:xfrm>
              <a:off x="10336213" y="3062288"/>
              <a:ext cx="177800" cy="230188"/>
            </a:xfrm>
            <a:custGeom>
              <a:avLst/>
              <a:gdLst>
                <a:gd name="T0" fmla="*/ 7 w 71"/>
                <a:gd name="T1" fmla="*/ 44 h 92"/>
                <a:gd name="T2" fmla="*/ 15 w 71"/>
                <a:gd name="T3" fmla="*/ 46 h 92"/>
                <a:gd name="T4" fmla="*/ 3 w 71"/>
                <a:gd name="T5" fmla="*/ 57 h 92"/>
                <a:gd name="T6" fmla="*/ 7 w 71"/>
                <a:gd name="T7" fmla="*/ 78 h 92"/>
                <a:gd name="T8" fmla="*/ 28 w 71"/>
                <a:gd name="T9" fmla="*/ 92 h 92"/>
                <a:gd name="T10" fmla="*/ 69 w 71"/>
                <a:gd name="T11" fmla="*/ 42 h 92"/>
                <a:gd name="T12" fmla="*/ 11 w 71"/>
                <a:gd name="T13" fmla="*/ 4 h 92"/>
                <a:gd name="T14" fmla="*/ 5 w 71"/>
                <a:gd name="T15" fmla="*/ 15 h 92"/>
                <a:gd name="T16" fmla="*/ 7 w 71"/>
                <a:gd name="T17" fmla="*/ 4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2">
                  <a:moveTo>
                    <a:pt x="7" y="44"/>
                  </a:moveTo>
                  <a:cubicBezTo>
                    <a:pt x="7" y="44"/>
                    <a:pt x="14" y="43"/>
                    <a:pt x="15" y="46"/>
                  </a:cubicBezTo>
                  <a:cubicBezTo>
                    <a:pt x="15" y="49"/>
                    <a:pt x="10" y="52"/>
                    <a:pt x="3" y="57"/>
                  </a:cubicBezTo>
                  <a:cubicBezTo>
                    <a:pt x="3" y="57"/>
                    <a:pt x="0" y="73"/>
                    <a:pt x="7" y="78"/>
                  </a:cubicBezTo>
                  <a:cubicBezTo>
                    <a:pt x="14" y="84"/>
                    <a:pt x="28" y="92"/>
                    <a:pt x="28" y="92"/>
                  </a:cubicBezTo>
                  <a:cubicBezTo>
                    <a:pt x="28" y="92"/>
                    <a:pt x="71" y="77"/>
                    <a:pt x="69" y="42"/>
                  </a:cubicBezTo>
                  <a:cubicBezTo>
                    <a:pt x="68" y="7"/>
                    <a:pt x="31" y="0"/>
                    <a:pt x="11" y="4"/>
                  </a:cubicBezTo>
                  <a:cubicBezTo>
                    <a:pt x="11" y="4"/>
                    <a:pt x="5" y="9"/>
                    <a:pt x="5" y="15"/>
                  </a:cubicBezTo>
                  <a:cubicBezTo>
                    <a:pt x="5" y="23"/>
                    <a:pt x="10" y="34"/>
                    <a:pt x="7" y="44"/>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6" name="Freeform 90"/>
            <p:cNvSpPr>
              <a:spLocks/>
            </p:cNvSpPr>
            <p:nvPr userDrawn="1"/>
          </p:nvSpPr>
          <p:spPr bwMode="auto">
            <a:xfrm>
              <a:off x="10594975" y="3309938"/>
              <a:ext cx="52387" cy="42863"/>
            </a:xfrm>
            <a:custGeom>
              <a:avLst/>
              <a:gdLst>
                <a:gd name="T0" fmla="*/ 3 w 21"/>
                <a:gd name="T1" fmla="*/ 15 h 17"/>
                <a:gd name="T2" fmla="*/ 3 w 21"/>
                <a:gd name="T3" fmla="*/ 14 h 17"/>
                <a:gd name="T4" fmla="*/ 3 w 21"/>
                <a:gd name="T5" fmla="*/ 2 h 17"/>
                <a:gd name="T6" fmla="*/ 20 w 21"/>
                <a:gd name="T7" fmla="*/ 0 h 17"/>
                <a:gd name="T8" fmla="*/ 21 w 21"/>
                <a:gd name="T9" fmla="*/ 13 h 17"/>
                <a:gd name="T10" fmla="*/ 13 w 21"/>
                <a:gd name="T11" fmla="*/ 17 h 17"/>
                <a:gd name="T12" fmla="*/ 3 w 21"/>
                <a:gd name="T13" fmla="*/ 15 h 17"/>
              </a:gdLst>
              <a:ahLst/>
              <a:cxnLst>
                <a:cxn ang="0">
                  <a:pos x="T0" y="T1"/>
                </a:cxn>
                <a:cxn ang="0">
                  <a:pos x="T2" y="T3"/>
                </a:cxn>
                <a:cxn ang="0">
                  <a:pos x="T4" y="T5"/>
                </a:cxn>
                <a:cxn ang="0">
                  <a:pos x="T6" y="T7"/>
                </a:cxn>
                <a:cxn ang="0">
                  <a:pos x="T8" y="T9"/>
                </a:cxn>
                <a:cxn ang="0">
                  <a:pos x="T10" y="T11"/>
                </a:cxn>
                <a:cxn ang="0">
                  <a:pos x="T12" y="T13"/>
                </a:cxn>
              </a:cxnLst>
              <a:rect l="0" t="0" r="r" b="b"/>
              <a:pathLst>
                <a:path w="21" h="17">
                  <a:moveTo>
                    <a:pt x="3" y="15"/>
                  </a:moveTo>
                  <a:cubicBezTo>
                    <a:pt x="3" y="15"/>
                    <a:pt x="3" y="14"/>
                    <a:pt x="3" y="14"/>
                  </a:cubicBezTo>
                  <a:cubicBezTo>
                    <a:pt x="2" y="12"/>
                    <a:pt x="0" y="3"/>
                    <a:pt x="3" y="2"/>
                  </a:cubicBezTo>
                  <a:cubicBezTo>
                    <a:pt x="7" y="1"/>
                    <a:pt x="20" y="0"/>
                    <a:pt x="20" y="0"/>
                  </a:cubicBezTo>
                  <a:cubicBezTo>
                    <a:pt x="21" y="13"/>
                    <a:pt x="21" y="13"/>
                    <a:pt x="21" y="13"/>
                  </a:cubicBezTo>
                  <a:cubicBezTo>
                    <a:pt x="13" y="17"/>
                    <a:pt x="13" y="17"/>
                    <a:pt x="13" y="17"/>
                  </a:cubicBezTo>
                  <a:lnTo>
                    <a:pt x="3" y="15"/>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7" name="Freeform 91"/>
            <p:cNvSpPr>
              <a:spLocks/>
            </p:cNvSpPr>
            <p:nvPr userDrawn="1"/>
          </p:nvSpPr>
          <p:spPr bwMode="auto">
            <a:xfrm>
              <a:off x="10183813" y="3271838"/>
              <a:ext cx="446087" cy="411163"/>
            </a:xfrm>
            <a:custGeom>
              <a:avLst/>
              <a:gdLst>
                <a:gd name="T0" fmla="*/ 107 w 178"/>
                <a:gd name="T1" fmla="*/ 21 h 164"/>
                <a:gd name="T2" fmla="*/ 59 w 178"/>
                <a:gd name="T3" fmla="*/ 7 h 164"/>
                <a:gd name="T4" fmla="*/ 0 w 178"/>
                <a:gd name="T5" fmla="*/ 21 h 164"/>
                <a:gd name="T6" fmla="*/ 18 w 178"/>
                <a:gd name="T7" fmla="*/ 164 h 164"/>
                <a:gd name="T8" fmla="*/ 84 w 178"/>
                <a:gd name="T9" fmla="*/ 164 h 164"/>
                <a:gd name="T10" fmla="*/ 98 w 178"/>
                <a:gd name="T11" fmla="*/ 84 h 164"/>
                <a:gd name="T12" fmla="*/ 134 w 178"/>
                <a:gd name="T13" fmla="*/ 99 h 164"/>
                <a:gd name="T14" fmla="*/ 178 w 178"/>
                <a:gd name="T15" fmla="*/ 31 h 164"/>
                <a:gd name="T16" fmla="*/ 167 w 178"/>
                <a:gd name="T17" fmla="*/ 24 h 164"/>
                <a:gd name="T18" fmla="*/ 136 w 178"/>
                <a:gd name="T19" fmla="*/ 69 h 164"/>
                <a:gd name="T20" fmla="*/ 107 w 178"/>
                <a:gd name="T21" fmla="*/ 2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64">
                  <a:moveTo>
                    <a:pt x="107" y="21"/>
                  </a:moveTo>
                  <a:cubicBezTo>
                    <a:pt x="97" y="16"/>
                    <a:pt x="67" y="24"/>
                    <a:pt x="59" y="7"/>
                  </a:cubicBezTo>
                  <a:cubicBezTo>
                    <a:pt x="55" y="0"/>
                    <a:pt x="0" y="21"/>
                    <a:pt x="0" y="21"/>
                  </a:cubicBezTo>
                  <a:cubicBezTo>
                    <a:pt x="0" y="21"/>
                    <a:pt x="5" y="111"/>
                    <a:pt x="18" y="164"/>
                  </a:cubicBezTo>
                  <a:cubicBezTo>
                    <a:pt x="84" y="164"/>
                    <a:pt x="84" y="164"/>
                    <a:pt x="84" y="164"/>
                  </a:cubicBezTo>
                  <a:cubicBezTo>
                    <a:pt x="84" y="164"/>
                    <a:pt x="82" y="103"/>
                    <a:pt x="98" y="84"/>
                  </a:cubicBezTo>
                  <a:cubicBezTo>
                    <a:pt x="98" y="84"/>
                    <a:pt x="117" y="104"/>
                    <a:pt x="134" y="99"/>
                  </a:cubicBezTo>
                  <a:cubicBezTo>
                    <a:pt x="154" y="94"/>
                    <a:pt x="178" y="31"/>
                    <a:pt x="178" y="31"/>
                  </a:cubicBezTo>
                  <a:cubicBezTo>
                    <a:pt x="167" y="24"/>
                    <a:pt x="167" y="24"/>
                    <a:pt x="167" y="24"/>
                  </a:cubicBezTo>
                  <a:cubicBezTo>
                    <a:pt x="136" y="69"/>
                    <a:pt x="136" y="69"/>
                    <a:pt x="136" y="69"/>
                  </a:cubicBezTo>
                  <a:cubicBezTo>
                    <a:pt x="136" y="69"/>
                    <a:pt x="125" y="29"/>
                    <a:pt x="107"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8" name="Freeform 92"/>
            <p:cNvSpPr>
              <a:spLocks/>
            </p:cNvSpPr>
            <p:nvPr userDrawn="1"/>
          </p:nvSpPr>
          <p:spPr bwMode="auto">
            <a:xfrm>
              <a:off x="10175875" y="3638551"/>
              <a:ext cx="355600" cy="901700"/>
            </a:xfrm>
            <a:custGeom>
              <a:avLst/>
              <a:gdLst>
                <a:gd name="T0" fmla="*/ 87 w 142"/>
                <a:gd name="T1" fmla="*/ 7 h 360"/>
                <a:gd name="T2" fmla="*/ 136 w 142"/>
                <a:gd name="T3" fmla="*/ 125 h 360"/>
                <a:gd name="T4" fmla="*/ 136 w 142"/>
                <a:gd name="T5" fmla="*/ 172 h 360"/>
                <a:gd name="T6" fmla="*/ 142 w 142"/>
                <a:gd name="T7" fmla="*/ 200 h 360"/>
                <a:gd name="T8" fmla="*/ 119 w 142"/>
                <a:gd name="T9" fmla="*/ 200 h 360"/>
                <a:gd name="T10" fmla="*/ 117 w 142"/>
                <a:gd name="T11" fmla="*/ 174 h 360"/>
                <a:gd name="T12" fmla="*/ 107 w 142"/>
                <a:gd name="T13" fmla="*/ 102 h 360"/>
                <a:gd name="T14" fmla="*/ 88 w 142"/>
                <a:gd name="T15" fmla="*/ 80 h 360"/>
                <a:gd name="T16" fmla="*/ 65 w 142"/>
                <a:gd name="T17" fmla="*/ 79 h 360"/>
                <a:gd name="T18" fmla="*/ 86 w 142"/>
                <a:gd name="T19" fmla="*/ 331 h 360"/>
                <a:gd name="T20" fmla="*/ 80 w 142"/>
                <a:gd name="T21" fmla="*/ 360 h 360"/>
                <a:gd name="T22" fmla="*/ 52 w 142"/>
                <a:gd name="T23" fmla="*/ 360 h 360"/>
                <a:gd name="T24" fmla="*/ 61 w 142"/>
                <a:gd name="T25" fmla="*/ 334 h 360"/>
                <a:gd name="T26" fmla="*/ 21 w 142"/>
                <a:gd name="T27" fmla="*/ 18 h 360"/>
                <a:gd name="T28" fmla="*/ 87 w 142"/>
                <a:gd name="T29" fmla="*/ 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360">
                  <a:moveTo>
                    <a:pt x="87" y="7"/>
                  </a:moveTo>
                  <a:cubicBezTo>
                    <a:pt x="87" y="7"/>
                    <a:pt x="137" y="22"/>
                    <a:pt x="136" y="125"/>
                  </a:cubicBezTo>
                  <a:cubicBezTo>
                    <a:pt x="135" y="145"/>
                    <a:pt x="136" y="172"/>
                    <a:pt x="136" y="172"/>
                  </a:cubicBezTo>
                  <a:cubicBezTo>
                    <a:pt x="142" y="200"/>
                    <a:pt x="142" y="200"/>
                    <a:pt x="142" y="200"/>
                  </a:cubicBezTo>
                  <a:cubicBezTo>
                    <a:pt x="119" y="200"/>
                    <a:pt x="119" y="200"/>
                    <a:pt x="119" y="200"/>
                  </a:cubicBezTo>
                  <a:cubicBezTo>
                    <a:pt x="117" y="174"/>
                    <a:pt x="117" y="174"/>
                    <a:pt x="117" y="174"/>
                  </a:cubicBezTo>
                  <a:cubicBezTo>
                    <a:pt x="117" y="174"/>
                    <a:pt x="110" y="146"/>
                    <a:pt x="107" y="102"/>
                  </a:cubicBezTo>
                  <a:cubicBezTo>
                    <a:pt x="106" y="73"/>
                    <a:pt x="99" y="77"/>
                    <a:pt x="88" y="80"/>
                  </a:cubicBezTo>
                  <a:cubicBezTo>
                    <a:pt x="80" y="82"/>
                    <a:pt x="68" y="79"/>
                    <a:pt x="65" y="79"/>
                  </a:cubicBezTo>
                  <a:cubicBezTo>
                    <a:pt x="49" y="79"/>
                    <a:pt x="86" y="331"/>
                    <a:pt x="86" y="331"/>
                  </a:cubicBezTo>
                  <a:cubicBezTo>
                    <a:pt x="80" y="360"/>
                    <a:pt x="80" y="360"/>
                    <a:pt x="80" y="360"/>
                  </a:cubicBezTo>
                  <a:cubicBezTo>
                    <a:pt x="52" y="360"/>
                    <a:pt x="52" y="360"/>
                    <a:pt x="52" y="360"/>
                  </a:cubicBezTo>
                  <a:cubicBezTo>
                    <a:pt x="61" y="334"/>
                    <a:pt x="61" y="334"/>
                    <a:pt x="61" y="334"/>
                  </a:cubicBezTo>
                  <a:cubicBezTo>
                    <a:pt x="61" y="334"/>
                    <a:pt x="0" y="144"/>
                    <a:pt x="21" y="18"/>
                  </a:cubicBezTo>
                  <a:cubicBezTo>
                    <a:pt x="21" y="18"/>
                    <a:pt x="73" y="0"/>
                    <a:pt x="87" y="7"/>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9" name="Freeform 93"/>
            <p:cNvSpPr>
              <a:spLocks/>
            </p:cNvSpPr>
            <p:nvPr userDrawn="1"/>
          </p:nvSpPr>
          <p:spPr bwMode="auto">
            <a:xfrm>
              <a:off x="9844088" y="3236913"/>
              <a:ext cx="479425" cy="285750"/>
            </a:xfrm>
            <a:custGeom>
              <a:avLst/>
              <a:gdLst>
                <a:gd name="T0" fmla="*/ 192 w 192"/>
                <a:gd name="T1" fmla="*/ 19 h 114"/>
                <a:gd name="T2" fmla="*/ 160 w 192"/>
                <a:gd name="T3" fmla="*/ 10 h 114"/>
                <a:gd name="T4" fmla="*/ 67 w 192"/>
                <a:gd name="T5" fmla="*/ 83 h 114"/>
                <a:gd name="T6" fmla="*/ 8 w 192"/>
                <a:gd name="T7" fmla="*/ 42 h 114"/>
                <a:gd name="T8" fmla="*/ 0 w 192"/>
                <a:gd name="T9" fmla="*/ 58 h 114"/>
                <a:gd name="T10" fmla="*/ 72 w 192"/>
                <a:gd name="T11" fmla="*/ 113 h 114"/>
                <a:gd name="T12" fmla="*/ 152 w 192"/>
                <a:gd name="T13" fmla="*/ 61 h 114"/>
                <a:gd name="T14" fmla="*/ 192 w 192"/>
                <a:gd name="T15" fmla="*/ 19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14">
                  <a:moveTo>
                    <a:pt x="192" y="19"/>
                  </a:moveTo>
                  <a:cubicBezTo>
                    <a:pt x="192" y="19"/>
                    <a:pt x="183" y="21"/>
                    <a:pt x="160" y="10"/>
                  </a:cubicBezTo>
                  <a:cubicBezTo>
                    <a:pt x="141" y="0"/>
                    <a:pt x="67" y="83"/>
                    <a:pt x="67" y="83"/>
                  </a:cubicBezTo>
                  <a:cubicBezTo>
                    <a:pt x="8" y="42"/>
                    <a:pt x="8" y="42"/>
                    <a:pt x="8" y="42"/>
                  </a:cubicBezTo>
                  <a:cubicBezTo>
                    <a:pt x="0" y="58"/>
                    <a:pt x="0" y="58"/>
                    <a:pt x="0" y="58"/>
                  </a:cubicBezTo>
                  <a:cubicBezTo>
                    <a:pt x="0" y="58"/>
                    <a:pt x="53" y="114"/>
                    <a:pt x="72" y="113"/>
                  </a:cubicBezTo>
                  <a:cubicBezTo>
                    <a:pt x="92" y="112"/>
                    <a:pt x="152" y="61"/>
                    <a:pt x="152" y="61"/>
                  </a:cubicBezTo>
                  <a:lnTo>
                    <a:pt x="19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50" name="Freeform 94"/>
            <p:cNvSpPr>
              <a:spLocks/>
            </p:cNvSpPr>
            <p:nvPr userDrawn="1"/>
          </p:nvSpPr>
          <p:spPr bwMode="auto">
            <a:xfrm>
              <a:off x="10309225" y="3271838"/>
              <a:ext cx="104775" cy="76200"/>
            </a:xfrm>
            <a:custGeom>
              <a:avLst/>
              <a:gdLst>
                <a:gd name="T0" fmla="*/ 0 w 42"/>
                <a:gd name="T1" fmla="*/ 7 h 30"/>
                <a:gd name="T2" fmla="*/ 10 w 42"/>
                <a:gd name="T3" fmla="*/ 0 h 30"/>
                <a:gd name="T4" fmla="*/ 37 w 42"/>
                <a:gd name="T5" fmla="*/ 12 h 30"/>
                <a:gd name="T6" fmla="*/ 42 w 42"/>
                <a:gd name="T7" fmla="*/ 19 h 30"/>
                <a:gd name="T8" fmla="*/ 0 w 42"/>
                <a:gd name="T9" fmla="*/ 8 h 30"/>
                <a:gd name="T10" fmla="*/ 0 w 42"/>
                <a:gd name="T11" fmla="*/ 7 h 30"/>
              </a:gdLst>
              <a:ahLst/>
              <a:cxnLst>
                <a:cxn ang="0">
                  <a:pos x="T0" y="T1"/>
                </a:cxn>
                <a:cxn ang="0">
                  <a:pos x="T2" y="T3"/>
                </a:cxn>
                <a:cxn ang="0">
                  <a:pos x="T4" y="T5"/>
                </a:cxn>
                <a:cxn ang="0">
                  <a:pos x="T6" y="T7"/>
                </a:cxn>
                <a:cxn ang="0">
                  <a:pos x="T8" y="T9"/>
                </a:cxn>
                <a:cxn ang="0">
                  <a:pos x="T10" y="T11"/>
                </a:cxn>
              </a:cxnLst>
              <a:rect l="0" t="0" r="r" b="b"/>
              <a:pathLst>
                <a:path w="42" h="30">
                  <a:moveTo>
                    <a:pt x="0" y="7"/>
                  </a:moveTo>
                  <a:cubicBezTo>
                    <a:pt x="10" y="0"/>
                    <a:pt x="10" y="0"/>
                    <a:pt x="10" y="0"/>
                  </a:cubicBezTo>
                  <a:cubicBezTo>
                    <a:pt x="37" y="12"/>
                    <a:pt x="37" y="12"/>
                    <a:pt x="37" y="12"/>
                  </a:cubicBezTo>
                  <a:cubicBezTo>
                    <a:pt x="42" y="19"/>
                    <a:pt x="42" y="19"/>
                    <a:pt x="42" y="19"/>
                  </a:cubicBezTo>
                  <a:cubicBezTo>
                    <a:pt x="42" y="19"/>
                    <a:pt x="25" y="30"/>
                    <a:pt x="0" y="8"/>
                  </a:cubicBezTo>
                  <a:lnTo>
                    <a:pt x="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51" name="Freeform 95"/>
            <p:cNvSpPr>
              <a:spLocks/>
            </p:cNvSpPr>
            <p:nvPr userDrawn="1"/>
          </p:nvSpPr>
          <p:spPr bwMode="auto">
            <a:xfrm>
              <a:off x="10223500" y="3635376"/>
              <a:ext cx="184150" cy="90488"/>
            </a:xfrm>
            <a:custGeom>
              <a:avLst/>
              <a:gdLst>
                <a:gd name="T0" fmla="*/ 0 w 116"/>
                <a:gd name="T1" fmla="*/ 57 h 57"/>
                <a:gd name="T2" fmla="*/ 0 w 116"/>
                <a:gd name="T3" fmla="*/ 14 h 57"/>
                <a:gd name="T4" fmla="*/ 108 w 116"/>
                <a:gd name="T5" fmla="*/ 0 h 57"/>
                <a:gd name="T6" fmla="*/ 116 w 116"/>
                <a:gd name="T7" fmla="*/ 18 h 57"/>
                <a:gd name="T8" fmla="*/ 0 w 116"/>
                <a:gd name="T9" fmla="*/ 57 h 57"/>
              </a:gdLst>
              <a:ahLst/>
              <a:cxnLst>
                <a:cxn ang="0">
                  <a:pos x="T0" y="T1"/>
                </a:cxn>
                <a:cxn ang="0">
                  <a:pos x="T2" y="T3"/>
                </a:cxn>
                <a:cxn ang="0">
                  <a:pos x="T4" y="T5"/>
                </a:cxn>
                <a:cxn ang="0">
                  <a:pos x="T6" y="T7"/>
                </a:cxn>
                <a:cxn ang="0">
                  <a:pos x="T8" y="T9"/>
                </a:cxn>
              </a:cxnLst>
              <a:rect l="0" t="0" r="r" b="b"/>
              <a:pathLst>
                <a:path w="116" h="57">
                  <a:moveTo>
                    <a:pt x="0" y="57"/>
                  </a:moveTo>
                  <a:lnTo>
                    <a:pt x="0" y="14"/>
                  </a:lnTo>
                  <a:lnTo>
                    <a:pt x="108" y="0"/>
                  </a:lnTo>
                  <a:lnTo>
                    <a:pt x="116" y="18"/>
                  </a:lnTo>
                  <a:lnTo>
                    <a:pt x="0" y="5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544"/>
            </a:p>
          </p:txBody>
        </p:sp>
      </p:grpSp>
      <p:grpSp>
        <p:nvGrpSpPr>
          <p:cNvPr id="168" name="Group 167"/>
          <p:cNvGrpSpPr/>
          <p:nvPr userDrawn="1"/>
        </p:nvGrpSpPr>
        <p:grpSpPr>
          <a:xfrm flipH="1">
            <a:off x="8262445" y="4356101"/>
            <a:ext cx="1597618" cy="2203451"/>
            <a:chOff x="8118475" y="4275138"/>
            <a:chExt cx="1671638" cy="1873251"/>
          </a:xfrm>
        </p:grpSpPr>
        <p:sp>
          <p:nvSpPr>
            <p:cNvPr id="13" name="Freeform 6"/>
            <p:cNvSpPr>
              <a:spLocks/>
            </p:cNvSpPr>
            <p:nvPr userDrawn="1"/>
          </p:nvSpPr>
          <p:spPr bwMode="auto">
            <a:xfrm>
              <a:off x="8118475" y="5902326"/>
              <a:ext cx="1627187" cy="246063"/>
            </a:xfrm>
            <a:custGeom>
              <a:avLst/>
              <a:gdLst>
                <a:gd name="T0" fmla="*/ 454 w 650"/>
                <a:gd name="T1" fmla="*/ 0 h 98"/>
                <a:gd name="T2" fmla="*/ 454 w 650"/>
                <a:gd name="T3" fmla="*/ 0 h 98"/>
                <a:gd name="T4" fmla="*/ 279 w 650"/>
                <a:gd name="T5" fmla="*/ 27 h 98"/>
                <a:gd name="T6" fmla="*/ 150 w 650"/>
                <a:gd name="T7" fmla="*/ 5 h 98"/>
                <a:gd name="T8" fmla="*/ 0 w 650"/>
                <a:gd name="T9" fmla="*/ 49 h 98"/>
                <a:gd name="T10" fmla="*/ 150 w 650"/>
                <a:gd name="T11" fmla="*/ 93 h 98"/>
                <a:gd name="T12" fmla="*/ 279 w 650"/>
                <a:gd name="T13" fmla="*/ 71 h 98"/>
                <a:gd name="T14" fmla="*/ 454 w 650"/>
                <a:gd name="T15" fmla="*/ 98 h 98"/>
                <a:gd name="T16" fmla="*/ 650 w 650"/>
                <a:gd name="T17" fmla="*/ 49 h 98"/>
                <a:gd name="T18" fmla="*/ 650 w 650"/>
                <a:gd name="T19" fmla="*/ 49 h 98"/>
                <a:gd name="T20" fmla="*/ 454 w 65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98">
                  <a:moveTo>
                    <a:pt x="454" y="0"/>
                  </a:moveTo>
                  <a:cubicBezTo>
                    <a:pt x="454" y="0"/>
                    <a:pt x="454" y="0"/>
                    <a:pt x="454" y="0"/>
                  </a:cubicBezTo>
                  <a:cubicBezTo>
                    <a:pt x="378" y="0"/>
                    <a:pt x="312" y="11"/>
                    <a:pt x="279" y="27"/>
                  </a:cubicBezTo>
                  <a:cubicBezTo>
                    <a:pt x="253" y="14"/>
                    <a:pt x="205" y="5"/>
                    <a:pt x="150" y="5"/>
                  </a:cubicBezTo>
                  <a:cubicBezTo>
                    <a:pt x="67" y="5"/>
                    <a:pt x="0" y="25"/>
                    <a:pt x="0" y="49"/>
                  </a:cubicBezTo>
                  <a:cubicBezTo>
                    <a:pt x="0" y="73"/>
                    <a:pt x="67" y="93"/>
                    <a:pt x="150" y="93"/>
                  </a:cubicBezTo>
                  <a:cubicBezTo>
                    <a:pt x="205" y="93"/>
                    <a:pt x="253" y="84"/>
                    <a:pt x="279" y="71"/>
                  </a:cubicBezTo>
                  <a:cubicBezTo>
                    <a:pt x="312" y="87"/>
                    <a:pt x="378" y="98"/>
                    <a:pt x="454" y="98"/>
                  </a:cubicBezTo>
                  <a:cubicBezTo>
                    <a:pt x="562" y="98"/>
                    <a:pt x="650" y="76"/>
                    <a:pt x="650" y="49"/>
                  </a:cubicBezTo>
                  <a:cubicBezTo>
                    <a:pt x="650" y="49"/>
                    <a:pt x="650" y="49"/>
                    <a:pt x="650" y="49"/>
                  </a:cubicBezTo>
                  <a:cubicBezTo>
                    <a:pt x="650" y="22"/>
                    <a:pt x="562" y="0"/>
                    <a:pt x="454"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433" name="Freeform 53"/>
            <p:cNvSpPr>
              <a:spLocks/>
            </p:cNvSpPr>
            <p:nvPr userDrawn="1"/>
          </p:nvSpPr>
          <p:spPr bwMode="auto">
            <a:xfrm>
              <a:off x="9480550" y="4740276"/>
              <a:ext cx="69850" cy="65088"/>
            </a:xfrm>
            <a:custGeom>
              <a:avLst/>
              <a:gdLst>
                <a:gd name="T0" fmla="*/ 0 w 28"/>
                <a:gd name="T1" fmla="*/ 21 h 26"/>
                <a:gd name="T2" fmla="*/ 14 w 28"/>
                <a:gd name="T3" fmla="*/ 0 h 26"/>
                <a:gd name="T4" fmla="*/ 28 w 28"/>
                <a:gd name="T5" fmla="*/ 7 h 26"/>
                <a:gd name="T6" fmla="*/ 10 w 28"/>
                <a:gd name="T7" fmla="*/ 26 h 26"/>
                <a:gd name="T8" fmla="*/ 0 w 28"/>
                <a:gd name="T9" fmla="*/ 21 h 26"/>
              </a:gdLst>
              <a:ahLst/>
              <a:cxnLst>
                <a:cxn ang="0">
                  <a:pos x="T0" y="T1"/>
                </a:cxn>
                <a:cxn ang="0">
                  <a:pos x="T2" y="T3"/>
                </a:cxn>
                <a:cxn ang="0">
                  <a:pos x="T4" y="T5"/>
                </a:cxn>
                <a:cxn ang="0">
                  <a:pos x="T6" y="T7"/>
                </a:cxn>
                <a:cxn ang="0">
                  <a:pos x="T8" y="T9"/>
                </a:cxn>
              </a:cxnLst>
              <a:rect l="0" t="0" r="r" b="b"/>
              <a:pathLst>
                <a:path w="28" h="26">
                  <a:moveTo>
                    <a:pt x="0" y="21"/>
                  </a:moveTo>
                  <a:cubicBezTo>
                    <a:pt x="0" y="21"/>
                    <a:pt x="8" y="0"/>
                    <a:pt x="14" y="0"/>
                  </a:cubicBezTo>
                  <a:cubicBezTo>
                    <a:pt x="19" y="0"/>
                    <a:pt x="28" y="4"/>
                    <a:pt x="28" y="7"/>
                  </a:cubicBezTo>
                  <a:cubicBezTo>
                    <a:pt x="28" y="11"/>
                    <a:pt x="10" y="26"/>
                    <a:pt x="10" y="26"/>
                  </a:cubicBezTo>
                  <a:lnTo>
                    <a:pt x="0" y="21"/>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4" name="Freeform 54"/>
            <p:cNvSpPr>
              <a:spLocks/>
            </p:cNvSpPr>
            <p:nvPr userDrawn="1"/>
          </p:nvSpPr>
          <p:spPr bwMode="auto">
            <a:xfrm>
              <a:off x="9196388" y="4779963"/>
              <a:ext cx="319087" cy="376238"/>
            </a:xfrm>
            <a:custGeom>
              <a:avLst/>
              <a:gdLst>
                <a:gd name="T0" fmla="*/ 30 w 127"/>
                <a:gd name="T1" fmla="*/ 111 h 150"/>
                <a:gd name="T2" fmla="*/ 84 w 127"/>
                <a:gd name="T3" fmla="*/ 66 h 150"/>
                <a:gd name="T4" fmla="*/ 113 w 127"/>
                <a:gd name="T5" fmla="*/ 0 h 150"/>
                <a:gd name="T6" fmla="*/ 127 w 127"/>
                <a:gd name="T7" fmla="*/ 8 h 150"/>
                <a:gd name="T8" fmla="*/ 105 w 127"/>
                <a:gd name="T9" fmla="*/ 87 h 150"/>
                <a:gd name="T10" fmla="*/ 44 w 127"/>
                <a:gd name="T11" fmla="*/ 145 h 150"/>
                <a:gd name="T12" fmla="*/ 30 w 127"/>
                <a:gd name="T13" fmla="*/ 111 h 150"/>
              </a:gdLst>
              <a:ahLst/>
              <a:cxnLst>
                <a:cxn ang="0">
                  <a:pos x="T0" y="T1"/>
                </a:cxn>
                <a:cxn ang="0">
                  <a:pos x="T2" y="T3"/>
                </a:cxn>
                <a:cxn ang="0">
                  <a:pos x="T4" y="T5"/>
                </a:cxn>
                <a:cxn ang="0">
                  <a:pos x="T6" y="T7"/>
                </a:cxn>
                <a:cxn ang="0">
                  <a:pos x="T8" y="T9"/>
                </a:cxn>
                <a:cxn ang="0">
                  <a:pos x="T10" y="T11"/>
                </a:cxn>
                <a:cxn ang="0">
                  <a:pos x="T12" y="T13"/>
                </a:cxn>
              </a:cxnLst>
              <a:rect l="0" t="0" r="r" b="b"/>
              <a:pathLst>
                <a:path w="127" h="150">
                  <a:moveTo>
                    <a:pt x="30" y="111"/>
                  </a:moveTo>
                  <a:cubicBezTo>
                    <a:pt x="42" y="100"/>
                    <a:pt x="74" y="80"/>
                    <a:pt x="84" y="66"/>
                  </a:cubicBezTo>
                  <a:cubicBezTo>
                    <a:pt x="95" y="51"/>
                    <a:pt x="113" y="0"/>
                    <a:pt x="113" y="0"/>
                  </a:cubicBezTo>
                  <a:cubicBezTo>
                    <a:pt x="127" y="8"/>
                    <a:pt x="127" y="8"/>
                    <a:pt x="127" y="8"/>
                  </a:cubicBezTo>
                  <a:cubicBezTo>
                    <a:pt x="127" y="8"/>
                    <a:pt x="115" y="69"/>
                    <a:pt x="105" y="87"/>
                  </a:cubicBezTo>
                  <a:cubicBezTo>
                    <a:pt x="95" y="105"/>
                    <a:pt x="62" y="134"/>
                    <a:pt x="44" y="145"/>
                  </a:cubicBezTo>
                  <a:cubicBezTo>
                    <a:pt x="35" y="150"/>
                    <a:pt x="0" y="139"/>
                    <a:pt x="30" y="111"/>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5" name="Freeform 55"/>
            <p:cNvSpPr>
              <a:spLocks/>
            </p:cNvSpPr>
            <p:nvPr userDrawn="1"/>
          </p:nvSpPr>
          <p:spPr bwMode="auto">
            <a:xfrm>
              <a:off x="9047163" y="5021263"/>
              <a:ext cx="265112" cy="403225"/>
            </a:xfrm>
            <a:custGeom>
              <a:avLst/>
              <a:gdLst>
                <a:gd name="T0" fmla="*/ 22 w 106"/>
                <a:gd name="T1" fmla="*/ 36 h 161"/>
                <a:gd name="T2" fmla="*/ 28 w 106"/>
                <a:gd name="T3" fmla="*/ 5 h 161"/>
                <a:gd name="T4" fmla="*/ 47 w 106"/>
                <a:gd name="T5" fmla="*/ 1 h 161"/>
                <a:gd name="T6" fmla="*/ 79 w 106"/>
                <a:gd name="T7" fmla="*/ 11 h 161"/>
                <a:gd name="T8" fmla="*/ 84 w 106"/>
                <a:gd name="T9" fmla="*/ 5 h 161"/>
                <a:gd name="T10" fmla="*/ 106 w 106"/>
                <a:gd name="T11" fmla="*/ 47 h 161"/>
                <a:gd name="T12" fmla="*/ 99 w 106"/>
                <a:gd name="T13" fmla="*/ 145 h 161"/>
                <a:gd name="T14" fmla="*/ 29 w 106"/>
                <a:gd name="T15" fmla="*/ 161 h 161"/>
                <a:gd name="T16" fmla="*/ 22 w 106"/>
                <a:gd name="T17" fmla="*/ 3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61">
                  <a:moveTo>
                    <a:pt x="22" y="36"/>
                  </a:moveTo>
                  <a:cubicBezTo>
                    <a:pt x="22" y="36"/>
                    <a:pt x="21" y="8"/>
                    <a:pt x="28" y="5"/>
                  </a:cubicBezTo>
                  <a:cubicBezTo>
                    <a:pt x="32" y="3"/>
                    <a:pt x="43" y="0"/>
                    <a:pt x="47" y="1"/>
                  </a:cubicBezTo>
                  <a:cubicBezTo>
                    <a:pt x="58" y="3"/>
                    <a:pt x="72" y="10"/>
                    <a:pt x="79" y="11"/>
                  </a:cubicBezTo>
                  <a:cubicBezTo>
                    <a:pt x="84" y="11"/>
                    <a:pt x="84" y="5"/>
                    <a:pt x="84" y="5"/>
                  </a:cubicBezTo>
                  <a:cubicBezTo>
                    <a:pt x="106" y="47"/>
                    <a:pt x="106" y="47"/>
                    <a:pt x="106" y="47"/>
                  </a:cubicBezTo>
                  <a:cubicBezTo>
                    <a:pt x="97" y="64"/>
                    <a:pt x="91" y="100"/>
                    <a:pt x="99" y="145"/>
                  </a:cubicBezTo>
                  <a:cubicBezTo>
                    <a:pt x="29" y="161"/>
                    <a:pt x="29" y="161"/>
                    <a:pt x="29" y="161"/>
                  </a:cubicBezTo>
                  <a:cubicBezTo>
                    <a:pt x="29" y="161"/>
                    <a:pt x="0" y="107"/>
                    <a:pt x="22" y="3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6" name="Freeform 56"/>
            <p:cNvSpPr>
              <a:spLocks/>
            </p:cNvSpPr>
            <p:nvPr userDrawn="1"/>
          </p:nvSpPr>
          <p:spPr bwMode="auto">
            <a:xfrm>
              <a:off x="9117013" y="5373688"/>
              <a:ext cx="568325" cy="722313"/>
            </a:xfrm>
            <a:custGeom>
              <a:avLst/>
              <a:gdLst>
                <a:gd name="T0" fmla="*/ 1 w 227"/>
                <a:gd name="T1" fmla="*/ 20 h 288"/>
                <a:gd name="T2" fmla="*/ 60 w 227"/>
                <a:gd name="T3" fmla="*/ 145 h 288"/>
                <a:gd name="T4" fmla="*/ 0 w 227"/>
                <a:gd name="T5" fmla="*/ 261 h 288"/>
                <a:gd name="T6" fmla="*/ 64 w 227"/>
                <a:gd name="T7" fmla="*/ 278 h 288"/>
                <a:gd name="T8" fmla="*/ 28 w 227"/>
                <a:gd name="T9" fmla="*/ 249 h 288"/>
                <a:gd name="T10" fmla="*/ 103 w 227"/>
                <a:gd name="T11" fmla="*/ 146 h 288"/>
                <a:gd name="T12" fmla="*/ 65 w 227"/>
                <a:gd name="T13" fmla="*/ 61 h 288"/>
                <a:gd name="T14" fmla="*/ 143 w 227"/>
                <a:gd name="T15" fmla="*/ 116 h 288"/>
                <a:gd name="T16" fmla="*/ 160 w 227"/>
                <a:gd name="T17" fmla="*/ 262 h 288"/>
                <a:gd name="T18" fmla="*/ 227 w 227"/>
                <a:gd name="T19" fmla="*/ 262 h 288"/>
                <a:gd name="T20" fmla="*/ 177 w 227"/>
                <a:gd name="T21" fmla="*/ 244 h 288"/>
                <a:gd name="T22" fmla="*/ 177 w 227"/>
                <a:gd name="T23" fmla="*/ 107 h 288"/>
                <a:gd name="T24" fmla="*/ 71 w 227"/>
                <a:gd name="T25" fmla="*/ 4 h 288"/>
                <a:gd name="T26" fmla="*/ 1 w 227"/>
                <a:gd name="T27" fmla="*/ 2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288">
                  <a:moveTo>
                    <a:pt x="1" y="20"/>
                  </a:moveTo>
                  <a:cubicBezTo>
                    <a:pt x="60" y="145"/>
                    <a:pt x="60" y="145"/>
                    <a:pt x="60" y="145"/>
                  </a:cubicBezTo>
                  <a:cubicBezTo>
                    <a:pt x="0" y="261"/>
                    <a:pt x="0" y="261"/>
                    <a:pt x="0" y="261"/>
                  </a:cubicBezTo>
                  <a:cubicBezTo>
                    <a:pt x="0" y="261"/>
                    <a:pt x="33" y="288"/>
                    <a:pt x="64" y="278"/>
                  </a:cubicBezTo>
                  <a:cubicBezTo>
                    <a:pt x="64" y="278"/>
                    <a:pt x="60" y="262"/>
                    <a:pt x="28" y="249"/>
                  </a:cubicBezTo>
                  <a:cubicBezTo>
                    <a:pt x="28" y="249"/>
                    <a:pt x="100" y="165"/>
                    <a:pt x="103" y="146"/>
                  </a:cubicBezTo>
                  <a:cubicBezTo>
                    <a:pt x="107" y="127"/>
                    <a:pt x="65" y="61"/>
                    <a:pt x="65" y="61"/>
                  </a:cubicBezTo>
                  <a:cubicBezTo>
                    <a:pt x="143" y="116"/>
                    <a:pt x="143" y="116"/>
                    <a:pt x="143" y="116"/>
                  </a:cubicBezTo>
                  <a:cubicBezTo>
                    <a:pt x="160" y="262"/>
                    <a:pt x="160" y="262"/>
                    <a:pt x="160" y="262"/>
                  </a:cubicBezTo>
                  <a:cubicBezTo>
                    <a:pt x="160" y="262"/>
                    <a:pt x="204" y="278"/>
                    <a:pt x="227" y="262"/>
                  </a:cubicBezTo>
                  <a:cubicBezTo>
                    <a:pt x="227" y="262"/>
                    <a:pt x="207" y="251"/>
                    <a:pt x="177" y="244"/>
                  </a:cubicBezTo>
                  <a:cubicBezTo>
                    <a:pt x="177" y="244"/>
                    <a:pt x="182" y="160"/>
                    <a:pt x="177" y="107"/>
                  </a:cubicBezTo>
                  <a:cubicBezTo>
                    <a:pt x="175" y="82"/>
                    <a:pt x="89" y="35"/>
                    <a:pt x="71" y="4"/>
                  </a:cubicBezTo>
                  <a:cubicBezTo>
                    <a:pt x="71" y="4"/>
                    <a:pt x="45" y="0"/>
                    <a:pt x="1" y="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7" name="Freeform 57"/>
            <p:cNvSpPr>
              <a:spLocks/>
            </p:cNvSpPr>
            <p:nvPr userDrawn="1"/>
          </p:nvSpPr>
          <p:spPr bwMode="auto">
            <a:xfrm>
              <a:off x="9232900" y="5383213"/>
              <a:ext cx="49212" cy="30163"/>
            </a:xfrm>
            <a:custGeom>
              <a:avLst/>
              <a:gdLst>
                <a:gd name="T0" fmla="*/ 20 w 20"/>
                <a:gd name="T1" fmla="*/ 9 h 12"/>
                <a:gd name="T2" fmla="*/ 3 w 20"/>
                <a:gd name="T3" fmla="*/ 12 h 12"/>
                <a:gd name="T4" fmla="*/ 0 w 20"/>
                <a:gd name="T5" fmla="*/ 4 h 12"/>
                <a:gd name="T6" fmla="*/ 18 w 20"/>
                <a:gd name="T7" fmla="*/ 2 h 12"/>
                <a:gd name="T8" fmla="*/ 20 w 20"/>
                <a:gd name="T9" fmla="*/ 9 h 12"/>
              </a:gdLst>
              <a:ahLst/>
              <a:cxnLst>
                <a:cxn ang="0">
                  <a:pos x="T0" y="T1"/>
                </a:cxn>
                <a:cxn ang="0">
                  <a:pos x="T2" y="T3"/>
                </a:cxn>
                <a:cxn ang="0">
                  <a:pos x="T4" y="T5"/>
                </a:cxn>
                <a:cxn ang="0">
                  <a:pos x="T6" y="T7"/>
                </a:cxn>
                <a:cxn ang="0">
                  <a:pos x="T8" y="T9"/>
                </a:cxn>
              </a:cxnLst>
              <a:rect l="0" t="0" r="r" b="b"/>
              <a:pathLst>
                <a:path w="20" h="12">
                  <a:moveTo>
                    <a:pt x="20" y="9"/>
                  </a:moveTo>
                  <a:cubicBezTo>
                    <a:pt x="20" y="9"/>
                    <a:pt x="13" y="8"/>
                    <a:pt x="3" y="12"/>
                  </a:cubicBezTo>
                  <a:cubicBezTo>
                    <a:pt x="0" y="4"/>
                    <a:pt x="0" y="4"/>
                    <a:pt x="0" y="4"/>
                  </a:cubicBezTo>
                  <a:cubicBezTo>
                    <a:pt x="0" y="4"/>
                    <a:pt x="10" y="0"/>
                    <a:pt x="18" y="2"/>
                  </a:cubicBezTo>
                  <a:lnTo>
                    <a:pt x="20" y="9"/>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8" name="Freeform 58"/>
            <p:cNvSpPr>
              <a:spLocks/>
            </p:cNvSpPr>
            <p:nvPr userDrawn="1"/>
          </p:nvSpPr>
          <p:spPr bwMode="auto">
            <a:xfrm>
              <a:off x="9107488" y="4827588"/>
              <a:ext cx="179387" cy="223838"/>
            </a:xfrm>
            <a:custGeom>
              <a:avLst/>
              <a:gdLst>
                <a:gd name="T0" fmla="*/ 27 w 72"/>
                <a:gd name="T1" fmla="*/ 86 h 89"/>
                <a:gd name="T2" fmla="*/ 43 w 72"/>
                <a:gd name="T3" fmla="*/ 89 h 89"/>
                <a:gd name="T4" fmla="*/ 60 w 72"/>
                <a:gd name="T5" fmla="*/ 88 h 89"/>
                <a:gd name="T6" fmla="*/ 56 w 72"/>
                <a:gd name="T7" fmla="*/ 65 h 89"/>
                <a:gd name="T8" fmla="*/ 64 w 72"/>
                <a:gd name="T9" fmla="*/ 62 h 89"/>
                <a:gd name="T10" fmla="*/ 59 w 72"/>
                <a:gd name="T11" fmla="*/ 32 h 89"/>
                <a:gd name="T12" fmla="*/ 21 w 72"/>
                <a:gd name="T13" fmla="*/ 7 h 89"/>
                <a:gd name="T14" fmla="*/ 7 w 72"/>
                <a:gd name="T15" fmla="*/ 44 h 89"/>
                <a:gd name="T16" fmla="*/ 21 w 72"/>
                <a:gd name="T17" fmla="*/ 64 h 89"/>
                <a:gd name="T18" fmla="*/ 27 w 72"/>
                <a:gd name="T19"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9">
                  <a:moveTo>
                    <a:pt x="27" y="86"/>
                  </a:moveTo>
                  <a:cubicBezTo>
                    <a:pt x="43" y="89"/>
                    <a:pt x="43" y="89"/>
                    <a:pt x="43" y="89"/>
                  </a:cubicBezTo>
                  <a:cubicBezTo>
                    <a:pt x="60" y="88"/>
                    <a:pt x="60" y="88"/>
                    <a:pt x="60" y="88"/>
                  </a:cubicBezTo>
                  <a:cubicBezTo>
                    <a:pt x="60" y="88"/>
                    <a:pt x="49" y="71"/>
                    <a:pt x="56" y="65"/>
                  </a:cubicBezTo>
                  <a:cubicBezTo>
                    <a:pt x="58" y="64"/>
                    <a:pt x="60" y="65"/>
                    <a:pt x="64" y="62"/>
                  </a:cubicBezTo>
                  <a:cubicBezTo>
                    <a:pt x="64" y="62"/>
                    <a:pt x="72" y="57"/>
                    <a:pt x="59" y="32"/>
                  </a:cubicBezTo>
                  <a:cubicBezTo>
                    <a:pt x="49" y="13"/>
                    <a:pt x="42" y="0"/>
                    <a:pt x="21" y="7"/>
                  </a:cubicBezTo>
                  <a:cubicBezTo>
                    <a:pt x="5" y="12"/>
                    <a:pt x="0" y="26"/>
                    <a:pt x="7" y="44"/>
                  </a:cubicBezTo>
                  <a:cubicBezTo>
                    <a:pt x="11" y="57"/>
                    <a:pt x="17" y="61"/>
                    <a:pt x="21" y="64"/>
                  </a:cubicBezTo>
                  <a:cubicBezTo>
                    <a:pt x="28" y="68"/>
                    <a:pt x="31" y="69"/>
                    <a:pt x="27" y="86"/>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39" name="Freeform 59"/>
            <p:cNvSpPr>
              <a:spLocks/>
            </p:cNvSpPr>
            <p:nvPr userDrawn="1"/>
          </p:nvSpPr>
          <p:spPr bwMode="auto">
            <a:xfrm>
              <a:off x="9159875" y="4970463"/>
              <a:ext cx="96837" cy="95250"/>
            </a:xfrm>
            <a:custGeom>
              <a:avLst/>
              <a:gdLst>
                <a:gd name="T0" fmla="*/ 8 w 39"/>
                <a:gd name="T1" fmla="*/ 27 h 38"/>
                <a:gd name="T2" fmla="*/ 30 w 39"/>
                <a:gd name="T3" fmla="*/ 38 h 38"/>
                <a:gd name="T4" fmla="*/ 39 w 39"/>
                <a:gd name="T5" fmla="*/ 31 h 38"/>
                <a:gd name="T6" fmla="*/ 35 w 39"/>
                <a:gd name="T7" fmla="*/ 8 h 38"/>
                <a:gd name="T8" fmla="*/ 3 w 39"/>
                <a:gd name="T9" fmla="*/ 0 h 38"/>
                <a:gd name="T10" fmla="*/ 0 w 39"/>
                <a:gd name="T11" fmla="*/ 7 h 38"/>
                <a:gd name="T12" fmla="*/ 8 w 39"/>
                <a:gd name="T13" fmla="*/ 27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8" y="27"/>
                  </a:moveTo>
                  <a:cubicBezTo>
                    <a:pt x="30" y="38"/>
                    <a:pt x="30" y="38"/>
                    <a:pt x="30" y="38"/>
                  </a:cubicBezTo>
                  <a:cubicBezTo>
                    <a:pt x="39" y="31"/>
                    <a:pt x="39" y="31"/>
                    <a:pt x="39" y="31"/>
                  </a:cubicBezTo>
                  <a:cubicBezTo>
                    <a:pt x="39" y="31"/>
                    <a:pt x="33" y="17"/>
                    <a:pt x="35" y="8"/>
                  </a:cubicBezTo>
                  <a:cubicBezTo>
                    <a:pt x="25" y="11"/>
                    <a:pt x="11" y="10"/>
                    <a:pt x="3" y="0"/>
                  </a:cubicBezTo>
                  <a:cubicBezTo>
                    <a:pt x="3" y="0"/>
                    <a:pt x="2" y="4"/>
                    <a:pt x="0" y="7"/>
                  </a:cubicBezTo>
                  <a:cubicBezTo>
                    <a:pt x="7" y="11"/>
                    <a:pt x="9" y="15"/>
                    <a:pt x="8" y="27"/>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587" name="Freeform 60"/>
            <p:cNvSpPr>
              <a:spLocks/>
            </p:cNvSpPr>
            <p:nvPr userDrawn="1"/>
          </p:nvSpPr>
          <p:spPr bwMode="auto">
            <a:xfrm>
              <a:off x="9090025" y="4813301"/>
              <a:ext cx="161925" cy="179388"/>
            </a:xfrm>
            <a:custGeom>
              <a:avLst/>
              <a:gdLst>
                <a:gd name="T0" fmla="*/ 35 w 65"/>
                <a:gd name="T1" fmla="*/ 25 h 72"/>
                <a:gd name="T2" fmla="*/ 31 w 65"/>
                <a:gd name="T3" fmla="*/ 39 h 72"/>
                <a:gd name="T4" fmla="*/ 28 w 65"/>
                <a:gd name="T5" fmla="*/ 52 h 72"/>
                <a:gd name="T6" fmla="*/ 20 w 65"/>
                <a:gd name="T7" fmla="*/ 51 h 72"/>
                <a:gd name="T8" fmla="*/ 31 w 65"/>
                <a:gd name="T9" fmla="*/ 63 h 72"/>
                <a:gd name="T10" fmla="*/ 31 w 65"/>
                <a:gd name="T11" fmla="*/ 72 h 72"/>
                <a:gd name="T12" fmla="*/ 26 w 65"/>
                <a:gd name="T13" fmla="*/ 69 h 72"/>
                <a:gd name="T14" fmla="*/ 5 w 65"/>
                <a:gd name="T15" fmla="*/ 30 h 72"/>
                <a:gd name="T16" fmla="*/ 15 w 65"/>
                <a:gd name="T17" fmla="*/ 21 h 72"/>
                <a:gd name="T18" fmla="*/ 33 w 65"/>
                <a:gd name="T19" fmla="*/ 5 h 72"/>
                <a:gd name="T20" fmla="*/ 61 w 65"/>
                <a:gd name="T21" fmla="*/ 16 h 72"/>
                <a:gd name="T22" fmla="*/ 64 w 65"/>
                <a:gd name="T23" fmla="*/ 33 h 72"/>
                <a:gd name="T24" fmla="*/ 56 w 65"/>
                <a:gd name="T25" fmla="*/ 27 h 72"/>
                <a:gd name="T26" fmla="*/ 35 w 65"/>
                <a:gd name="T27"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72">
                  <a:moveTo>
                    <a:pt x="35" y="25"/>
                  </a:moveTo>
                  <a:cubicBezTo>
                    <a:pt x="34" y="24"/>
                    <a:pt x="36" y="35"/>
                    <a:pt x="31" y="39"/>
                  </a:cubicBezTo>
                  <a:cubicBezTo>
                    <a:pt x="26" y="43"/>
                    <a:pt x="28" y="52"/>
                    <a:pt x="28" y="52"/>
                  </a:cubicBezTo>
                  <a:cubicBezTo>
                    <a:pt x="28" y="52"/>
                    <a:pt x="24" y="45"/>
                    <a:pt x="20" y="51"/>
                  </a:cubicBezTo>
                  <a:cubicBezTo>
                    <a:pt x="17" y="56"/>
                    <a:pt x="27" y="70"/>
                    <a:pt x="31" y="63"/>
                  </a:cubicBezTo>
                  <a:cubicBezTo>
                    <a:pt x="31" y="72"/>
                    <a:pt x="31" y="72"/>
                    <a:pt x="31" y="72"/>
                  </a:cubicBezTo>
                  <a:cubicBezTo>
                    <a:pt x="31" y="72"/>
                    <a:pt x="28" y="72"/>
                    <a:pt x="26" y="69"/>
                  </a:cubicBezTo>
                  <a:cubicBezTo>
                    <a:pt x="23" y="67"/>
                    <a:pt x="0" y="43"/>
                    <a:pt x="5" y="30"/>
                  </a:cubicBezTo>
                  <a:cubicBezTo>
                    <a:pt x="9" y="22"/>
                    <a:pt x="15" y="21"/>
                    <a:pt x="15" y="21"/>
                  </a:cubicBezTo>
                  <a:cubicBezTo>
                    <a:pt x="15" y="21"/>
                    <a:pt x="22" y="10"/>
                    <a:pt x="33" y="5"/>
                  </a:cubicBezTo>
                  <a:cubicBezTo>
                    <a:pt x="44" y="0"/>
                    <a:pt x="58" y="11"/>
                    <a:pt x="61" y="16"/>
                  </a:cubicBezTo>
                  <a:cubicBezTo>
                    <a:pt x="65" y="21"/>
                    <a:pt x="64" y="33"/>
                    <a:pt x="64" y="33"/>
                  </a:cubicBezTo>
                  <a:cubicBezTo>
                    <a:pt x="64" y="33"/>
                    <a:pt x="62" y="28"/>
                    <a:pt x="56" y="27"/>
                  </a:cubicBezTo>
                  <a:cubicBezTo>
                    <a:pt x="50" y="27"/>
                    <a:pt x="40" y="29"/>
                    <a:pt x="35" y="2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597" name="Freeform 61"/>
            <p:cNvSpPr>
              <a:spLocks/>
            </p:cNvSpPr>
            <p:nvPr userDrawn="1"/>
          </p:nvSpPr>
          <p:spPr bwMode="auto">
            <a:xfrm>
              <a:off x="9217025" y="5051426"/>
              <a:ext cx="52387" cy="282575"/>
            </a:xfrm>
            <a:custGeom>
              <a:avLst/>
              <a:gdLst>
                <a:gd name="T0" fmla="*/ 4 w 21"/>
                <a:gd name="T1" fmla="*/ 4 h 113"/>
                <a:gd name="T2" fmla="*/ 10 w 21"/>
                <a:gd name="T3" fmla="*/ 16 h 113"/>
                <a:gd name="T4" fmla="*/ 7 w 21"/>
                <a:gd name="T5" fmla="*/ 104 h 113"/>
                <a:gd name="T6" fmla="*/ 16 w 21"/>
                <a:gd name="T7" fmla="*/ 113 h 113"/>
                <a:gd name="T8" fmla="*/ 21 w 21"/>
                <a:gd name="T9" fmla="*/ 101 h 113"/>
                <a:gd name="T10" fmla="*/ 14 w 21"/>
                <a:gd name="T11" fmla="*/ 15 h 113"/>
                <a:gd name="T12" fmla="*/ 18 w 21"/>
                <a:gd name="T13" fmla="*/ 5 h 113"/>
                <a:gd name="T14" fmla="*/ 12 w 21"/>
                <a:gd name="T15" fmla="*/ 0 h 113"/>
                <a:gd name="T16" fmla="*/ 4 w 21"/>
                <a:gd name="T17" fmla="*/ 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3">
                  <a:moveTo>
                    <a:pt x="4" y="4"/>
                  </a:moveTo>
                  <a:cubicBezTo>
                    <a:pt x="10" y="16"/>
                    <a:pt x="10" y="16"/>
                    <a:pt x="10" y="16"/>
                  </a:cubicBezTo>
                  <a:cubicBezTo>
                    <a:pt x="10" y="16"/>
                    <a:pt x="0" y="81"/>
                    <a:pt x="7" y="104"/>
                  </a:cubicBezTo>
                  <a:cubicBezTo>
                    <a:pt x="16" y="113"/>
                    <a:pt x="16" y="113"/>
                    <a:pt x="16" y="113"/>
                  </a:cubicBezTo>
                  <a:cubicBezTo>
                    <a:pt x="21" y="101"/>
                    <a:pt x="21" y="101"/>
                    <a:pt x="21" y="101"/>
                  </a:cubicBezTo>
                  <a:cubicBezTo>
                    <a:pt x="13" y="86"/>
                    <a:pt x="14" y="15"/>
                    <a:pt x="14" y="15"/>
                  </a:cubicBezTo>
                  <a:cubicBezTo>
                    <a:pt x="18" y="5"/>
                    <a:pt x="18" y="5"/>
                    <a:pt x="18" y="5"/>
                  </a:cubicBezTo>
                  <a:cubicBezTo>
                    <a:pt x="12" y="0"/>
                    <a:pt x="12" y="0"/>
                    <a:pt x="12" y="0"/>
                  </a:cubicBezTo>
                  <a:lnTo>
                    <a:pt x="4" y="4"/>
                  </a:lnTo>
                  <a:close/>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598" name="Freeform 62"/>
            <p:cNvSpPr>
              <a:spLocks/>
            </p:cNvSpPr>
            <p:nvPr userDrawn="1"/>
          </p:nvSpPr>
          <p:spPr bwMode="auto">
            <a:xfrm>
              <a:off x="9164638" y="5008563"/>
              <a:ext cx="117475" cy="79375"/>
            </a:xfrm>
            <a:custGeom>
              <a:avLst/>
              <a:gdLst>
                <a:gd name="T0" fmla="*/ 58 w 74"/>
                <a:gd name="T1" fmla="*/ 16 h 50"/>
                <a:gd name="T2" fmla="*/ 50 w 74"/>
                <a:gd name="T3" fmla="*/ 22 h 50"/>
                <a:gd name="T4" fmla="*/ 9 w 74"/>
                <a:gd name="T5" fmla="*/ 0 h 50"/>
                <a:gd name="T6" fmla="*/ 0 w 74"/>
                <a:gd name="T7" fmla="*/ 9 h 50"/>
                <a:gd name="T8" fmla="*/ 27 w 74"/>
                <a:gd name="T9" fmla="*/ 50 h 50"/>
                <a:gd name="T10" fmla="*/ 52 w 74"/>
                <a:gd name="T11" fmla="*/ 30 h 50"/>
                <a:gd name="T12" fmla="*/ 66 w 74"/>
                <a:gd name="T13" fmla="*/ 46 h 50"/>
                <a:gd name="T14" fmla="*/ 74 w 74"/>
                <a:gd name="T15" fmla="*/ 30 h 50"/>
                <a:gd name="T16" fmla="*/ 58 w 74"/>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50">
                  <a:moveTo>
                    <a:pt x="58" y="16"/>
                  </a:moveTo>
                  <a:lnTo>
                    <a:pt x="50" y="22"/>
                  </a:lnTo>
                  <a:lnTo>
                    <a:pt x="9" y="0"/>
                  </a:lnTo>
                  <a:lnTo>
                    <a:pt x="0" y="9"/>
                  </a:lnTo>
                  <a:lnTo>
                    <a:pt x="27" y="50"/>
                  </a:lnTo>
                  <a:lnTo>
                    <a:pt x="52" y="30"/>
                  </a:lnTo>
                  <a:lnTo>
                    <a:pt x="66" y="46"/>
                  </a:lnTo>
                  <a:lnTo>
                    <a:pt x="74" y="30"/>
                  </a:lnTo>
                  <a:lnTo>
                    <a:pt x="58" y="1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599" name="Freeform 63"/>
            <p:cNvSpPr>
              <a:spLocks/>
            </p:cNvSpPr>
            <p:nvPr userDrawn="1"/>
          </p:nvSpPr>
          <p:spPr bwMode="auto">
            <a:xfrm>
              <a:off x="8986838" y="4429126"/>
              <a:ext cx="706437" cy="1498600"/>
            </a:xfrm>
            <a:custGeom>
              <a:avLst/>
              <a:gdLst>
                <a:gd name="T0" fmla="*/ 282 w 282"/>
                <a:gd name="T1" fmla="*/ 0 h 598"/>
                <a:gd name="T2" fmla="*/ 73 w 282"/>
                <a:gd name="T3" fmla="*/ 358 h 598"/>
                <a:gd name="T4" fmla="*/ 15 w 282"/>
                <a:gd name="T5" fmla="*/ 598 h 598"/>
              </a:gdLst>
              <a:ahLst/>
              <a:cxnLst>
                <a:cxn ang="0">
                  <a:pos x="T0" y="T1"/>
                </a:cxn>
                <a:cxn ang="0">
                  <a:pos x="T2" y="T3"/>
                </a:cxn>
                <a:cxn ang="0">
                  <a:pos x="T4" y="T5"/>
                </a:cxn>
              </a:cxnLst>
              <a:rect l="0" t="0" r="r" b="b"/>
              <a:pathLst>
                <a:path w="282" h="598">
                  <a:moveTo>
                    <a:pt x="282" y="0"/>
                  </a:moveTo>
                  <a:cubicBezTo>
                    <a:pt x="282" y="0"/>
                    <a:pt x="174" y="198"/>
                    <a:pt x="73" y="358"/>
                  </a:cubicBezTo>
                  <a:cubicBezTo>
                    <a:pt x="26" y="433"/>
                    <a:pt x="0" y="515"/>
                    <a:pt x="15" y="598"/>
                  </a:cubicBezTo>
                </a:path>
              </a:pathLst>
            </a:custGeom>
            <a:noFill/>
            <a:ln w="20638" cap="flat">
              <a:solidFill>
                <a:srgbClr val="01D1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544"/>
            </a:p>
          </p:txBody>
        </p:sp>
        <p:sp>
          <p:nvSpPr>
            <p:cNvPr id="600" name="Freeform 64"/>
            <p:cNvSpPr>
              <a:spLocks/>
            </p:cNvSpPr>
            <p:nvPr userDrawn="1"/>
          </p:nvSpPr>
          <p:spPr bwMode="auto">
            <a:xfrm>
              <a:off x="8931275" y="5026026"/>
              <a:ext cx="254000" cy="250825"/>
            </a:xfrm>
            <a:custGeom>
              <a:avLst/>
              <a:gdLst>
                <a:gd name="T0" fmla="*/ 101 w 101"/>
                <a:gd name="T1" fmla="*/ 84 h 100"/>
                <a:gd name="T2" fmla="*/ 99 w 101"/>
                <a:gd name="T3" fmla="*/ 99 h 100"/>
                <a:gd name="T4" fmla="*/ 7 w 101"/>
                <a:gd name="T5" fmla="*/ 77 h 100"/>
                <a:gd name="T6" fmla="*/ 80 w 101"/>
                <a:gd name="T7" fmla="*/ 3 h 100"/>
                <a:gd name="T8" fmla="*/ 97 w 101"/>
                <a:gd name="T9" fmla="*/ 19 h 100"/>
                <a:gd name="T10" fmla="*/ 41 w 101"/>
                <a:gd name="T11" fmla="*/ 68 h 100"/>
                <a:gd name="T12" fmla="*/ 101 w 101"/>
                <a:gd name="T13" fmla="*/ 84 h 100"/>
              </a:gdLst>
              <a:ahLst/>
              <a:cxnLst>
                <a:cxn ang="0">
                  <a:pos x="T0" y="T1"/>
                </a:cxn>
                <a:cxn ang="0">
                  <a:pos x="T2" y="T3"/>
                </a:cxn>
                <a:cxn ang="0">
                  <a:pos x="T4" y="T5"/>
                </a:cxn>
                <a:cxn ang="0">
                  <a:pos x="T6" y="T7"/>
                </a:cxn>
                <a:cxn ang="0">
                  <a:pos x="T8" y="T9"/>
                </a:cxn>
                <a:cxn ang="0">
                  <a:pos x="T10" y="T11"/>
                </a:cxn>
                <a:cxn ang="0">
                  <a:pos x="T12" y="T13"/>
                </a:cxn>
              </a:cxnLst>
              <a:rect l="0" t="0" r="r" b="b"/>
              <a:pathLst>
                <a:path w="101" h="100">
                  <a:moveTo>
                    <a:pt x="101" y="84"/>
                  </a:moveTo>
                  <a:cubicBezTo>
                    <a:pt x="99" y="99"/>
                    <a:pt x="99" y="99"/>
                    <a:pt x="99" y="99"/>
                  </a:cubicBezTo>
                  <a:cubicBezTo>
                    <a:pt x="99" y="99"/>
                    <a:pt x="13" y="100"/>
                    <a:pt x="7" y="77"/>
                  </a:cubicBezTo>
                  <a:cubicBezTo>
                    <a:pt x="0" y="51"/>
                    <a:pt x="55" y="0"/>
                    <a:pt x="80" y="3"/>
                  </a:cubicBezTo>
                  <a:cubicBezTo>
                    <a:pt x="86" y="4"/>
                    <a:pt x="97" y="14"/>
                    <a:pt x="97" y="19"/>
                  </a:cubicBezTo>
                  <a:cubicBezTo>
                    <a:pt x="97" y="36"/>
                    <a:pt x="41" y="68"/>
                    <a:pt x="41" y="68"/>
                  </a:cubicBezTo>
                  <a:lnTo>
                    <a:pt x="101" y="8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1" name="Freeform 65"/>
            <p:cNvSpPr>
              <a:spLocks/>
            </p:cNvSpPr>
            <p:nvPr userDrawn="1"/>
          </p:nvSpPr>
          <p:spPr bwMode="auto">
            <a:xfrm>
              <a:off x="9177338" y="5241926"/>
              <a:ext cx="61912" cy="58738"/>
            </a:xfrm>
            <a:custGeom>
              <a:avLst/>
              <a:gdLst>
                <a:gd name="T0" fmla="*/ 3 w 25"/>
                <a:gd name="T1" fmla="*/ 0 h 24"/>
                <a:gd name="T2" fmla="*/ 23 w 25"/>
                <a:gd name="T3" fmla="*/ 5 h 24"/>
                <a:gd name="T4" fmla="*/ 12 w 25"/>
                <a:gd name="T5" fmla="*/ 24 h 24"/>
                <a:gd name="T6" fmla="*/ 5 w 25"/>
                <a:gd name="T7" fmla="*/ 17 h 24"/>
                <a:gd name="T8" fmla="*/ 1 w 25"/>
                <a:gd name="T9" fmla="*/ 13 h 24"/>
                <a:gd name="T10" fmla="*/ 3 w 25"/>
                <a:gd name="T11" fmla="*/ 0 h 24"/>
              </a:gdLst>
              <a:ahLst/>
              <a:cxnLst>
                <a:cxn ang="0">
                  <a:pos x="T0" y="T1"/>
                </a:cxn>
                <a:cxn ang="0">
                  <a:pos x="T2" y="T3"/>
                </a:cxn>
                <a:cxn ang="0">
                  <a:pos x="T4" y="T5"/>
                </a:cxn>
                <a:cxn ang="0">
                  <a:pos x="T6" y="T7"/>
                </a:cxn>
                <a:cxn ang="0">
                  <a:pos x="T8" y="T9"/>
                </a:cxn>
                <a:cxn ang="0">
                  <a:pos x="T10" y="T11"/>
                </a:cxn>
              </a:cxnLst>
              <a:rect l="0" t="0" r="r" b="b"/>
              <a:pathLst>
                <a:path w="25" h="24">
                  <a:moveTo>
                    <a:pt x="3" y="0"/>
                  </a:moveTo>
                  <a:cubicBezTo>
                    <a:pt x="3" y="0"/>
                    <a:pt x="22" y="2"/>
                    <a:pt x="23" y="5"/>
                  </a:cubicBezTo>
                  <a:cubicBezTo>
                    <a:pt x="25" y="9"/>
                    <a:pt x="18" y="23"/>
                    <a:pt x="12" y="24"/>
                  </a:cubicBezTo>
                  <a:cubicBezTo>
                    <a:pt x="10" y="24"/>
                    <a:pt x="9" y="22"/>
                    <a:pt x="5" y="17"/>
                  </a:cubicBezTo>
                  <a:cubicBezTo>
                    <a:pt x="0" y="11"/>
                    <a:pt x="1" y="13"/>
                    <a:pt x="1" y="13"/>
                  </a:cubicBezTo>
                  <a:lnTo>
                    <a:pt x="3" y="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2" name="Freeform 66"/>
            <p:cNvSpPr>
              <a:spLocks/>
            </p:cNvSpPr>
            <p:nvPr userDrawn="1"/>
          </p:nvSpPr>
          <p:spPr bwMode="auto">
            <a:xfrm>
              <a:off x="9494838" y="4700588"/>
              <a:ext cx="73025" cy="77788"/>
            </a:xfrm>
            <a:custGeom>
              <a:avLst/>
              <a:gdLst>
                <a:gd name="T0" fmla="*/ 10 w 29"/>
                <a:gd name="T1" fmla="*/ 30 h 31"/>
                <a:gd name="T2" fmla="*/ 2 w 29"/>
                <a:gd name="T3" fmla="*/ 21 h 31"/>
                <a:gd name="T4" fmla="*/ 15 w 29"/>
                <a:gd name="T5" fmla="*/ 1 h 31"/>
                <a:gd name="T6" fmla="*/ 24 w 29"/>
                <a:gd name="T7" fmla="*/ 20 h 31"/>
                <a:gd name="T8" fmla="*/ 10 w 29"/>
                <a:gd name="T9" fmla="*/ 30 h 31"/>
              </a:gdLst>
              <a:ahLst/>
              <a:cxnLst>
                <a:cxn ang="0">
                  <a:pos x="T0" y="T1"/>
                </a:cxn>
                <a:cxn ang="0">
                  <a:pos x="T2" y="T3"/>
                </a:cxn>
                <a:cxn ang="0">
                  <a:pos x="T4" y="T5"/>
                </a:cxn>
                <a:cxn ang="0">
                  <a:pos x="T6" y="T7"/>
                </a:cxn>
                <a:cxn ang="0">
                  <a:pos x="T8" y="T9"/>
                </a:cxn>
              </a:cxnLst>
              <a:rect l="0" t="0" r="r" b="b"/>
              <a:pathLst>
                <a:path w="29" h="31">
                  <a:moveTo>
                    <a:pt x="10" y="30"/>
                  </a:moveTo>
                  <a:cubicBezTo>
                    <a:pt x="10" y="30"/>
                    <a:pt x="0" y="26"/>
                    <a:pt x="2" y="21"/>
                  </a:cubicBezTo>
                  <a:cubicBezTo>
                    <a:pt x="3" y="17"/>
                    <a:pt x="12" y="0"/>
                    <a:pt x="15" y="1"/>
                  </a:cubicBezTo>
                  <a:cubicBezTo>
                    <a:pt x="18" y="3"/>
                    <a:pt x="29" y="12"/>
                    <a:pt x="24" y="20"/>
                  </a:cubicBezTo>
                  <a:cubicBezTo>
                    <a:pt x="18" y="29"/>
                    <a:pt x="12" y="31"/>
                    <a:pt x="10" y="30"/>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3" name="Freeform 67"/>
            <p:cNvSpPr>
              <a:spLocks/>
            </p:cNvSpPr>
            <p:nvPr userDrawn="1"/>
          </p:nvSpPr>
          <p:spPr bwMode="auto">
            <a:xfrm>
              <a:off x="9488488" y="4719638"/>
              <a:ext cx="44450" cy="55563"/>
            </a:xfrm>
            <a:custGeom>
              <a:avLst/>
              <a:gdLst>
                <a:gd name="T0" fmla="*/ 0 w 18"/>
                <a:gd name="T1" fmla="*/ 22 h 22"/>
                <a:gd name="T2" fmla="*/ 4 w 18"/>
                <a:gd name="T3" fmla="*/ 7 h 22"/>
                <a:gd name="T4" fmla="*/ 18 w 18"/>
                <a:gd name="T5" fmla="*/ 0 h 22"/>
                <a:gd name="T6" fmla="*/ 0 w 18"/>
                <a:gd name="T7" fmla="*/ 22 h 22"/>
              </a:gdLst>
              <a:ahLst/>
              <a:cxnLst>
                <a:cxn ang="0">
                  <a:pos x="T0" y="T1"/>
                </a:cxn>
                <a:cxn ang="0">
                  <a:pos x="T2" y="T3"/>
                </a:cxn>
                <a:cxn ang="0">
                  <a:pos x="T4" y="T5"/>
                </a:cxn>
                <a:cxn ang="0">
                  <a:pos x="T6" y="T7"/>
                </a:cxn>
              </a:cxnLst>
              <a:rect l="0" t="0" r="r" b="b"/>
              <a:pathLst>
                <a:path w="18" h="22">
                  <a:moveTo>
                    <a:pt x="0" y="22"/>
                  </a:moveTo>
                  <a:cubicBezTo>
                    <a:pt x="0" y="22"/>
                    <a:pt x="0" y="11"/>
                    <a:pt x="4" y="7"/>
                  </a:cubicBezTo>
                  <a:cubicBezTo>
                    <a:pt x="9" y="4"/>
                    <a:pt x="18" y="0"/>
                    <a:pt x="18" y="0"/>
                  </a:cubicBezTo>
                  <a:lnTo>
                    <a:pt x="0" y="22"/>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4" name="Freeform 68"/>
            <p:cNvSpPr>
              <a:spLocks/>
            </p:cNvSpPr>
            <p:nvPr userDrawn="1"/>
          </p:nvSpPr>
          <p:spPr bwMode="auto">
            <a:xfrm>
              <a:off x="8550275" y="4754563"/>
              <a:ext cx="58737" cy="58738"/>
            </a:xfrm>
            <a:custGeom>
              <a:avLst/>
              <a:gdLst>
                <a:gd name="T0" fmla="*/ 9 w 23"/>
                <a:gd name="T1" fmla="*/ 23 h 23"/>
                <a:gd name="T2" fmla="*/ 0 w 23"/>
                <a:gd name="T3" fmla="*/ 13 h 23"/>
                <a:gd name="T4" fmla="*/ 20 w 23"/>
                <a:gd name="T5" fmla="*/ 3 h 23"/>
                <a:gd name="T6" fmla="*/ 23 w 23"/>
                <a:gd name="T7" fmla="*/ 23 h 23"/>
                <a:gd name="T8" fmla="*/ 9 w 23"/>
                <a:gd name="T9" fmla="*/ 23 h 23"/>
              </a:gdLst>
              <a:ahLst/>
              <a:cxnLst>
                <a:cxn ang="0">
                  <a:pos x="T0" y="T1"/>
                </a:cxn>
                <a:cxn ang="0">
                  <a:pos x="T2" y="T3"/>
                </a:cxn>
                <a:cxn ang="0">
                  <a:pos x="T4" y="T5"/>
                </a:cxn>
                <a:cxn ang="0">
                  <a:pos x="T6" y="T7"/>
                </a:cxn>
                <a:cxn ang="0">
                  <a:pos x="T8" y="T9"/>
                </a:cxn>
              </a:cxnLst>
              <a:rect l="0" t="0" r="r" b="b"/>
              <a:pathLst>
                <a:path w="23" h="23">
                  <a:moveTo>
                    <a:pt x="9" y="23"/>
                  </a:moveTo>
                  <a:cubicBezTo>
                    <a:pt x="9" y="23"/>
                    <a:pt x="0" y="16"/>
                    <a:pt x="0" y="13"/>
                  </a:cubicBezTo>
                  <a:cubicBezTo>
                    <a:pt x="0" y="10"/>
                    <a:pt x="19" y="0"/>
                    <a:pt x="20" y="3"/>
                  </a:cubicBezTo>
                  <a:cubicBezTo>
                    <a:pt x="22" y="6"/>
                    <a:pt x="23" y="23"/>
                    <a:pt x="23" y="23"/>
                  </a:cubicBezTo>
                  <a:lnTo>
                    <a:pt x="9" y="23"/>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5" name="Freeform 69"/>
            <p:cNvSpPr>
              <a:spLocks/>
            </p:cNvSpPr>
            <p:nvPr userDrawn="1"/>
          </p:nvSpPr>
          <p:spPr bwMode="auto">
            <a:xfrm>
              <a:off x="8285163" y="4670426"/>
              <a:ext cx="165100" cy="225425"/>
            </a:xfrm>
            <a:custGeom>
              <a:avLst/>
              <a:gdLst>
                <a:gd name="T0" fmla="*/ 1 w 66"/>
                <a:gd name="T1" fmla="*/ 32 h 90"/>
                <a:gd name="T2" fmla="*/ 21 w 66"/>
                <a:gd name="T3" fmla="*/ 64 h 90"/>
                <a:gd name="T4" fmla="*/ 20 w 66"/>
                <a:gd name="T5" fmla="*/ 82 h 90"/>
                <a:gd name="T6" fmla="*/ 46 w 66"/>
                <a:gd name="T7" fmla="*/ 84 h 90"/>
                <a:gd name="T8" fmla="*/ 51 w 66"/>
                <a:gd name="T9" fmla="*/ 67 h 90"/>
                <a:gd name="T10" fmla="*/ 65 w 66"/>
                <a:gd name="T11" fmla="*/ 56 h 90"/>
                <a:gd name="T12" fmla="*/ 38 w 66"/>
                <a:gd name="T13" fmla="*/ 3 h 90"/>
                <a:gd name="T14" fmla="*/ 33 w 66"/>
                <a:gd name="T15" fmla="*/ 2 h 90"/>
                <a:gd name="T16" fmla="*/ 1 w 66"/>
                <a:gd name="T17" fmla="*/ 3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0">
                  <a:moveTo>
                    <a:pt x="1" y="32"/>
                  </a:moveTo>
                  <a:cubicBezTo>
                    <a:pt x="1" y="50"/>
                    <a:pt x="17" y="57"/>
                    <a:pt x="21" y="64"/>
                  </a:cubicBezTo>
                  <a:cubicBezTo>
                    <a:pt x="26" y="71"/>
                    <a:pt x="20" y="82"/>
                    <a:pt x="20" y="82"/>
                  </a:cubicBezTo>
                  <a:cubicBezTo>
                    <a:pt x="20" y="82"/>
                    <a:pt x="48" y="90"/>
                    <a:pt x="46" y="84"/>
                  </a:cubicBezTo>
                  <a:cubicBezTo>
                    <a:pt x="46" y="83"/>
                    <a:pt x="46" y="74"/>
                    <a:pt x="51" y="67"/>
                  </a:cubicBezTo>
                  <a:cubicBezTo>
                    <a:pt x="53" y="64"/>
                    <a:pt x="65" y="60"/>
                    <a:pt x="65" y="56"/>
                  </a:cubicBezTo>
                  <a:cubicBezTo>
                    <a:pt x="66" y="34"/>
                    <a:pt x="49" y="7"/>
                    <a:pt x="38" y="3"/>
                  </a:cubicBezTo>
                  <a:cubicBezTo>
                    <a:pt x="36" y="2"/>
                    <a:pt x="35" y="2"/>
                    <a:pt x="33" y="2"/>
                  </a:cubicBezTo>
                  <a:cubicBezTo>
                    <a:pt x="15" y="0"/>
                    <a:pt x="0" y="14"/>
                    <a:pt x="1" y="32"/>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6" name="Freeform 70"/>
            <p:cNvSpPr>
              <a:spLocks/>
            </p:cNvSpPr>
            <p:nvPr userDrawn="1"/>
          </p:nvSpPr>
          <p:spPr bwMode="auto">
            <a:xfrm>
              <a:off x="8255000" y="4649788"/>
              <a:ext cx="141287" cy="190500"/>
            </a:xfrm>
            <a:custGeom>
              <a:avLst/>
              <a:gdLst>
                <a:gd name="T0" fmla="*/ 56 w 56"/>
                <a:gd name="T1" fmla="*/ 14 h 76"/>
                <a:gd name="T2" fmla="*/ 29 w 56"/>
                <a:gd name="T3" fmla="*/ 4 h 76"/>
                <a:gd name="T4" fmla="*/ 8 w 56"/>
                <a:gd name="T5" fmla="*/ 44 h 76"/>
                <a:gd name="T6" fmla="*/ 32 w 56"/>
                <a:gd name="T7" fmla="*/ 76 h 76"/>
                <a:gd name="T8" fmla="*/ 38 w 56"/>
                <a:gd name="T9" fmla="*/ 54 h 76"/>
                <a:gd name="T10" fmla="*/ 43 w 56"/>
                <a:gd name="T11" fmla="*/ 38 h 76"/>
                <a:gd name="T12" fmla="*/ 56 w 56"/>
                <a:gd name="T13" fmla="*/ 14 h 76"/>
              </a:gdLst>
              <a:ahLst/>
              <a:cxnLst>
                <a:cxn ang="0">
                  <a:pos x="T0" y="T1"/>
                </a:cxn>
                <a:cxn ang="0">
                  <a:pos x="T2" y="T3"/>
                </a:cxn>
                <a:cxn ang="0">
                  <a:pos x="T4" y="T5"/>
                </a:cxn>
                <a:cxn ang="0">
                  <a:pos x="T6" y="T7"/>
                </a:cxn>
                <a:cxn ang="0">
                  <a:pos x="T8" y="T9"/>
                </a:cxn>
                <a:cxn ang="0">
                  <a:pos x="T10" y="T11"/>
                </a:cxn>
                <a:cxn ang="0">
                  <a:pos x="T12" y="T13"/>
                </a:cxn>
              </a:cxnLst>
              <a:rect l="0" t="0" r="r" b="b"/>
              <a:pathLst>
                <a:path w="56" h="76">
                  <a:moveTo>
                    <a:pt x="56" y="14"/>
                  </a:moveTo>
                  <a:cubicBezTo>
                    <a:pt x="56" y="14"/>
                    <a:pt x="45" y="0"/>
                    <a:pt x="29" y="4"/>
                  </a:cubicBezTo>
                  <a:cubicBezTo>
                    <a:pt x="6" y="9"/>
                    <a:pt x="0" y="21"/>
                    <a:pt x="8" y="44"/>
                  </a:cubicBezTo>
                  <a:cubicBezTo>
                    <a:pt x="13" y="62"/>
                    <a:pt x="32" y="76"/>
                    <a:pt x="32" y="76"/>
                  </a:cubicBezTo>
                  <a:cubicBezTo>
                    <a:pt x="41" y="73"/>
                    <a:pt x="42" y="66"/>
                    <a:pt x="38" y="54"/>
                  </a:cubicBezTo>
                  <a:cubicBezTo>
                    <a:pt x="34" y="42"/>
                    <a:pt x="43" y="38"/>
                    <a:pt x="43" y="38"/>
                  </a:cubicBezTo>
                  <a:cubicBezTo>
                    <a:pt x="43" y="38"/>
                    <a:pt x="27" y="19"/>
                    <a:pt x="56" y="1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607" name="Freeform 71"/>
            <p:cNvSpPr>
              <a:spLocks/>
            </p:cNvSpPr>
            <p:nvPr userDrawn="1"/>
          </p:nvSpPr>
          <p:spPr bwMode="auto">
            <a:xfrm>
              <a:off x="8201025" y="4795838"/>
              <a:ext cx="498475" cy="457200"/>
            </a:xfrm>
            <a:custGeom>
              <a:avLst/>
              <a:gdLst>
                <a:gd name="T0" fmla="*/ 159 w 199"/>
                <a:gd name="T1" fmla="*/ 0 h 183"/>
                <a:gd name="T2" fmla="*/ 187 w 199"/>
                <a:gd name="T3" fmla="*/ 79 h 183"/>
                <a:gd name="T4" fmla="*/ 134 w 199"/>
                <a:gd name="T5" fmla="*/ 73 h 183"/>
                <a:gd name="T6" fmla="*/ 149 w 199"/>
                <a:gd name="T7" fmla="*/ 179 h 183"/>
                <a:gd name="T8" fmla="*/ 75 w 199"/>
                <a:gd name="T9" fmla="*/ 183 h 183"/>
                <a:gd name="T10" fmla="*/ 48 w 199"/>
                <a:gd name="T11" fmla="*/ 106 h 183"/>
                <a:gd name="T12" fmla="*/ 28 w 199"/>
                <a:gd name="T13" fmla="*/ 38 h 183"/>
                <a:gd name="T14" fmla="*/ 119 w 199"/>
                <a:gd name="T15" fmla="*/ 33 h 183"/>
                <a:gd name="T16" fmla="*/ 155 w 199"/>
                <a:gd name="T17" fmla="*/ 46 h 183"/>
                <a:gd name="T18" fmla="*/ 149 w 199"/>
                <a:gd name="T19" fmla="*/ 4 h 183"/>
                <a:gd name="T20" fmla="*/ 159 w 199"/>
                <a:gd name="T2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183">
                  <a:moveTo>
                    <a:pt x="159" y="0"/>
                  </a:moveTo>
                  <a:cubicBezTo>
                    <a:pt x="159" y="0"/>
                    <a:pt x="199" y="63"/>
                    <a:pt x="187" y="79"/>
                  </a:cubicBezTo>
                  <a:cubicBezTo>
                    <a:pt x="178" y="90"/>
                    <a:pt x="134" y="73"/>
                    <a:pt x="134" y="73"/>
                  </a:cubicBezTo>
                  <a:cubicBezTo>
                    <a:pt x="134" y="73"/>
                    <a:pt x="140" y="132"/>
                    <a:pt x="149" y="179"/>
                  </a:cubicBezTo>
                  <a:cubicBezTo>
                    <a:pt x="75" y="183"/>
                    <a:pt x="75" y="183"/>
                    <a:pt x="75" y="183"/>
                  </a:cubicBezTo>
                  <a:cubicBezTo>
                    <a:pt x="75" y="183"/>
                    <a:pt x="68" y="143"/>
                    <a:pt x="48" y="106"/>
                  </a:cubicBezTo>
                  <a:cubicBezTo>
                    <a:pt x="32" y="75"/>
                    <a:pt x="0" y="54"/>
                    <a:pt x="28" y="38"/>
                  </a:cubicBezTo>
                  <a:cubicBezTo>
                    <a:pt x="58" y="22"/>
                    <a:pt x="103" y="28"/>
                    <a:pt x="119" y="33"/>
                  </a:cubicBezTo>
                  <a:cubicBezTo>
                    <a:pt x="131" y="36"/>
                    <a:pt x="155" y="46"/>
                    <a:pt x="155" y="46"/>
                  </a:cubicBezTo>
                  <a:cubicBezTo>
                    <a:pt x="149" y="4"/>
                    <a:pt x="149" y="4"/>
                    <a:pt x="149" y="4"/>
                  </a:cubicBezTo>
                  <a:lnTo>
                    <a:pt x="159" y="0"/>
                  </a:lnTo>
                  <a:close/>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28" name="Freeform 72"/>
            <p:cNvSpPr>
              <a:spLocks/>
            </p:cNvSpPr>
            <p:nvPr userDrawn="1"/>
          </p:nvSpPr>
          <p:spPr bwMode="auto">
            <a:xfrm>
              <a:off x="8323263" y="4678363"/>
              <a:ext cx="157162" cy="149225"/>
            </a:xfrm>
            <a:custGeom>
              <a:avLst/>
              <a:gdLst>
                <a:gd name="T0" fmla="*/ 10 w 63"/>
                <a:gd name="T1" fmla="*/ 29 h 60"/>
                <a:gd name="T2" fmla="*/ 8 w 63"/>
                <a:gd name="T3" fmla="*/ 42 h 60"/>
                <a:gd name="T4" fmla="*/ 19 w 63"/>
                <a:gd name="T5" fmla="*/ 41 h 60"/>
                <a:gd name="T6" fmla="*/ 46 w 63"/>
                <a:gd name="T7" fmla="*/ 57 h 60"/>
                <a:gd name="T8" fmla="*/ 23 w 63"/>
                <a:gd name="T9" fmla="*/ 0 h 60"/>
                <a:gd name="T10" fmla="*/ 4 w 63"/>
                <a:gd name="T11" fmla="*/ 9 h 60"/>
                <a:gd name="T12" fmla="*/ 10 w 63"/>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63" h="60">
                  <a:moveTo>
                    <a:pt x="10" y="29"/>
                  </a:moveTo>
                  <a:cubicBezTo>
                    <a:pt x="1" y="28"/>
                    <a:pt x="0" y="36"/>
                    <a:pt x="8" y="42"/>
                  </a:cubicBezTo>
                  <a:cubicBezTo>
                    <a:pt x="20" y="50"/>
                    <a:pt x="19" y="41"/>
                    <a:pt x="19" y="41"/>
                  </a:cubicBezTo>
                  <a:cubicBezTo>
                    <a:pt x="28" y="55"/>
                    <a:pt x="35" y="60"/>
                    <a:pt x="46" y="57"/>
                  </a:cubicBezTo>
                  <a:cubicBezTo>
                    <a:pt x="63" y="49"/>
                    <a:pt x="40" y="6"/>
                    <a:pt x="23" y="0"/>
                  </a:cubicBezTo>
                  <a:cubicBezTo>
                    <a:pt x="7" y="0"/>
                    <a:pt x="4" y="9"/>
                    <a:pt x="4" y="9"/>
                  </a:cubicBezTo>
                  <a:cubicBezTo>
                    <a:pt x="12" y="16"/>
                    <a:pt x="10" y="29"/>
                    <a:pt x="10" y="29"/>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29" name="Freeform 73"/>
            <p:cNvSpPr>
              <a:spLocks/>
            </p:cNvSpPr>
            <p:nvPr userDrawn="1"/>
          </p:nvSpPr>
          <p:spPr bwMode="auto">
            <a:xfrm>
              <a:off x="8389938" y="4852988"/>
              <a:ext cx="141287" cy="280988"/>
            </a:xfrm>
            <a:custGeom>
              <a:avLst/>
              <a:gdLst>
                <a:gd name="T0" fmla="*/ 0 w 56"/>
                <a:gd name="T1" fmla="*/ 10 h 112"/>
                <a:gd name="T2" fmla="*/ 5 w 56"/>
                <a:gd name="T3" fmla="*/ 0 h 112"/>
                <a:gd name="T4" fmla="*/ 15 w 56"/>
                <a:gd name="T5" fmla="*/ 8 h 112"/>
                <a:gd name="T6" fmla="*/ 13 w 56"/>
                <a:gd name="T7" fmla="*/ 15 h 112"/>
                <a:gd name="T8" fmla="*/ 56 w 56"/>
                <a:gd name="T9" fmla="*/ 96 h 112"/>
                <a:gd name="T10" fmla="*/ 50 w 56"/>
                <a:gd name="T11" fmla="*/ 112 h 112"/>
                <a:gd name="T12" fmla="*/ 38 w 56"/>
                <a:gd name="T13" fmla="*/ 101 h 112"/>
                <a:gd name="T14" fmla="*/ 8 w 56"/>
                <a:gd name="T15" fmla="*/ 16 h 112"/>
                <a:gd name="T16" fmla="*/ 0 w 56"/>
                <a:gd name="T17" fmla="*/ 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12">
                  <a:moveTo>
                    <a:pt x="0" y="10"/>
                  </a:moveTo>
                  <a:cubicBezTo>
                    <a:pt x="5" y="0"/>
                    <a:pt x="5" y="0"/>
                    <a:pt x="5" y="0"/>
                  </a:cubicBezTo>
                  <a:cubicBezTo>
                    <a:pt x="15" y="8"/>
                    <a:pt x="15" y="8"/>
                    <a:pt x="15" y="8"/>
                  </a:cubicBezTo>
                  <a:cubicBezTo>
                    <a:pt x="13" y="15"/>
                    <a:pt x="13" y="15"/>
                    <a:pt x="13" y="15"/>
                  </a:cubicBezTo>
                  <a:cubicBezTo>
                    <a:pt x="33" y="42"/>
                    <a:pt x="56" y="96"/>
                    <a:pt x="56" y="96"/>
                  </a:cubicBezTo>
                  <a:cubicBezTo>
                    <a:pt x="50" y="112"/>
                    <a:pt x="50" y="112"/>
                    <a:pt x="50" y="112"/>
                  </a:cubicBezTo>
                  <a:cubicBezTo>
                    <a:pt x="38" y="101"/>
                    <a:pt x="38" y="101"/>
                    <a:pt x="38" y="101"/>
                  </a:cubicBezTo>
                  <a:cubicBezTo>
                    <a:pt x="40" y="76"/>
                    <a:pt x="8" y="16"/>
                    <a:pt x="8" y="16"/>
                  </a:cubicBezTo>
                  <a:lnTo>
                    <a:pt x="0" y="1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0" name="Freeform 74"/>
            <p:cNvSpPr>
              <a:spLocks/>
            </p:cNvSpPr>
            <p:nvPr userDrawn="1"/>
          </p:nvSpPr>
          <p:spPr bwMode="auto">
            <a:xfrm>
              <a:off x="8328025" y="4843463"/>
              <a:ext cx="117475" cy="49213"/>
            </a:xfrm>
            <a:custGeom>
              <a:avLst/>
              <a:gdLst>
                <a:gd name="T0" fmla="*/ 43 w 47"/>
                <a:gd name="T1" fmla="*/ 11 h 20"/>
                <a:gd name="T2" fmla="*/ 47 w 47"/>
                <a:gd name="T3" fmla="*/ 19 h 20"/>
                <a:gd name="T4" fmla="*/ 33 w 47"/>
                <a:gd name="T5" fmla="*/ 10 h 20"/>
                <a:gd name="T6" fmla="*/ 26 w 47"/>
                <a:gd name="T7" fmla="*/ 19 h 20"/>
                <a:gd name="T8" fmla="*/ 0 w 47"/>
                <a:gd name="T9" fmla="*/ 11 h 20"/>
                <a:gd name="T10" fmla="*/ 3 w 47"/>
                <a:gd name="T11" fmla="*/ 0 h 20"/>
                <a:gd name="T12" fmla="*/ 30 w 47"/>
                <a:gd name="T13" fmla="*/ 4 h 20"/>
                <a:gd name="T14" fmla="*/ 31 w 47"/>
                <a:gd name="T15" fmla="*/ 2 h 20"/>
                <a:gd name="T16" fmla="*/ 43 w 47"/>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0">
                  <a:moveTo>
                    <a:pt x="43" y="11"/>
                  </a:moveTo>
                  <a:cubicBezTo>
                    <a:pt x="47" y="19"/>
                    <a:pt x="47" y="19"/>
                    <a:pt x="47" y="19"/>
                  </a:cubicBezTo>
                  <a:cubicBezTo>
                    <a:pt x="33" y="10"/>
                    <a:pt x="33" y="10"/>
                    <a:pt x="33" y="10"/>
                  </a:cubicBezTo>
                  <a:cubicBezTo>
                    <a:pt x="33" y="10"/>
                    <a:pt x="28" y="18"/>
                    <a:pt x="26" y="19"/>
                  </a:cubicBezTo>
                  <a:cubicBezTo>
                    <a:pt x="24" y="20"/>
                    <a:pt x="0" y="11"/>
                    <a:pt x="0" y="11"/>
                  </a:cubicBezTo>
                  <a:cubicBezTo>
                    <a:pt x="3" y="0"/>
                    <a:pt x="3" y="0"/>
                    <a:pt x="3" y="0"/>
                  </a:cubicBezTo>
                  <a:cubicBezTo>
                    <a:pt x="30" y="4"/>
                    <a:pt x="30" y="4"/>
                    <a:pt x="30" y="4"/>
                  </a:cubicBezTo>
                  <a:cubicBezTo>
                    <a:pt x="31" y="2"/>
                    <a:pt x="31" y="2"/>
                    <a:pt x="31" y="2"/>
                  </a:cubicBezTo>
                  <a:lnTo>
                    <a:pt x="43" y="11"/>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1" name="Freeform 75"/>
            <p:cNvSpPr>
              <a:spLocks/>
            </p:cNvSpPr>
            <p:nvPr userDrawn="1"/>
          </p:nvSpPr>
          <p:spPr bwMode="auto">
            <a:xfrm>
              <a:off x="8307388" y="5222876"/>
              <a:ext cx="409575" cy="860425"/>
            </a:xfrm>
            <a:custGeom>
              <a:avLst/>
              <a:gdLst>
                <a:gd name="T0" fmla="*/ 32 w 163"/>
                <a:gd name="T1" fmla="*/ 12 h 343"/>
                <a:gd name="T2" fmla="*/ 20 w 163"/>
                <a:gd name="T3" fmla="*/ 181 h 343"/>
                <a:gd name="T4" fmla="*/ 0 w 163"/>
                <a:gd name="T5" fmla="*/ 312 h 343"/>
                <a:gd name="T6" fmla="*/ 40 w 163"/>
                <a:gd name="T7" fmla="*/ 338 h 343"/>
                <a:gd name="T8" fmla="*/ 14 w 163"/>
                <a:gd name="T9" fmla="*/ 310 h 343"/>
                <a:gd name="T10" fmla="*/ 53 w 163"/>
                <a:gd name="T11" fmla="*/ 185 h 343"/>
                <a:gd name="T12" fmla="*/ 78 w 163"/>
                <a:gd name="T13" fmla="*/ 77 h 343"/>
                <a:gd name="T14" fmla="*/ 96 w 163"/>
                <a:gd name="T15" fmla="*/ 194 h 343"/>
                <a:gd name="T16" fmla="*/ 112 w 163"/>
                <a:gd name="T17" fmla="*/ 308 h 343"/>
                <a:gd name="T18" fmla="*/ 163 w 163"/>
                <a:gd name="T19" fmla="*/ 318 h 343"/>
                <a:gd name="T20" fmla="*/ 127 w 163"/>
                <a:gd name="T21" fmla="*/ 305 h 343"/>
                <a:gd name="T22" fmla="*/ 128 w 163"/>
                <a:gd name="T23" fmla="*/ 183 h 343"/>
                <a:gd name="T24" fmla="*/ 106 w 163"/>
                <a:gd name="T25" fmla="*/ 8 h 343"/>
                <a:gd name="T26" fmla="*/ 32 w 163"/>
                <a:gd name="T27" fmla="*/ 1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43">
                  <a:moveTo>
                    <a:pt x="32" y="12"/>
                  </a:moveTo>
                  <a:cubicBezTo>
                    <a:pt x="32" y="12"/>
                    <a:pt x="30" y="139"/>
                    <a:pt x="20" y="181"/>
                  </a:cubicBezTo>
                  <a:cubicBezTo>
                    <a:pt x="12" y="212"/>
                    <a:pt x="0" y="312"/>
                    <a:pt x="0" y="312"/>
                  </a:cubicBezTo>
                  <a:cubicBezTo>
                    <a:pt x="0" y="312"/>
                    <a:pt x="24" y="343"/>
                    <a:pt x="40" y="338"/>
                  </a:cubicBezTo>
                  <a:cubicBezTo>
                    <a:pt x="40" y="338"/>
                    <a:pt x="52" y="332"/>
                    <a:pt x="14" y="310"/>
                  </a:cubicBezTo>
                  <a:cubicBezTo>
                    <a:pt x="14" y="310"/>
                    <a:pt x="44" y="212"/>
                    <a:pt x="53" y="185"/>
                  </a:cubicBezTo>
                  <a:cubicBezTo>
                    <a:pt x="65" y="142"/>
                    <a:pt x="72" y="77"/>
                    <a:pt x="78" y="77"/>
                  </a:cubicBezTo>
                  <a:cubicBezTo>
                    <a:pt x="84" y="77"/>
                    <a:pt x="98" y="178"/>
                    <a:pt x="96" y="194"/>
                  </a:cubicBezTo>
                  <a:cubicBezTo>
                    <a:pt x="91" y="251"/>
                    <a:pt x="114" y="299"/>
                    <a:pt x="112" y="308"/>
                  </a:cubicBezTo>
                  <a:cubicBezTo>
                    <a:pt x="112" y="308"/>
                    <a:pt x="146" y="328"/>
                    <a:pt x="163" y="318"/>
                  </a:cubicBezTo>
                  <a:cubicBezTo>
                    <a:pt x="163" y="318"/>
                    <a:pt x="152" y="304"/>
                    <a:pt x="127" y="305"/>
                  </a:cubicBezTo>
                  <a:cubicBezTo>
                    <a:pt x="127" y="305"/>
                    <a:pt x="125" y="207"/>
                    <a:pt x="128" y="183"/>
                  </a:cubicBezTo>
                  <a:cubicBezTo>
                    <a:pt x="133" y="136"/>
                    <a:pt x="107" y="41"/>
                    <a:pt x="106" y="8"/>
                  </a:cubicBezTo>
                  <a:cubicBezTo>
                    <a:pt x="106" y="8"/>
                    <a:pt x="82" y="0"/>
                    <a:pt x="32" y="12"/>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2" name="Freeform 76"/>
            <p:cNvSpPr>
              <a:spLocks/>
            </p:cNvSpPr>
            <p:nvPr userDrawn="1"/>
          </p:nvSpPr>
          <p:spPr bwMode="auto">
            <a:xfrm>
              <a:off x="8488363" y="5243513"/>
              <a:ext cx="44450" cy="26988"/>
            </a:xfrm>
            <a:custGeom>
              <a:avLst/>
              <a:gdLst>
                <a:gd name="T0" fmla="*/ 18 w 18"/>
                <a:gd name="T1" fmla="*/ 11 h 11"/>
                <a:gd name="T2" fmla="*/ 0 w 18"/>
                <a:gd name="T3" fmla="*/ 11 h 11"/>
                <a:gd name="T4" fmla="*/ 0 w 18"/>
                <a:gd name="T5" fmla="*/ 2 h 11"/>
                <a:gd name="T6" fmla="*/ 18 w 18"/>
                <a:gd name="T7" fmla="*/ 0 h 11"/>
                <a:gd name="T8" fmla="*/ 18 w 18"/>
                <a:gd name="T9" fmla="*/ 11 h 11"/>
              </a:gdLst>
              <a:ahLst/>
              <a:cxnLst>
                <a:cxn ang="0">
                  <a:pos x="T0" y="T1"/>
                </a:cxn>
                <a:cxn ang="0">
                  <a:pos x="T2" y="T3"/>
                </a:cxn>
                <a:cxn ang="0">
                  <a:pos x="T4" y="T5"/>
                </a:cxn>
                <a:cxn ang="0">
                  <a:pos x="T6" y="T7"/>
                </a:cxn>
                <a:cxn ang="0">
                  <a:pos x="T8" y="T9"/>
                </a:cxn>
              </a:cxnLst>
              <a:rect l="0" t="0" r="r" b="b"/>
              <a:pathLst>
                <a:path w="18" h="11">
                  <a:moveTo>
                    <a:pt x="18" y="11"/>
                  </a:moveTo>
                  <a:cubicBezTo>
                    <a:pt x="18" y="11"/>
                    <a:pt x="13" y="6"/>
                    <a:pt x="0" y="11"/>
                  </a:cubicBezTo>
                  <a:cubicBezTo>
                    <a:pt x="0" y="2"/>
                    <a:pt x="0" y="2"/>
                    <a:pt x="0" y="2"/>
                  </a:cubicBezTo>
                  <a:cubicBezTo>
                    <a:pt x="0" y="2"/>
                    <a:pt x="8" y="0"/>
                    <a:pt x="18" y="0"/>
                  </a:cubicBezTo>
                  <a:lnTo>
                    <a:pt x="18" y="1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3" name="Freeform 77"/>
            <p:cNvSpPr>
              <a:spLocks/>
            </p:cNvSpPr>
            <p:nvPr userDrawn="1"/>
          </p:nvSpPr>
          <p:spPr bwMode="auto">
            <a:xfrm>
              <a:off x="8275638" y="4635501"/>
              <a:ext cx="147637" cy="74613"/>
            </a:xfrm>
            <a:custGeom>
              <a:avLst/>
              <a:gdLst>
                <a:gd name="T0" fmla="*/ 21 w 59"/>
                <a:gd name="T1" fmla="*/ 25 h 30"/>
                <a:gd name="T2" fmla="*/ 48 w 59"/>
                <a:gd name="T3" fmla="*/ 24 h 30"/>
                <a:gd name="T4" fmla="*/ 50 w 59"/>
                <a:gd name="T5" fmla="*/ 0 h 30"/>
                <a:gd name="T6" fmla="*/ 40 w 59"/>
                <a:gd name="T7" fmla="*/ 8 h 30"/>
                <a:gd name="T8" fmla="*/ 9 w 59"/>
                <a:gd name="T9" fmla="*/ 14 h 30"/>
                <a:gd name="T10" fmla="*/ 21 w 59"/>
                <a:gd name="T11" fmla="*/ 25 h 30"/>
              </a:gdLst>
              <a:ahLst/>
              <a:cxnLst>
                <a:cxn ang="0">
                  <a:pos x="T0" y="T1"/>
                </a:cxn>
                <a:cxn ang="0">
                  <a:pos x="T2" y="T3"/>
                </a:cxn>
                <a:cxn ang="0">
                  <a:pos x="T4" y="T5"/>
                </a:cxn>
                <a:cxn ang="0">
                  <a:pos x="T6" y="T7"/>
                </a:cxn>
                <a:cxn ang="0">
                  <a:pos x="T8" y="T9"/>
                </a:cxn>
                <a:cxn ang="0">
                  <a:pos x="T10" y="T11"/>
                </a:cxn>
              </a:cxnLst>
              <a:rect l="0" t="0" r="r" b="b"/>
              <a:pathLst>
                <a:path w="59" h="30">
                  <a:moveTo>
                    <a:pt x="21" y="25"/>
                  </a:moveTo>
                  <a:cubicBezTo>
                    <a:pt x="21" y="25"/>
                    <a:pt x="37" y="30"/>
                    <a:pt x="48" y="24"/>
                  </a:cubicBezTo>
                  <a:cubicBezTo>
                    <a:pt x="59" y="19"/>
                    <a:pt x="53" y="2"/>
                    <a:pt x="50" y="0"/>
                  </a:cubicBezTo>
                  <a:cubicBezTo>
                    <a:pt x="50" y="0"/>
                    <a:pt x="44" y="8"/>
                    <a:pt x="40" y="8"/>
                  </a:cubicBezTo>
                  <a:cubicBezTo>
                    <a:pt x="20" y="7"/>
                    <a:pt x="14" y="9"/>
                    <a:pt x="9" y="14"/>
                  </a:cubicBezTo>
                  <a:cubicBezTo>
                    <a:pt x="0" y="22"/>
                    <a:pt x="21" y="25"/>
                    <a:pt x="21" y="2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4" name="Freeform 78"/>
            <p:cNvSpPr>
              <a:spLocks/>
            </p:cNvSpPr>
            <p:nvPr userDrawn="1"/>
          </p:nvSpPr>
          <p:spPr bwMode="auto">
            <a:xfrm>
              <a:off x="8348663" y="5148263"/>
              <a:ext cx="60325" cy="93663"/>
            </a:xfrm>
            <a:custGeom>
              <a:avLst/>
              <a:gdLst>
                <a:gd name="T0" fmla="*/ 5 w 24"/>
                <a:gd name="T1" fmla="*/ 0 h 37"/>
                <a:gd name="T2" fmla="*/ 6 w 24"/>
                <a:gd name="T3" fmla="*/ 1 h 37"/>
                <a:gd name="T4" fmla="*/ 18 w 24"/>
                <a:gd name="T5" fmla="*/ 7 h 37"/>
                <a:gd name="T6" fmla="*/ 24 w 24"/>
                <a:gd name="T7" fmla="*/ 21 h 37"/>
                <a:gd name="T8" fmla="*/ 6 w 24"/>
                <a:gd name="T9" fmla="*/ 37 h 37"/>
                <a:gd name="T10" fmla="*/ 4 w 24"/>
                <a:gd name="T11" fmla="*/ 27 h 37"/>
                <a:gd name="T12" fmla="*/ 7 w 24"/>
                <a:gd name="T13" fmla="*/ 16 h 37"/>
                <a:gd name="T14" fmla="*/ 0 w 24"/>
                <a:gd name="T15" fmla="*/ 11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7">
                  <a:moveTo>
                    <a:pt x="5" y="0"/>
                  </a:moveTo>
                  <a:cubicBezTo>
                    <a:pt x="5" y="0"/>
                    <a:pt x="5" y="1"/>
                    <a:pt x="6" y="1"/>
                  </a:cubicBezTo>
                  <a:cubicBezTo>
                    <a:pt x="9" y="2"/>
                    <a:pt x="16" y="4"/>
                    <a:pt x="18" y="7"/>
                  </a:cubicBezTo>
                  <a:cubicBezTo>
                    <a:pt x="21" y="10"/>
                    <a:pt x="24" y="21"/>
                    <a:pt x="24" y="21"/>
                  </a:cubicBezTo>
                  <a:cubicBezTo>
                    <a:pt x="24" y="21"/>
                    <a:pt x="8" y="36"/>
                    <a:pt x="6" y="37"/>
                  </a:cubicBezTo>
                  <a:cubicBezTo>
                    <a:pt x="4" y="37"/>
                    <a:pt x="4" y="27"/>
                    <a:pt x="4" y="27"/>
                  </a:cubicBezTo>
                  <a:cubicBezTo>
                    <a:pt x="7" y="16"/>
                    <a:pt x="7" y="16"/>
                    <a:pt x="7" y="16"/>
                  </a:cubicBezTo>
                  <a:cubicBezTo>
                    <a:pt x="0" y="11"/>
                    <a:pt x="0" y="11"/>
                    <a:pt x="0" y="11"/>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5" name="Freeform 79"/>
            <p:cNvSpPr>
              <a:spLocks/>
            </p:cNvSpPr>
            <p:nvPr userDrawn="1"/>
          </p:nvSpPr>
          <p:spPr bwMode="auto">
            <a:xfrm>
              <a:off x="8142288" y="4883151"/>
              <a:ext cx="236537" cy="304800"/>
            </a:xfrm>
            <a:custGeom>
              <a:avLst/>
              <a:gdLst>
                <a:gd name="T0" fmla="*/ 90 w 94"/>
                <a:gd name="T1" fmla="*/ 107 h 122"/>
                <a:gd name="T2" fmla="*/ 94 w 94"/>
                <a:gd name="T3" fmla="*/ 122 h 122"/>
                <a:gd name="T4" fmla="*/ 17 w 94"/>
                <a:gd name="T5" fmla="*/ 98 h 122"/>
                <a:gd name="T6" fmla="*/ 49 w 94"/>
                <a:gd name="T7" fmla="*/ 4 h 122"/>
                <a:gd name="T8" fmla="*/ 67 w 94"/>
                <a:gd name="T9" fmla="*/ 11 h 122"/>
                <a:gd name="T10" fmla="*/ 45 w 94"/>
                <a:gd name="T11" fmla="*/ 77 h 122"/>
                <a:gd name="T12" fmla="*/ 90 w 94"/>
                <a:gd name="T13" fmla="*/ 107 h 122"/>
              </a:gdLst>
              <a:ahLst/>
              <a:cxnLst>
                <a:cxn ang="0">
                  <a:pos x="T0" y="T1"/>
                </a:cxn>
                <a:cxn ang="0">
                  <a:pos x="T2" y="T3"/>
                </a:cxn>
                <a:cxn ang="0">
                  <a:pos x="T4" y="T5"/>
                </a:cxn>
                <a:cxn ang="0">
                  <a:pos x="T6" y="T7"/>
                </a:cxn>
                <a:cxn ang="0">
                  <a:pos x="T8" y="T9"/>
                </a:cxn>
                <a:cxn ang="0">
                  <a:pos x="T10" y="T11"/>
                </a:cxn>
                <a:cxn ang="0">
                  <a:pos x="T12" y="T13"/>
                </a:cxn>
              </a:cxnLst>
              <a:rect l="0" t="0" r="r" b="b"/>
              <a:pathLst>
                <a:path w="94" h="122">
                  <a:moveTo>
                    <a:pt x="90" y="107"/>
                  </a:moveTo>
                  <a:cubicBezTo>
                    <a:pt x="94" y="122"/>
                    <a:pt x="94" y="122"/>
                    <a:pt x="94" y="122"/>
                  </a:cubicBezTo>
                  <a:cubicBezTo>
                    <a:pt x="94" y="122"/>
                    <a:pt x="31" y="116"/>
                    <a:pt x="17" y="98"/>
                  </a:cubicBezTo>
                  <a:cubicBezTo>
                    <a:pt x="0" y="78"/>
                    <a:pt x="25" y="14"/>
                    <a:pt x="49" y="4"/>
                  </a:cubicBezTo>
                  <a:cubicBezTo>
                    <a:pt x="58" y="0"/>
                    <a:pt x="64" y="4"/>
                    <a:pt x="67" y="11"/>
                  </a:cubicBezTo>
                  <a:cubicBezTo>
                    <a:pt x="74" y="26"/>
                    <a:pt x="45" y="77"/>
                    <a:pt x="45" y="77"/>
                  </a:cubicBezTo>
                  <a:lnTo>
                    <a:pt x="9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36" name="Freeform 80"/>
            <p:cNvSpPr>
              <a:spLocks/>
            </p:cNvSpPr>
            <p:nvPr userDrawn="1"/>
          </p:nvSpPr>
          <p:spPr bwMode="auto">
            <a:xfrm>
              <a:off x="8518525" y="4565651"/>
              <a:ext cx="209550" cy="188913"/>
            </a:xfrm>
            <a:custGeom>
              <a:avLst/>
              <a:gdLst>
                <a:gd name="T0" fmla="*/ 19 w 132"/>
                <a:gd name="T1" fmla="*/ 119 h 119"/>
                <a:gd name="T2" fmla="*/ 132 w 132"/>
                <a:gd name="T3" fmla="*/ 97 h 119"/>
                <a:gd name="T4" fmla="*/ 82 w 132"/>
                <a:gd name="T5" fmla="*/ 0 h 119"/>
                <a:gd name="T6" fmla="*/ 0 w 132"/>
                <a:gd name="T7" fmla="*/ 80 h 119"/>
                <a:gd name="T8" fmla="*/ 16 w 132"/>
                <a:gd name="T9" fmla="*/ 112 h 119"/>
                <a:gd name="T10" fmla="*/ 19 w 132"/>
                <a:gd name="T11" fmla="*/ 119 h 119"/>
              </a:gdLst>
              <a:ahLst/>
              <a:cxnLst>
                <a:cxn ang="0">
                  <a:pos x="T0" y="T1"/>
                </a:cxn>
                <a:cxn ang="0">
                  <a:pos x="T2" y="T3"/>
                </a:cxn>
                <a:cxn ang="0">
                  <a:pos x="T4" y="T5"/>
                </a:cxn>
                <a:cxn ang="0">
                  <a:pos x="T6" y="T7"/>
                </a:cxn>
                <a:cxn ang="0">
                  <a:pos x="T8" y="T9"/>
                </a:cxn>
                <a:cxn ang="0">
                  <a:pos x="T10" y="T11"/>
                </a:cxn>
              </a:cxnLst>
              <a:rect l="0" t="0" r="r" b="b"/>
              <a:pathLst>
                <a:path w="132" h="119">
                  <a:moveTo>
                    <a:pt x="19" y="119"/>
                  </a:moveTo>
                  <a:lnTo>
                    <a:pt x="132" y="97"/>
                  </a:lnTo>
                  <a:lnTo>
                    <a:pt x="82" y="0"/>
                  </a:lnTo>
                  <a:lnTo>
                    <a:pt x="0" y="80"/>
                  </a:lnTo>
                  <a:lnTo>
                    <a:pt x="16" y="112"/>
                  </a:lnTo>
                  <a:lnTo>
                    <a:pt x="19" y="119"/>
                  </a:ln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7" name="Freeform 81"/>
            <p:cNvSpPr>
              <a:spLocks/>
            </p:cNvSpPr>
            <p:nvPr userDrawn="1"/>
          </p:nvSpPr>
          <p:spPr bwMode="auto">
            <a:xfrm>
              <a:off x="8740775" y="4667251"/>
              <a:ext cx="100012" cy="28575"/>
            </a:xfrm>
            <a:custGeom>
              <a:avLst/>
              <a:gdLst>
                <a:gd name="T0" fmla="*/ 38 w 40"/>
                <a:gd name="T1" fmla="*/ 0 h 11"/>
                <a:gd name="T2" fmla="*/ 40 w 40"/>
                <a:gd name="T3" fmla="*/ 2 h 11"/>
                <a:gd name="T4" fmla="*/ 38 w 40"/>
                <a:gd name="T5" fmla="*/ 4 h 11"/>
                <a:gd name="T6" fmla="*/ 2 w 40"/>
                <a:gd name="T7" fmla="*/ 10 h 11"/>
                <a:gd name="T8" fmla="*/ 0 w 40"/>
                <a:gd name="T9" fmla="*/ 9 h 11"/>
                <a:gd name="T10" fmla="*/ 1 w 40"/>
                <a:gd name="T11" fmla="*/ 7 h 11"/>
                <a:gd name="T12" fmla="*/ 38 w 40"/>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0" h="11">
                  <a:moveTo>
                    <a:pt x="38" y="0"/>
                  </a:moveTo>
                  <a:cubicBezTo>
                    <a:pt x="39" y="0"/>
                    <a:pt x="40" y="1"/>
                    <a:pt x="40" y="2"/>
                  </a:cubicBezTo>
                  <a:cubicBezTo>
                    <a:pt x="40" y="3"/>
                    <a:pt x="39" y="4"/>
                    <a:pt x="38" y="4"/>
                  </a:cubicBezTo>
                  <a:cubicBezTo>
                    <a:pt x="2" y="10"/>
                    <a:pt x="2" y="10"/>
                    <a:pt x="2" y="10"/>
                  </a:cubicBezTo>
                  <a:cubicBezTo>
                    <a:pt x="1" y="11"/>
                    <a:pt x="0" y="10"/>
                    <a:pt x="0" y="9"/>
                  </a:cubicBezTo>
                  <a:cubicBezTo>
                    <a:pt x="0" y="8"/>
                    <a:pt x="0" y="7"/>
                    <a:pt x="1" y="7"/>
                  </a:cubicBezTo>
                  <a:lnTo>
                    <a:pt x="3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8" name="Freeform 82"/>
            <p:cNvSpPr>
              <a:spLocks/>
            </p:cNvSpPr>
            <p:nvPr userDrawn="1"/>
          </p:nvSpPr>
          <p:spPr bwMode="auto">
            <a:xfrm>
              <a:off x="8718550" y="4575176"/>
              <a:ext cx="90487" cy="57150"/>
            </a:xfrm>
            <a:custGeom>
              <a:avLst/>
              <a:gdLst>
                <a:gd name="T0" fmla="*/ 33 w 36"/>
                <a:gd name="T1" fmla="*/ 1 h 23"/>
                <a:gd name="T2" fmla="*/ 35 w 36"/>
                <a:gd name="T3" fmla="*/ 1 h 23"/>
                <a:gd name="T4" fmla="*/ 35 w 36"/>
                <a:gd name="T5" fmla="*/ 4 h 23"/>
                <a:gd name="T6" fmla="*/ 3 w 36"/>
                <a:gd name="T7" fmla="*/ 22 h 23"/>
                <a:gd name="T8" fmla="*/ 0 w 36"/>
                <a:gd name="T9" fmla="*/ 22 h 23"/>
                <a:gd name="T10" fmla="*/ 1 w 36"/>
                <a:gd name="T11" fmla="*/ 19 h 23"/>
                <a:gd name="T12" fmla="*/ 33 w 36"/>
                <a:gd name="T13" fmla="*/ 1 h 23"/>
              </a:gdLst>
              <a:ahLst/>
              <a:cxnLst>
                <a:cxn ang="0">
                  <a:pos x="T0" y="T1"/>
                </a:cxn>
                <a:cxn ang="0">
                  <a:pos x="T2" y="T3"/>
                </a:cxn>
                <a:cxn ang="0">
                  <a:pos x="T4" y="T5"/>
                </a:cxn>
                <a:cxn ang="0">
                  <a:pos x="T6" y="T7"/>
                </a:cxn>
                <a:cxn ang="0">
                  <a:pos x="T8" y="T9"/>
                </a:cxn>
                <a:cxn ang="0">
                  <a:pos x="T10" y="T11"/>
                </a:cxn>
                <a:cxn ang="0">
                  <a:pos x="T12" y="T13"/>
                </a:cxn>
              </a:cxnLst>
              <a:rect l="0" t="0" r="r" b="b"/>
              <a:pathLst>
                <a:path w="36" h="23">
                  <a:moveTo>
                    <a:pt x="33" y="1"/>
                  </a:moveTo>
                  <a:cubicBezTo>
                    <a:pt x="34" y="0"/>
                    <a:pt x="35" y="0"/>
                    <a:pt x="35" y="1"/>
                  </a:cubicBezTo>
                  <a:cubicBezTo>
                    <a:pt x="36" y="2"/>
                    <a:pt x="35" y="3"/>
                    <a:pt x="35" y="4"/>
                  </a:cubicBezTo>
                  <a:cubicBezTo>
                    <a:pt x="3" y="22"/>
                    <a:pt x="3" y="22"/>
                    <a:pt x="3" y="22"/>
                  </a:cubicBezTo>
                  <a:cubicBezTo>
                    <a:pt x="2" y="23"/>
                    <a:pt x="1" y="23"/>
                    <a:pt x="0" y="22"/>
                  </a:cubicBezTo>
                  <a:cubicBezTo>
                    <a:pt x="0" y="21"/>
                    <a:pt x="0" y="20"/>
                    <a:pt x="1" y="19"/>
                  </a:cubicBezTo>
                  <a:lnTo>
                    <a:pt x="33" y="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39" name="Freeform 83"/>
            <p:cNvSpPr>
              <a:spLocks/>
            </p:cNvSpPr>
            <p:nvPr userDrawn="1"/>
          </p:nvSpPr>
          <p:spPr bwMode="auto">
            <a:xfrm>
              <a:off x="8675688" y="4500563"/>
              <a:ext cx="68262" cy="82550"/>
            </a:xfrm>
            <a:custGeom>
              <a:avLst/>
              <a:gdLst>
                <a:gd name="T0" fmla="*/ 24 w 27"/>
                <a:gd name="T1" fmla="*/ 1 h 33"/>
                <a:gd name="T2" fmla="*/ 27 w 27"/>
                <a:gd name="T3" fmla="*/ 1 h 33"/>
                <a:gd name="T4" fmla="*/ 27 w 27"/>
                <a:gd name="T5" fmla="*/ 3 h 33"/>
                <a:gd name="T6" fmla="*/ 3 w 27"/>
                <a:gd name="T7" fmla="*/ 32 h 33"/>
                <a:gd name="T8" fmla="*/ 1 w 27"/>
                <a:gd name="T9" fmla="*/ 32 h 33"/>
                <a:gd name="T10" fmla="*/ 1 w 27"/>
                <a:gd name="T11" fmla="*/ 29 h 33"/>
                <a:gd name="T12" fmla="*/ 24 w 27"/>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27" h="33">
                  <a:moveTo>
                    <a:pt x="24" y="1"/>
                  </a:moveTo>
                  <a:cubicBezTo>
                    <a:pt x="25" y="0"/>
                    <a:pt x="26" y="0"/>
                    <a:pt x="27" y="1"/>
                  </a:cubicBezTo>
                  <a:cubicBezTo>
                    <a:pt x="27" y="1"/>
                    <a:pt x="27" y="3"/>
                    <a:pt x="27" y="3"/>
                  </a:cubicBezTo>
                  <a:cubicBezTo>
                    <a:pt x="3" y="32"/>
                    <a:pt x="3" y="32"/>
                    <a:pt x="3" y="32"/>
                  </a:cubicBezTo>
                  <a:cubicBezTo>
                    <a:pt x="3" y="33"/>
                    <a:pt x="2" y="33"/>
                    <a:pt x="1" y="32"/>
                  </a:cubicBezTo>
                  <a:cubicBezTo>
                    <a:pt x="0" y="31"/>
                    <a:pt x="0" y="30"/>
                    <a:pt x="1" y="29"/>
                  </a:cubicBezTo>
                  <a:lnTo>
                    <a:pt x="24" y="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0" name="Oval 84"/>
            <p:cNvSpPr>
              <a:spLocks noChangeArrowheads="1"/>
            </p:cNvSpPr>
            <p:nvPr userDrawn="1"/>
          </p:nvSpPr>
          <p:spPr bwMode="auto">
            <a:xfrm>
              <a:off x="8501063" y="4687888"/>
              <a:ext cx="69850" cy="69850"/>
            </a:xfrm>
            <a:prstGeom prst="ellipse">
              <a:avLst/>
            </a:prstGeom>
            <a:solidFill>
              <a:srgbClr val="01D1D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1" name="Freeform 85"/>
            <p:cNvSpPr>
              <a:spLocks/>
            </p:cNvSpPr>
            <p:nvPr userDrawn="1"/>
          </p:nvSpPr>
          <p:spPr bwMode="auto">
            <a:xfrm>
              <a:off x="8543925" y="4740276"/>
              <a:ext cx="57150" cy="74613"/>
            </a:xfrm>
            <a:custGeom>
              <a:avLst/>
              <a:gdLst>
                <a:gd name="T0" fmla="*/ 22 w 36"/>
                <a:gd name="T1" fmla="*/ 47 h 47"/>
                <a:gd name="T2" fmla="*/ 36 w 36"/>
                <a:gd name="T3" fmla="*/ 43 h 47"/>
                <a:gd name="T4" fmla="*/ 20 w 36"/>
                <a:gd name="T5" fmla="*/ 0 h 47"/>
                <a:gd name="T6" fmla="*/ 0 w 36"/>
                <a:gd name="T7" fmla="*/ 3 h 47"/>
                <a:gd name="T8" fmla="*/ 22 w 36"/>
                <a:gd name="T9" fmla="*/ 47 h 47"/>
              </a:gdLst>
              <a:ahLst/>
              <a:cxnLst>
                <a:cxn ang="0">
                  <a:pos x="T0" y="T1"/>
                </a:cxn>
                <a:cxn ang="0">
                  <a:pos x="T2" y="T3"/>
                </a:cxn>
                <a:cxn ang="0">
                  <a:pos x="T4" y="T5"/>
                </a:cxn>
                <a:cxn ang="0">
                  <a:pos x="T6" y="T7"/>
                </a:cxn>
                <a:cxn ang="0">
                  <a:pos x="T8" y="T9"/>
                </a:cxn>
              </a:cxnLst>
              <a:rect l="0" t="0" r="r" b="b"/>
              <a:pathLst>
                <a:path w="36" h="47">
                  <a:moveTo>
                    <a:pt x="22" y="47"/>
                  </a:moveTo>
                  <a:lnTo>
                    <a:pt x="36" y="43"/>
                  </a:lnTo>
                  <a:lnTo>
                    <a:pt x="20" y="0"/>
                  </a:lnTo>
                  <a:lnTo>
                    <a:pt x="0" y="3"/>
                  </a:lnTo>
                  <a:lnTo>
                    <a:pt x="22" y="47"/>
                  </a:ln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42" name="Freeform 86"/>
            <p:cNvSpPr>
              <a:spLocks/>
            </p:cNvSpPr>
            <p:nvPr userDrawn="1"/>
          </p:nvSpPr>
          <p:spPr bwMode="auto">
            <a:xfrm>
              <a:off x="8562975" y="4752976"/>
              <a:ext cx="52387" cy="65088"/>
            </a:xfrm>
            <a:custGeom>
              <a:avLst/>
              <a:gdLst>
                <a:gd name="T0" fmla="*/ 13 w 21"/>
                <a:gd name="T1" fmla="*/ 2 h 26"/>
                <a:gd name="T2" fmla="*/ 1 w 21"/>
                <a:gd name="T3" fmla="*/ 16 h 26"/>
                <a:gd name="T4" fmla="*/ 6 w 21"/>
                <a:gd name="T5" fmla="*/ 26 h 26"/>
                <a:gd name="T6" fmla="*/ 18 w 21"/>
                <a:gd name="T7" fmla="*/ 24 h 26"/>
                <a:gd name="T8" fmla="*/ 13 w 21"/>
                <a:gd name="T9" fmla="*/ 2 h 26"/>
              </a:gdLst>
              <a:ahLst/>
              <a:cxnLst>
                <a:cxn ang="0">
                  <a:pos x="T0" y="T1"/>
                </a:cxn>
                <a:cxn ang="0">
                  <a:pos x="T2" y="T3"/>
                </a:cxn>
                <a:cxn ang="0">
                  <a:pos x="T4" y="T5"/>
                </a:cxn>
                <a:cxn ang="0">
                  <a:pos x="T6" y="T7"/>
                </a:cxn>
                <a:cxn ang="0">
                  <a:pos x="T8" y="T9"/>
                </a:cxn>
              </a:cxnLst>
              <a:rect l="0" t="0" r="r" b="b"/>
              <a:pathLst>
                <a:path w="21" h="26">
                  <a:moveTo>
                    <a:pt x="13" y="2"/>
                  </a:moveTo>
                  <a:cubicBezTo>
                    <a:pt x="13" y="2"/>
                    <a:pt x="0" y="13"/>
                    <a:pt x="1" y="16"/>
                  </a:cubicBezTo>
                  <a:cubicBezTo>
                    <a:pt x="2" y="20"/>
                    <a:pt x="6" y="26"/>
                    <a:pt x="6" y="26"/>
                  </a:cubicBezTo>
                  <a:cubicBezTo>
                    <a:pt x="18" y="24"/>
                    <a:pt x="18" y="24"/>
                    <a:pt x="18" y="24"/>
                  </a:cubicBezTo>
                  <a:cubicBezTo>
                    <a:pt x="18" y="24"/>
                    <a:pt x="21" y="0"/>
                    <a:pt x="13" y="2"/>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sz="1544"/>
            </a:p>
          </p:txBody>
        </p:sp>
        <p:sp>
          <p:nvSpPr>
            <p:cNvPr id="155" name="Freeform 96"/>
            <p:cNvSpPr>
              <a:spLocks/>
            </p:cNvSpPr>
            <p:nvPr userDrawn="1"/>
          </p:nvSpPr>
          <p:spPr bwMode="auto">
            <a:xfrm>
              <a:off x="9510713" y="4275138"/>
              <a:ext cx="279400" cy="279400"/>
            </a:xfrm>
            <a:custGeom>
              <a:avLst/>
              <a:gdLst>
                <a:gd name="T0" fmla="*/ 82 w 112"/>
                <a:gd name="T1" fmla="*/ 98 h 112"/>
                <a:gd name="T2" fmla="*/ 14 w 112"/>
                <a:gd name="T3" fmla="*/ 81 h 112"/>
                <a:gd name="T4" fmla="*/ 30 w 112"/>
                <a:gd name="T5" fmla="*/ 14 h 112"/>
                <a:gd name="T6" fmla="*/ 98 w 112"/>
                <a:gd name="T7" fmla="*/ 30 h 112"/>
                <a:gd name="T8" fmla="*/ 82 w 112"/>
                <a:gd name="T9" fmla="*/ 98 h 112"/>
              </a:gdLst>
              <a:ahLst/>
              <a:cxnLst>
                <a:cxn ang="0">
                  <a:pos x="T0" y="T1"/>
                </a:cxn>
                <a:cxn ang="0">
                  <a:pos x="T2" y="T3"/>
                </a:cxn>
                <a:cxn ang="0">
                  <a:pos x="T4" y="T5"/>
                </a:cxn>
                <a:cxn ang="0">
                  <a:pos x="T6" y="T7"/>
                </a:cxn>
                <a:cxn ang="0">
                  <a:pos x="T8" y="T9"/>
                </a:cxn>
              </a:cxnLst>
              <a:rect l="0" t="0" r="r" b="b"/>
              <a:pathLst>
                <a:path w="112" h="112">
                  <a:moveTo>
                    <a:pt x="82" y="98"/>
                  </a:moveTo>
                  <a:cubicBezTo>
                    <a:pt x="58" y="112"/>
                    <a:pt x="28" y="104"/>
                    <a:pt x="14" y="81"/>
                  </a:cubicBezTo>
                  <a:cubicBezTo>
                    <a:pt x="0" y="58"/>
                    <a:pt x="7" y="28"/>
                    <a:pt x="30" y="14"/>
                  </a:cubicBezTo>
                  <a:cubicBezTo>
                    <a:pt x="54" y="0"/>
                    <a:pt x="84" y="7"/>
                    <a:pt x="98" y="30"/>
                  </a:cubicBezTo>
                  <a:cubicBezTo>
                    <a:pt x="112" y="53"/>
                    <a:pt x="105" y="84"/>
                    <a:pt x="82"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57" name="Freeform 97"/>
            <p:cNvSpPr>
              <a:spLocks/>
            </p:cNvSpPr>
            <p:nvPr userDrawn="1"/>
          </p:nvSpPr>
          <p:spPr bwMode="auto">
            <a:xfrm>
              <a:off x="9545638" y="4310063"/>
              <a:ext cx="209550" cy="209550"/>
            </a:xfrm>
            <a:custGeom>
              <a:avLst/>
              <a:gdLst>
                <a:gd name="T0" fmla="*/ 61 w 84"/>
                <a:gd name="T1" fmla="*/ 73 h 84"/>
                <a:gd name="T2" fmla="*/ 10 w 84"/>
                <a:gd name="T3" fmla="*/ 61 h 84"/>
                <a:gd name="T4" fmla="*/ 23 w 84"/>
                <a:gd name="T5" fmla="*/ 10 h 84"/>
                <a:gd name="T6" fmla="*/ 74 w 84"/>
                <a:gd name="T7" fmla="*/ 23 h 84"/>
                <a:gd name="T8" fmla="*/ 61 w 84"/>
                <a:gd name="T9" fmla="*/ 73 h 84"/>
              </a:gdLst>
              <a:ahLst/>
              <a:cxnLst>
                <a:cxn ang="0">
                  <a:pos x="T0" y="T1"/>
                </a:cxn>
                <a:cxn ang="0">
                  <a:pos x="T2" y="T3"/>
                </a:cxn>
                <a:cxn ang="0">
                  <a:pos x="T4" y="T5"/>
                </a:cxn>
                <a:cxn ang="0">
                  <a:pos x="T6" y="T7"/>
                </a:cxn>
                <a:cxn ang="0">
                  <a:pos x="T8" y="T9"/>
                </a:cxn>
              </a:cxnLst>
              <a:rect l="0" t="0" r="r" b="b"/>
              <a:pathLst>
                <a:path w="84" h="84">
                  <a:moveTo>
                    <a:pt x="61" y="73"/>
                  </a:moveTo>
                  <a:cubicBezTo>
                    <a:pt x="44" y="84"/>
                    <a:pt x="21" y="79"/>
                    <a:pt x="10" y="61"/>
                  </a:cubicBezTo>
                  <a:cubicBezTo>
                    <a:pt x="0" y="44"/>
                    <a:pt x="5" y="21"/>
                    <a:pt x="23" y="10"/>
                  </a:cubicBezTo>
                  <a:cubicBezTo>
                    <a:pt x="40" y="0"/>
                    <a:pt x="63" y="5"/>
                    <a:pt x="74" y="23"/>
                  </a:cubicBezTo>
                  <a:cubicBezTo>
                    <a:pt x="84" y="40"/>
                    <a:pt x="79" y="63"/>
                    <a:pt x="61" y="7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60" name="Freeform 98"/>
            <p:cNvSpPr>
              <a:spLocks/>
            </p:cNvSpPr>
            <p:nvPr userDrawn="1"/>
          </p:nvSpPr>
          <p:spPr bwMode="auto">
            <a:xfrm>
              <a:off x="9615488" y="4379913"/>
              <a:ext cx="69850" cy="66675"/>
            </a:xfrm>
            <a:custGeom>
              <a:avLst/>
              <a:gdLst>
                <a:gd name="T0" fmla="*/ 14 w 28"/>
                <a:gd name="T1" fmla="*/ 27 h 27"/>
                <a:gd name="T2" fmla="*/ 2 w 28"/>
                <a:gd name="T3" fmla="*/ 21 h 27"/>
                <a:gd name="T4" fmla="*/ 1 w 28"/>
                <a:gd name="T5" fmla="*/ 11 h 27"/>
                <a:gd name="T6" fmla="*/ 7 w 28"/>
                <a:gd name="T7" fmla="*/ 2 h 27"/>
                <a:gd name="T8" fmla="*/ 14 w 28"/>
                <a:gd name="T9" fmla="*/ 0 h 27"/>
                <a:gd name="T10" fmla="*/ 26 w 28"/>
                <a:gd name="T11" fmla="*/ 7 h 27"/>
                <a:gd name="T12" fmla="*/ 27 w 28"/>
                <a:gd name="T13" fmla="*/ 17 h 27"/>
                <a:gd name="T14" fmla="*/ 21 w 28"/>
                <a:gd name="T15" fmla="*/ 25 h 27"/>
                <a:gd name="T16" fmla="*/ 14 w 28"/>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14" y="27"/>
                  </a:moveTo>
                  <a:cubicBezTo>
                    <a:pt x="9" y="27"/>
                    <a:pt x="5" y="25"/>
                    <a:pt x="2" y="21"/>
                  </a:cubicBezTo>
                  <a:cubicBezTo>
                    <a:pt x="0" y="18"/>
                    <a:pt x="0" y="14"/>
                    <a:pt x="1" y="11"/>
                  </a:cubicBezTo>
                  <a:cubicBezTo>
                    <a:pt x="2" y="7"/>
                    <a:pt x="4" y="4"/>
                    <a:pt x="7" y="2"/>
                  </a:cubicBezTo>
                  <a:cubicBezTo>
                    <a:pt x="9" y="1"/>
                    <a:pt x="11" y="0"/>
                    <a:pt x="14" y="0"/>
                  </a:cubicBezTo>
                  <a:cubicBezTo>
                    <a:pt x="19" y="0"/>
                    <a:pt x="23" y="3"/>
                    <a:pt x="26" y="7"/>
                  </a:cubicBezTo>
                  <a:cubicBezTo>
                    <a:pt x="28" y="10"/>
                    <a:pt x="28" y="13"/>
                    <a:pt x="27" y="17"/>
                  </a:cubicBezTo>
                  <a:cubicBezTo>
                    <a:pt x="26" y="21"/>
                    <a:pt x="24" y="24"/>
                    <a:pt x="21" y="25"/>
                  </a:cubicBezTo>
                  <a:cubicBezTo>
                    <a:pt x="19" y="27"/>
                    <a:pt x="16" y="27"/>
                    <a:pt x="14"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sp>
        <p:nvSpPr>
          <p:cNvPr id="3"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0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64262"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8" name="Retângulo 43">
            <a:extLst>
              <a:ext uri="{FF2B5EF4-FFF2-40B4-BE49-F238E27FC236}">
                <a16:creationId xmlns:a16="http://schemas.microsoft.com/office/drawing/2014/main" id="{834ADCB4-BFB1-450D-8F6D-64217F4CD92C}"/>
              </a:ext>
            </a:extLst>
          </p:cNvPr>
          <p:cNvSpPr/>
          <p:nvPr userDrawn="1"/>
        </p:nvSpPr>
        <p:spPr>
          <a:xfrm>
            <a:off x="1568318" y="6615687"/>
            <a:ext cx="1643079" cy="100027"/>
          </a:xfrm>
          <a:prstGeom prst="rect">
            <a:avLst/>
          </a:prstGeom>
        </p:spPr>
        <p:txBody>
          <a:bodyPr wrap="none" lIns="0" tIns="0" rIns="0" bIns="0" anchor="ctr" anchorCtr="0">
            <a:spAutoFit/>
          </a:bodyPr>
          <a:lstStyle/>
          <a:p>
            <a:pPr algn="l">
              <a:lnSpc>
                <a:spcPct val="100000"/>
              </a:lnSpc>
            </a:pPr>
            <a:r>
              <a:rPr lang="en-US" sz="65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557560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3"/>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435483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4720" y="1815353"/>
            <a:ext cx="950625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019592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184721" y="1148607"/>
            <a:ext cx="950625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0125129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184721"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184721"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260138"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2" name="Titre 1"/>
          <p:cNvSpPr>
            <a:spLocks noGrp="1"/>
          </p:cNvSpPr>
          <p:nvPr>
            <p:ph type="title"/>
          </p:nvPr>
        </p:nvSpPr>
        <p:spPr>
          <a:xfrm>
            <a:off x="184721" y="0"/>
            <a:ext cx="9039254"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5260138"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930921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184723"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184723"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3504604"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3504604"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6812102"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6812102"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882828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6" name="Freeform 9"/>
          <p:cNvSpPr>
            <a:spLocks/>
          </p:cNvSpPr>
          <p:nvPr userDrawn="1"/>
        </p:nvSpPr>
        <p:spPr bwMode="auto">
          <a:xfrm>
            <a:off x="-254079" y="0"/>
            <a:ext cx="7117741"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endParaRPr lang="en-US" sz="1544"/>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016896" y="-1634"/>
            <a:ext cx="5889104" cy="6859588"/>
          </a:xfrm>
          <a:prstGeom prst="rect">
            <a:avLst/>
          </a:prstGeom>
          <a:noFill/>
        </p:spPr>
        <p:txBody>
          <a:bodyPr anchor="ctr"/>
          <a:lstStyle>
            <a:lvl1pPr marL="0" indent="0" algn="ctr">
              <a:buNone/>
              <a:defRPr/>
            </a:lvl1pPr>
          </a:lstStyle>
          <a:p>
            <a:r>
              <a:rPr lang="en-US"/>
              <a:t>Click icon to add picture</a:t>
            </a:r>
            <a:endParaRPr lang="pt-PT"/>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847056" y="-1588"/>
            <a:ext cx="8058944"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31490" y="434514"/>
            <a:ext cx="4445990" cy="1698343"/>
          </a:xfrm>
          <a:prstGeom prst="rect">
            <a:avLst/>
          </a:prstGeom>
        </p:spPr>
        <p:txBody>
          <a:bodyPr anchor="b">
            <a:noAutofit/>
          </a:bodyPr>
          <a:lstStyle>
            <a:lvl1pPr marL="0" indent="0">
              <a:lnSpc>
                <a:spcPts val="2438"/>
              </a:lnSpc>
              <a:buNone/>
              <a:defRPr sz="2113">
                <a:solidFill>
                  <a:schemeClr val="bg1"/>
                </a:solidFill>
              </a:defRPr>
            </a:lvl1pPr>
            <a:lvl2pPr marL="371475" indent="0">
              <a:buNone/>
              <a:defRPr sz="4875">
                <a:solidFill>
                  <a:schemeClr val="bg1"/>
                </a:solidFill>
              </a:defRPr>
            </a:lvl2pPr>
          </a:lstStyle>
          <a:p>
            <a:pPr lvl="0"/>
            <a:r>
              <a:rPr lang="en-US"/>
              <a:t>Click to insert section title</a:t>
            </a:r>
            <a:endParaRPr lang="pt-PT"/>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9918526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7474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1510" name="Freeform 6"/>
          <p:cNvSpPr>
            <a:spLocks/>
          </p:cNvSpPr>
          <p:nvPr userDrawn="1"/>
        </p:nvSpPr>
        <p:spPr bwMode="auto">
          <a:xfrm>
            <a:off x="0" y="0"/>
            <a:ext cx="7474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792084" y="0"/>
            <a:ext cx="8431890"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19" y="1815351"/>
            <a:ext cx="950625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792084" y="1148607"/>
            <a:ext cx="888948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742950" cy="914400"/>
          </a:xfrm>
        </p:spPr>
        <p:txBody>
          <a:bodyPr anchor="ctr">
            <a:normAutofit/>
          </a:bodyPr>
          <a:lstStyle>
            <a:lvl1pPr marL="0" indent="0" algn="ctr" defTabSz="742950" rtl="0" eaLnBrk="1" latinLnBrk="0" hangingPunct="1">
              <a:lnSpc>
                <a:spcPct val="90000"/>
              </a:lnSpc>
              <a:spcBef>
                <a:spcPts val="813"/>
              </a:spcBef>
              <a:buFont typeface="Arial" panose="020B0604020202020204" pitchFamily="34" charset="0"/>
              <a:buNone/>
              <a:defRPr lang="en-GB" sz="32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8838475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4228260"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636293" y="5278426"/>
            <a:ext cx="2678526" cy="331986"/>
          </a:xfrm>
          <a:prstGeom prst="rect">
            <a:avLst/>
          </a:prstGeom>
          <a:noFill/>
        </p:spPr>
        <p:txBody>
          <a:bodyPr anchor="ctr">
            <a:noAutofit/>
          </a:bodyPr>
          <a:lstStyle>
            <a:lvl1pPr algn="l">
              <a:defRPr sz="1300" b="1">
                <a:solidFill>
                  <a:schemeClr val="accent2"/>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636293" y="3916351"/>
            <a:ext cx="2678526" cy="412363"/>
          </a:xfrm>
          <a:prstGeom prst="rect">
            <a:avLst/>
          </a:prstGeom>
          <a:noFill/>
        </p:spPr>
        <p:txBody>
          <a:bodyPr anchor="ctr">
            <a:noAutofit/>
          </a:bodyPr>
          <a:lstStyle>
            <a:lvl1pPr algn="l">
              <a:defRPr sz="1625" b="1">
                <a:solidFill>
                  <a:schemeClr val="accent2"/>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635441" y="4344097"/>
            <a:ext cx="2684617" cy="894840"/>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635441" y="5601397"/>
            <a:ext cx="2679377" cy="713864"/>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122218" y="1147034"/>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Tree>
    <p:extLst>
      <p:ext uri="{BB962C8B-B14F-4D97-AF65-F5344CB8AC3E}">
        <p14:creationId xmlns:p14="http://schemas.microsoft.com/office/powerpoint/2010/main" val="26073655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759942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4675006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6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0"/>
            <a:ext cx="9905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sz="1463" dirty="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50" dirty="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1950" dirty="0">
                <a:solidFill>
                  <a:prstClr val="white"/>
                </a:solidFill>
              </a:endParaRPr>
            </a:p>
          </p:txBody>
        </p:sp>
      </p:grpSp>
      <p:sp>
        <p:nvSpPr>
          <p:cNvPr id="15" name="Title Placeholder 1"/>
          <p:cNvSpPr>
            <a:spLocks noGrp="1"/>
          </p:cNvSpPr>
          <p:nvPr>
            <p:ph type="title"/>
            <p:custDataLst>
              <p:tags r:id="rId3"/>
            </p:custDataLst>
          </p:nvPr>
        </p:nvSpPr>
        <p:spPr>
          <a:xfrm>
            <a:off x="2" y="1"/>
            <a:ext cx="9905999" cy="933651"/>
          </a:xfrm>
          <a:prstGeom prst="rect">
            <a:avLst/>
          </a:prstGeom>
          <a:noFill/>
        </p:spPr>
        <p:txBody>
          <a:bodyPr vert="horz" lIns="297529" tIns="33059" rIns="165294" bIns="33059" rtlCol="0" anchor="ctr">
            <a:noAutofit/>
          </a:bodyPr>
          <a:lstStyle>
            <a:lvl1pPr algn="l">
              <a:defRPr sz="2275">
                <a:solidFill>
                  <a:schemeClr val="bg1"/>
                </a:solidFill>
                <a:latin typeface="Arial" panose="020B0604020202020204" pitchFamily="34" charset="0"/>
                <a:cs typeface="Arial" panose="020B0604020202020204" pitchFamily="34" charset="0"/>
              </a:defRPr>
            </a:lvl1pPr>
          </a:lstStyle>
          <a:p>
            <a:endParaRPr lang="en-US" noProof="0" dirty="0"/>
          </a:p>
        </p:txBody>
      </p:sp>
    </p:spTree>
    <p:extLst>
      <p:ext uri="{BB962C8B-B14F-4D97-AF65-F5344CB8AC3E}">
        <p14:creationId xmlns:p14="http://schemas.microsoft.com/office/powerpoint/2010/main" val="3128622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31491" y="2010609"/>
            <a:ext cx="4504135" cy="4442581"/>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5070379" y="2010606"/>
            <a:ext cx="4482111" cy="4441372"/>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1491" y="1420990"/>
            <a:ext cx="4504135"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070379" y="1420990"/>
            <a:ext cx="4482111"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1981"/>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31492" y="6555971"/>
            <a:ext cx="2298568" cy="219456"/>
          </a:xfrm>
          <a:prstGeom prst="rect">
            <a:avLst/>
          </a:prstGeom>
        </p:spPr>
        <p:txBody>
          <a:bodyPr wrap="square" lIns="0" tIns="0" rIns="0" bIns="0" anchor="ctr" anchorCtr="0">
            <a:noAutofit/>
          </a:bodyPr>
          <a:lstStyle/>
          <a:p>
            <a:pPr lvl="0" algn="l" defTabSz="603647">
              <a:lnSpc>
                <a:spcPct val="85000"/>
              </a:lnSpc>
              <a:defRPr/>
            </a:pPr>
            <a:r>
              <a:rPr lang="en-US" sz="528"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107838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546662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31491" y="2439343"/>
            <a:ext cx="4013895" cy="1008112"/>
          </a:xfrm>
          <a:prstGeom prst="rect">
            <a:avLst/>
          </a:prstGeom>
        </p:spPr>
        <p:txBody>
          <a:bodyPr anchor="t">
            <a:noAutofit/>
          </a:bodyPr>
          <a:lstStyle>
            <a:lvl1pPr algn="l">
              <a:lnSpc>
                <a:spcPts val="1097"/>
              </a:lnSpc>
              <a:spcAft>
                <a:spcPts val="366"/>
              </a:spcAft>
              <a:defRPr sz="975">
                <a:solidFill>
                  <a:schemeClr val="bg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1828"/>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9477769" y="6555758"/>
            <a:ext cx="293671"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2771746" y="6555758"/>
            <a:ext cx="1806746" cy="219456"/>
          </a:xfrm>
          <a:prstGeom prst="rect">
            <a:avLst/>
          </a:prstGeom>
        </p:spPr>
        <p:txBody>
          <a:bodyPr wrap="none" lIns="0" tIns="0" rIns="0" bIns="0" anchor="ctr">
            <a:noAutofit/>
          </a:bodyPr>
          <a:lstStyle/>
          <a:p>
            <a:pPr algn="l"/>
            <a:r>
              <a:rPr lang="en-US" sz="48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1341367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157538" y="812801"/>
            <a:ext cx="6748463"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978979"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6209073" y="1917278"/>
            <a:ext cx="3365438" cy="1727749"/>
          </a:xfrm>
          <a:prstGeom prst="rect">
            <a:avLst/>
          </a:prstGeom>
        </p:spPr>
        <p:txBody>
          <a:bodyPr vert="horz" lIns="0" tIns="0" rIns="0" bIns="0" rtlCol="0" anchor="b">
            <a:normAutofit/>
          </a:bodyPr>
          <a:lstStyle>
            <a:lvl1pPr algn="r">
              <a:lnSpc>
                <a:spcPts val="1981"/>
              </a:lnSpc>
              <a:defRPr sz="1717">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6200907" y="3762628"/>
            <a:ext cx="3373604" cy="2186655"/>
          </a:xfrm>
          <a:prstGeom prst="rect">
            <a:avLst/>
          </a:prstGeom>
        </p:spPr>
        <p:txBody>
          <a:bodyPr lIns="0" tIns="0" rIns="0" bIns="0">
            <a:noAutofit/>
          </a:bodyPr>
          <a:lstStyle>
            <a:lvl1pPr algn="r">
              <a:lnSpc>
                <a:spcPct val="100000"/>
              </a:lnSpc>
              <a:defRPr sz="1189">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6467654" y="6555758"/>
            <a:ext cx="1806745" cy="219456"/>
          </a:xfrm>
          <a:prstGeom prst="rect">
            <a:avLst/>
          </a:prstGeom>
        </p:spPr>
        <p:txBody>
          <a:bodyPr wrap="none" lIns="0" tIns="0" rIns="0" bIns="0" anchor="ctr">
            <a:noAutofit/>
          </a:bodyPr>
          <a:lstStyle/>
          <a:p>
            <a:pPr algn="l"/>
            <a:r>
              <a:rPr lang="en-US" sz="528"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7481720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4520423" y="439051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sp>
        <p:nvSpPr>
          <p:cNvPr id="43" name="Oval 20">
            <a:extLst>
              <a:ext uri="{FF2B5EF4-FFF2-40B4-BE49-F238E27FC236}">
                <a16:creationId xmlns:a16="http://schemas.microsoft.com/office/drawing/2014/main" id="{4F0142AD-298C-4A60-9F24-035D4F3F07D0}"/>
              </a:ext>
            </a:extLst>
          </p:cNvPr>
          <p:cNvSpPr/>
          <p:nvPr userDrawn="1"/>
        </p:nvSpPr>
        <p:spPr>
          <a:xfrm>
            <a:off x="4520423" y="1699071"/>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854852"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81078" y="2038472"/>
            <a:ext cx="701401"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6" y="4730487"/>
            <a:ext cx="701401"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7" cy="2993216"/>
          </a:xfrm>
          <a:prstGeom prst="rect">
            <a:avLst/>
          </a:prstGeom>
        </p:spPr>
        <p:txBody>
          <a:bodyPr>
            <a:noAutofit/>
          </a:bodyPr>
          <a:lstStyle>
            <a:lvl1pPr>
              <a:lnSpc>
                <a:spcPts val="1341"/>
              </a:lnSpc>
              <a:defRPr sz="1097"/>
            </a:lvl1pPr>
            <a:lvl2pPr>
              <a:lnSpc>
                <a:spcPts val="1097"/>
              </a:lnSpc>
              <a:buClr>
                <a:schemeClr val="accent3"/>
              </a:buClr>
              <a:defRPr sz="975"/>
            </a:lvl2pPr>
            <a:lvl3pPr>
              <a:lnSpc>
                <a:spcPts val="975"/>
              </a:lnSpc>
              <a:buClr>
                <a:schemeClr val="accent3"/>
              </a:buClr>
              <a:defRPr sz="853"/>
            </a:lvl3pPr>
            <a:lvl4pPr>
              <a:lnSpc>
                <a:spcPts val="853"/>
              </a:lnSpc>
              <a:buClr>
                <a:schemeClr val="accent3"/>
              </a:buClr>
              <a:defRPr sz="731"/>
            </a:lvl4pPr>
            <a:lvl5pPr>
              <a:lnSpc>
                <a:spcPct val="100000"/>
              </a:lnSpc>
              <a:defRPr sz="731"/>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404815"/>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828"/>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59338" y="1338209"/>
            <a:ext cx="3953725"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59338" y="1781428"/>
            <a:ext cx="3953725"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5" y="4030225"/>
            <a:ext cx="3953725"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5" y="4473443"/>
            <a:ext cx="3953725"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77769" y="6555758"/>
            <a:ext cx="293671"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6" cy="219456"/>
          </a:xfrm>
          <a:prstGeom prst="rect">
            <a:avLst/>
          </a:prstGeom>
        </p:spPr>
        <p:txBody>
          <a:bodyPr wrap="none" lIns="0" tIns="0" rIns="0" bIns="0" anchor="ctr">
            <a:noAutofit/>
          </a:bodyPr>
          <a:lstStyle/>
          <a:p>
            <a:pPr algn="l"/>
            <a:r>
              <a:rPr lang="en-US" sz="488" dirty="0">
                <a:solidFill>
                  <a:schemeClr val="bg2">
                    <a:lumMod val="50000"/>
                  </a:schemeClr>
                </a:solidFill>
                <a:cs typeface="Arial" panose="020B0604020202020204" pitchFamily="34" charset="0"/>
              </a:rPr>
              <a:t>© 2019 </a:t>
            </a:r>
            <a:r>
              <a:rPr lang="en-US" sz="488" dirty="0" err="1">
                <a:solidFill>
                  <a:schemeClr val="bg2">
                    <a:lumMod val="50000"/>
                  </a:schemeClr>
                </a:solidFill>
                <a:cs typeface="Arial" panose="020B0604020202020204" pitchFamily="34" charset="0"/>
              </a:rPr>
              <a:t>Capgemini</a:t>
            </a:r>
            <a:r>
              <a:rPr lang="en-US" sz="48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95844842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1" y="1591"/>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351966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561435" y="12684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561435" y="1927538"/>
            <a:ext cx="3013076" cy="555448"/>
          </a:xfrm>
          <a:prstGeom prst="rect">
            <a:avLst/>
          </a:prstGeom>
        </p:spPr>
        <p:txBody>
          <a:bodyPr anchor="ctr">
            <a:noAutofit/>
          </a:bodyPr>
          <a:lstStyle>
            <a:lvl1pPr marL="0" marR="0" indent="0" algn="l" defTabSz="742950" rtl="0" eaLnBrk="1" fontAlgn="auto" latinLnBrk="0" hangingPunct="1">
              <a:lnSpc>
                <a:spcPts val="1300"/>
              </a:lnSpc>
              <a:spcBef>
                <a:spcPts val="0"/>
              </a:spcBef>
              <a:spcAft>
                <a:spcPts val="488"/>
              </a:spcAft>
              <a:buClrTx/>
              <a:buSzTx/>
              <a:buFont typeface="Arial" panose="020B0604020202020204" pitchFamily="34" charset="0"/>
              <a:buNone/>
              <a:tabLs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561435" y="25866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561435" y="324578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561435" y="39049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561435" y="456403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561435" y="52231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561435" y="5882286"/>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a:t>Click to add title</a:t>
            </a:r>
            <a:endParaRPr lang="pt-PT"/>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tângulo 43">
            <a:extLst>
              <a:ext uri="{FF2B5EF4-FFF2-40B4-BE49-F238E27FC236}">
                <a16:creationId xmlns:a16="http://schemas.microsoft.com/office/drawing/2014/main" id="{834ADCB4-BFB1-450D-8F6D-64217F4CD92C}"/>
              </a:ext>
            </a:extLst>
          </p:cNvPr>
          <p:cNvSpPr/>
          <p:nvPr userDrawn="1"/>
        </p:nvSpPr>
        <p:spPr>
          <a:xfrm>
            <a:off x="665039" y="6549351"/>
            <a:ext cx="1806745" cy="219456"/>
          </a:xfrm>
          <a:prstGeom prst="rect">
            <a:avLst/>
          </a:prstGeom>
        </p:spPr>
        <p:txBody>
          <a:bodyPr wrap="none" lIns="0" tIns="0" rIns="0" bIns="0" anchor="ctr">
            <a:noAutofit/>
          </a:bodyPr>
          <a:lstStyle/>
          <a:p>
            <a:pPr algn="l"/>
            <a:r>
              <a:rPr lang="en-US" sz="650" dirty="0">
                <a:solidFill>
                  <a:schemeClr val="tx1"/>
                </a:solidFill>
                <a:cs typeface="Arial" panose="020B0604020202020204" pitchFamily="34" charset="0"/>
              </a:rPr>
              <a:t>© 2019 </a:t>
            </a:r>
            <a:r>
              <a:rPr lang="en-US" sz="650" dirty="0" err="1">
                <a:solidFill>
                  <a:schemeClr val="tx1"/>
                </a:solidFill>
                <a:cs typeface="Arial" panose="020B0604020202020204" pitchFamily="34" charset="0"/>
              </a:rPr>
              <a:t>Capgemini</a:t>
            </a:r>
            <a:r>
              <a:rPr lang="en-US" sz="650" dirty="0">
                <a:solidFill>
                  <a:schemeClr val="tx1"/>
                </a:solidFill>
                <a:cs typeface="Arial" panose="020B0604020202020204" pitchFamily="34" charset="0"/>
              </a:rPr>
              <a:t>. All rights reserved.</a:t>
            </a:r>
          </a:p>
        </p:txBody>
      </p:sp>
    </p:spTree>
    <p:extLst>
      <p:ext uri="{BB962C8B-B14F-4D97-AF65-F5344CB8AC3E}">
        <p14:creationId xmlns:p14="http://schemas.microsoft.com/office/powerpoint/2010/main" val="8726010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4828446"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544"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045466" y="2404111"/>
            <a:ext cx="597198"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grpSp>
      <p:sp>
        <p:nvSpPr>
          <p:cNvPr id="14" name="Rectangle 13"/>
          <p:cNvSpPr/>
          <p:nvPr userDrawn="1"/>
        </p:nvSpPr>
        <p:spPr>
          <a:xfrm>
            <a:off x="5310650" y="2886346"/>
            <a:ext cx="398086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731"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731" kern="1200" dirty="0">
              <a:solidFill>
                <a:schemeClr val="tx1"/>
              </a:solidFill>
              <a:effectLst/>
              <a:latin typeface="+mn-lt"/>
              <a:ea typeface="+mn-ea"/>
              <a:cs typeface="+mn-cs"/>
            </a:endParaRPr>
          </a:p>
        </p:txBody>
      </p:sp>
      <p:sp>
        <p:nvSpPr>
          <p:cNvPr id="15" name="Rectangle 14"/>
          <p:cNvSpPr/>
          <p:nvPr userDrawn="1"/>
        </p:nvSpPr>
        <p:spPr>
          <a:xfrm>
            <a:off x="5310649" y="2507083"/>
            <a:ext cx="1803718" cy="1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dirty="0">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dirty="0">
                <a:solidFill>
                  <a:schemeClr val="tx1"/>
                </a:solidFill>
              </a:rPr>
              <a:t>Learn more about us at</a:t>
            </a:r>
          </a:p>
          <a:p>
            <a:pPr algn="just">
              <a:lnSpc>
                <a:spcPts val="975"/>
              </a:lnSpc>
            </a:pPr>
            <a:r>
              <a:rPr lang="en-US" sz="1138"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58204"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9698"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81192"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92685"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46710" y="3979258"/>
            <a:ext cx="270721" cy="333195"/>
          </a:xfrm>
          <a:prstGeom prst="rect">
            <a:avLst/>
          </a:prstGeom>
          <a:noFill/>
        </p:spPr>
      </p:pic>
      <p:sp>
        <p:nvSpPr>
          <p:cNvPr id="23" name="Rectangle 22"/>
          <p:cNvSpPr/>
          <p:nvPr userDrawn="1"/>
        </p:nvSpPr>
        <p:spPr>
          <a:xfrm>
            <a:off x="346710" y="5846098"/>
            <a:ext cx="3260790" cy="364202"/>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presentation contains information that may be privileged or confidential and is the property of the Capgemini Group.</a:t>
            </a:r>
          </a:p>
          <a:p>
            <a:pPr>
              <a:spcAft>
                <a:spcPts val="488"/>
              </a:spcAft>
            </a:pPr>
            <a:r>
              <a:rPr lang="en-US" sz="65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grpSp>
        <p:nvGrpSpPr>
          <p:cNvPr id="27" name="Groupe 26"/>
          <p:cNvGrpSpPr>
            <a:grpSpLocks noChangeAspect="1"/>
          </p:cNvGrpSpPr>
          <p:nvPr userDrawn="1"/>
        </p:nvGrpSpPr>
        <p:grpSpPr>
          <a:xfrm>
            <a:off x="360750" y="4471814"/>
            <a:ext cx="190125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spTree>
    <p:extLst>
      <p:ext uri="{BB962C8B-B14F-4D97-AF65-F5344CB8AC3E}">
        <p14:creationId xmlns:p14="http://schemas.microsoft.com/office/powerpoint/2010/main" val="296143718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561435" y="126841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561435" y="1927538"/>
            <a:ext cx="3013076" cy="555448"/>
          </a:xfrm>
          <a:prstGeom prst="rect">
            <a:avLst/>
          </a:prstGeom>
        </p:spPr>
        <p:txBody>
          <a:bodyPr anchor="ctr">
            <a:noAutofit/>
          </a:bodyPr>
          <a:lstStyle>
            <a:lvl1pPr marL="0" marR="0" indent="0" algn="l" defTabSz="603647" rtl="0" eaLnBrk="1" fontAlgn="auto" latinLnBrk="0" hangingPunct="1">
              <a:lnSpc>
                <a:spcPts val="1056"/>
              </a:lnSpc>
              <a:spcBef>
                <a:spcPts val="0"/>
              </a:spcBef>
              <a:spcAft>
                <a:spcPts val="397"/>
              </a:spcAft>
              <a:buClrTx/>
              <a:buSzTx/>
              <a:buFont typeface="Arial" panose="020B0604020202020204" pitchFamily="34" charset="0"/>
              <a:buNone/>
              <a:tabLs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marL="0" marR="0" lvl="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a:pPr>
            <a:r>
              <a:rPr lang="en-US"/>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561435" y="258666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561435" y="3245788"/>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561435" y="390491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561435" y="4564038"/>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561435" y="522316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561435" y="5882286"/>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1981"/>
              </a:lnSpc>
            </a:pPr>
            <a:r>
              <a:rPr lang="en-US"/>
              <a:t>Click to add title</a:t>
            </a:r>
            <a:endParaRPr lang="pt-PT"/>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tângulo 43">
            <a:extLst>
              <a:ext uri="{FF2B5EF4-FFF2-40B4-BE49-F238E27FC236}">
                <a16:creationId xmlns:a16="http://schemas.microsoft.com/office/drawing/2014/main" id="{834ADCB4-BFB1-450D-8F6D-64217F4CD92C}"/>
              </a:ext>
            </a:extLst>
          </p:cNvPr>
          <p:cNvSpPr/>
          <p:nvPr userDrawn="1"/>
        </p:nvSpPr>
        <p:spPr>
          <a:xfrm>
            <a:off x="665039" y="6549351"/>
            <a:ext cx="1806745" cy="219456"/>
          </a:xfrm>
          <a:prstGeom prst="rect">
            <a:avLst/>
          </a:prstGeom>
        </p:spPr>
        <p:txBody>
          <a:bodyPr wrap="none" lIns="0" tIns="0" rIns="0" bIns="0" anchor="ctr">
            <a:noAutofit/>
          </a:bodyPr>
          <a:lstStyle/>
          <a:p>
            <a:pPr algn="l"/>
            <a:r>
              <a:rPr lang="en-US" sz="528" dirty="0">
                <a:solidFill>
                  <a:schemeClr val="tx1"/>
                </a:solidFill>
                <a:cs typeface="Arial" panose="020B0604020202020204" pitchFamily="34" charset="0"/>
              </a:rPr>
              <a:t>© 2019 </a:t>
            </a:r>
            <a:r>
              <a:rPr lang="en-US" sz="528" dirty="0" err="1">
                <a:solidFill>
                  <a:schemeClr val="tx1"/>
                </a:solidFill>
                <a:cs typeface="Arial" panose="020B0604020202020204" pitchFamily="34" charset="0"/>
              </a:rPr>
              <a:t>Capgemini</a:t>
            </a:r>
            <a:r>
              <a:rPr lang="en-US" sz="528" dirty="0">
                <a:solidFill>
                  <a:schemeClr val="tx1"/>
                </a:solidFill>
                <a:cs typeface="Arial" panose="020B0604020202020204" pitchFamily="34" charset="0"/>
              </a:rPr>
              <a:t>. All rights reserved.</a:t>
            </a:r>
          </a:p>
        </p:txBody>
      </p:sp>
    </p:spTree>
    <p:extLst>
      <p:ext uri="{BB962C8B-B14F-4D97-AF65-F5344CB8AC3E}">
        <p14:creationId xmlns:p14="http://schemas.microsoft.com/office/powerpoint/2010/main" val="13059181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509474" y="732977"/>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453"/>
              </a:lnSpc>
              <a:defRPr sz="1189"/>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6006117" y="5276724"/>
            <a:ext cx="3568394" cy="729525"/>
          </a:xfrm>
          <a:prstGeom prst="rect">
            <a:avLst/>
          </a:prstGeom>
        </p:spPr>
        <p:txBody>
          <a:bodyPr>
            <a:noAutofit/>
          </a:bodyPr>
          <a:lstStyle>
            <a:lvl1pPr algn="r">
              <a:lnSpc>
                <a:spcPts val="1189"/>
              </a:lnSpc>
              <a:defRPr sz="1056">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6006117" y="4140767"/>
            <a:ext cx="3568394" cy="974725"/>
          </a:xfrm>
          <a:prstGeom prst="rect">
            <a:avLst/>
          </a:prstGeom>
        </p:spPr>
        <p:txBody>
          <a:bodyPr anchor="b">
            <a:noAutofit/>
          </a:bodyPr>
          <a:lstStyle>
            <a:lvl1pPr algn="r">
              <a:lnSpc>
                <a:spcPts val="1981"/>
              </a:lnSpc>
              <a:defRPr sz="1717">
                <a:solidFill>
                  <a:schemeClr val="bg1"/>
                </a:solidFill>
              </a:defRPr>
            </a:lvl1pPr>
          </a:lstStyle>
          <a:p>
            <a:pPr lvl="0"/>
            <a:r>
              <a:rPr lang="en-US"/>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1981"/>
              </a:lnSpc>
            </a:pPr>
            <a:r>
              <a:rPr lang="en-US"/>
              <a:t>Click to add title</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schemeClr val="bg1"/>
                </a:solidFill>
                <a:cs typeface="Arial" panose="020B0604020202020204" pitchFamily="34" charset="0"/>
              </a:rPr>
              <a:t>‹#›</a:t>
            </a:fld>
            <a:endParaRPr lang="en-US" sz="528">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a16="http://schemas.microsoft.com/office/drawing/2014/main" id="{834ADCB4-BFB1-450D-8F6D-64217F4CD92C}"/>
              </a:ext>
            </a:extLst>
          </p:cNvPr>
          <p:cNvSpPr/>
          <p:nvPr userDrawn="1"/>
        </p:nvSpPr>
        <p:spPr>
          <a:xfrm>
            <a:off x="653654" y="6535554"/>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9 </a:t>
            </a:r>
            <a:r>
              <a:rPr lang="en-US" sz="528" dirty="0" err="1">
                <a:solidFill>
                  <a:schemeClr val="bg2">
                    <a:lumMod val="50000"/>
                  </a:schemeClr>
                </a:solidFill>
                <a:cs typeface="Arial" panose="020B0604020202020204" pitchFamily="34" charset="0"/>
              </a:rPr>
              <a:t>Capgemini</a:t>
            </a:r>
            <a:r>
              <a:rPr lang="en-US" sz="52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566075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508799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7122776" y="1370347"/>
            <a:ext cx="2451735" cy="4684811"/>
          </a:xfrm>
          <a:prstGeom prst="rect">
            <a:avLst/>
          </a:prstGeom>
        </p:spPr>
        <p:txBody>
          <a:bodyPr>
            <a:noAutofit/>
          </a:bodyPr>
          <a:lstStyle>
            <a:lvl1pPr marL="188640" marR="0" indent="-188640"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122776" y="948202"/>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384167" y="948202"/>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636293" y="4963915"/>
            <a:ext cx="2678526" cy="331986"/>
          </a:xfrm>
          <a:prstGeom prst="rect">
            <a:avLst/>
          </a:prstGeom>
          <a:noFill/>
        </p:spPr>
        <p:txBody>
          <a:bodyPr anchor="ctr">
            <a:noAutofit/>
          </a:bodyPr>
          <a:lstStyle>
            <a:lvl1pPr algn="l">
              <a:defRPr sz="1056" b="1">
                <a:solidFill>
                  <a:schemeClr val="bg1"/>
                </a:solidFill>
              </a:defRPr>
            </a:lvl1pPr>
            <a:lvl2pPr>
              <a:defRPr sz="925"/>
            </a:lvl2pPr>
            <a:lvl3pPr>
              <a:defRPr sz="792"/>
            </a:lvl3pPr>
            <a:lvl4pPr>
              <a:defRPr sz="726"/>
            </a:lvl4pPr>
            <a:lvl5pPr>
              <a:defRPr sz="726"/>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636293" y="3601842"/>
            <a:ext cx="2678526" cy="412363"/>
          </a:xfrm>
          <a:prstGeom prst="rect">
            <a:avLst/>
          </a:prstGeom>
          <a:noFill/>
        </p:spPr>
        <p:txBody>
          <a:bodyPr anchor="ctr">
            <a:noAutofit/>
          </a:bodyPr>
          <a:lstStyle>
            <a:lvl1pPr algn="l">
              <a:spcAft>
                <a:spcPts val="0"/>
              </a:spcAft>
              <a:defRPr sz="1189" b="1">
                <a:solidFill>
                  <a:schemeClr val="bg1"/>
                </a:solidFill>
              </a:defRPr>
            </a:lvl1pPr>
            <a:lvl2pPr>
              <a:defRPr sz="925"/>
            </a:lvl2pPr>
            <a:lvl3pPr>
              <a:defRPr sz="792"/>
            </a:lvl3pPr>
            <a:lvl4pPr>
              <a:defRPr sz="726"/>
            </a:lvl4pPr>
            <a:lvl5pPr>
              <a:defRPr sz="726"/>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635442" y="4029586"/>
            <a:ext cx="2684617" cy="894840"/>
          </a:xfrm>
          <a:prstGeom prst="rect">
            <a:avLst/>
          </a:prstGeom>
        </p:spPr>
        <p:txBody>
          <a:bodyPr>
            <a:noAutofit/>
          </a:bodyPr>
          <a:lstStyle>
            <a:lvl1pPr>
              <a:lnSpc>
                <a:spcPct val="100000"/>
              </a:lnSpc>
              <a:defRPr sz="925">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635442" y="5286886"/>
            <a:ext cx="2679377" cy="713864"/>
          </a:xfrm>
          <a:prstGeom prst="rect">
            <a:avLst/>
          </a:prstGeom>
        </p:spPr>
        <p:txBody>
          <a:bodyPr>
            <a:noAutofit/>
          </a:bodyPr>
          <a:lstStyle>
            <a:lvl1pPr>
              <a:lnSpc>
                <a:spcPct val="100000"/>
              </a:lnSpc>
              <a:defRPr sz="925">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382441" y="1370346"/>
            <a:ext cx="2451735" cy="1951038"/>
          </a:xfrm>
          <a:prstGeom prst="rect">
            <a:avLst/>
          </a:prstGeom>
        </p:spPr>
        <p:txBody>
          <a:bodyPr>
            <a:noAutofit/>
          </a:bodyPr>
          <a:lstStyle>
            <a:lvl1pPr marL="154056" marR="0" indent="-154056"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393104" y="3683544"/>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391377" y="4105691"/>
            <a:ext cx="2451735" cy="1951038"/>
          </a:xfrm>
          <a:prstGeom prst="rect">
            <a:avLst/>
          </a:prstGeom>
        </p:spPr>
        <p:txBody>
          <a:bodyPr>
            <a:noAutofit/>
          </a:bodyPr>
          <a:lstStyle>
            <a:lvl1pPr marL="188640" marR="0" indent="-188640"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633200" y="6548561"/>
            <a:ext cx="1806745" cy="219456"/>
          </a:xfrm>
          <a:prstGeom prst="rect">
            <a:avLst/>
          </a:prstGeom>
        </p:spPr>
        <p:txBody>
          <a:bodyPr wrap="none" lIns="0" tIns="0" rIns="0" bIns="0" anchor="ctr">
            <a:noAutofit/>
          </a:bodyPr>
          <a:lstStyle/>
          <a:p>
            <a:pPr algn="l"/>
            <a:r>
              <a:rPr lang="en-US" sz="528" dirty="0">
                <a:solidFill>
                  <a:schemeClr val="bg1"/>
                </a:solidFill>
                <a:cs typeface="Arial" panose="020B0604020202020204" pitchFamily="34" charset="0"/>
              </a:rPr>
              <a:t>© 2019 </a:t>
            </a:r>
            <a:r>
              <a:rPr lang="en-US" sz="528" dirty="0" err="1">
                <a:solidFill>
                  <a:schemeClr val="bg1"/>
                </a:solidFill>
                <a:cs typeface="Arial" panose="020B0604020202020204" pitchFamily="34" charset="0"/>
              </a:rPr>
              <a:t>Capgemini</a:t>
            </a:r>
            <a:r>
              <a:rPr lang="en-US" sz="528" dirty="0">
                <a:solidFill>
                  <a:schemeClr val="bg1"/>
                </a:solidFill>
                <a:cs typeface="Arial" panose="020B0604020202020204" pitchFamily="34" charset="0"/>
              </a:rPr>
              <a:t>. All rights reserved.</a:t>
            </a:r>
          </a:p>
        </p:txBody>
      </p:sp>
    </p:spTree>
    <p:extLst>
      <p:ext uri="{BB962C8B-B14F-4D97-AF65-F5344CB8AC3E}">
        <p14:creationId xmlns:p14="http://schemas.microsoft.com/office/powerpoint/2010/main" val="32920705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320"/>
              </a:lnSpc>
              <a:spcAft>
                <a:spcPts val="1189"/>
              </a:spcAft>
              <a:defRPr sz="1056">
                <a:solidFill>
                  <a:schemeClr val="bg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a:t>Click to insert long text</a:t>
            </a:r>
            <a:endParaRPr lang="pt-PT"/>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1981"/>
              </a:lnSpc>
            </a:pPr>
            <a:r>
              <a:rPr lang="en-US"/>
              <a:t>Click to insert title</a:t>
            </a:r>
            <a:endParaRPr lang="pt-PT"/>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schemeClr val="bg1"/>
                </a:solidFill>
                <a:cs typeface="Arial" panose="020B0604020202020204" pitchFamily="34" charset="0"/>
              </a:rPr>
              <a:t>‹#›</a:t>
            </a:fld>
            <a:endParaRPr lang="en-US" sz="528">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726681" y="6517094"/>
            <a:ext cx="1806745" cy="219456"/>
          </a:xfrm>
          <a:prstGeom prst="rect">
            <a:avLst/>
          </a:prstGeom>
        </p:spPr>
        <p:txBody>
          <a:bodyPr wrap="none" lIns="0" tIns="0" rIns="0" bIns="0" anchor="ctr">
            <a:noAutofit/>
          </a:bodyPr>
          <a:lstStyle/>
          <a:p>
            <a:pPr algn="l"/>
            <a:r>
              <a:rPr lang="en-US" sz="528" dirty="0">
                <a:solidFill>
                  <a:schemeClr val="bg1"/>
                </a:solidFill>
                <a:cs typeface="Arial" panose="020B0604020202020204" pitchFamily="34" charset="0"/>
              </a:rPr>
              <a:t>© 2019 </a:t>
            </a:r>
            <a:r>
              <a:rPr lang="en-US" sz="528" dirty="0" err="1">
                <a:solidFill>
                  <a:schemeClr val="bg1"/>
                </a:solidFill>
                <a:cs typeface="Arial" panose="020B0604020202020204" pitchFamily="34" charset="0"/>
              </a:rPr>
              <a:t>Capgemini</a:t>
            </a:r>
            <a:r>
              <a:rPr lang="en-US" sz="528" dirty="0">
                <a:solidFill>
                  <a:schemeClr val="bg1"/>
                </a:solidFill>
                <a:cs typeface="Arial" panose="020B0604020202020204" pitchFamily="34" charset="0"/>
              </a:rPr>
              <a:t>.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7185633"/>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520421" y="4734098"/>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sp>
        <p:nvSpPr>
          <p:cNvPr id="42" name="Oval 20">
            <a:extLst>
              <a:ext uri="{FF2B5EF4-FFF2-40B4-BE49-F238E27FC236}">
                <a16:creationId xmlns:a16="http://schemas.microsoft.com/office/drawing/2014/main" id="{80DEC651-0810-4FD4-A2CA-C54974433D45}"/>
              </a:ext>
            </a:extLst>
          </p:cNvPr>
          <p:cNvSpPr/>
          <p:nvPr userDrawn="1"/>
        </p:nvSpPr>
        <p:spPr>
          <a:xfrm>
            <a:off x="4520421" y="2944152"/>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sp>
        <p:nvSpPr>
          <p:cNvPr id="43" name="Oval 20">
            <a:extLst>
              <a:ext uri="{FF2B5EF4-FFF2-40B4-BE49-F238E27FC236}">
                <a16:creationId xmlns:a16="http://schemas.microsoft.com/office/drawing/2014/main" id="{4F0142AD-298C-4A60-9F24-035D4F3F07D0}"/>
              </a:ext>
            </a:extLst>
          </p:cNvPr>
          <p:cNvSpPr/>
          <p:nvPr userDrawn="1"/>
        </p:nvSpPr>
        <p:spPr>
          <a:xfrm>
            <a:off x="4481869" y="1186059"/>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893217" y="-868972"/>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42525" y="1525460"/>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5" y="3284123"/>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642525" y="5061945"/>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453"/>
              </a:lnSpc>
              <a:defRPr sz="1189"/>
            </a:lvl1pPr>
            <a:lvl2pPr>
              <a:lnSpc>
                <a:spcPts val="1189"/>
              </a:lnSpc>
              <a:buClr>
                <a:schemeClr val="accent3"/>
              </a:buClr>
              <a:defRPr sz="1056"/>
            </a:lvl2pPr>
            <a:lvl3pPr>
              <a:lnSpc>
                <a:spcPts val="1056"/>
              </a:lnSpc>
              <a:buClr>
                <a:schemeClr val="accent3"/>
              </a:buClr>
              <a:defRPr sz="925"/>
            </a:lvl3pPr>
            <a:lvl4pPr>
              <a:lnSpc>
                <a:spcPts val="925"/>
              </a:lnSpc>
              <a:buClr>
                <a:schemeClr val="accent3"/>
              </a:buClr>
              <a:defRPr sz="792"/>
            </a:lvl4pPr>
            <a:lvl5pPr>
              <a:lnSpc>
                <a:spcPct val="100000"/>
              </a:lnSpc>
              <a:defRPr sz="792"/>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5"/>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981"/>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20786" y="825195"/>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20786" y="1268416"/>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6" y="2583861"/>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6" y="3027079"/>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620786" y="4361683"/>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620786" y="4804901"/>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9 </a:t>
            </a:r>
            <a:r>
              <a:rPr lang="en-US" sz="528" dirty="0" err="1">
                <a:solidFill>
                  <a:schemeClr val="bg2">
                    <a:lumMod val="50000"/>
                  </a:schemeClr>
                </a:solidFill>
                <a:cs typeface="Arial" panose="020B0604020202020204" pitchFamily="34" charset="0"/>
              </a:rPr>
              <a:t>Capgemini</a:t>
            </a:r>
            <a:r>
              <a:rPr lang="en-US" sz="52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319144387"/>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31491" y="2439343"/>
            <a:ext cx="4013895" cy="1008112"/>
          </a:xfrm>
          <a:prstGeom prst="rect">
            <a:avLst/>
          </a:prstGeom>
        </p:spPr>
        <p:txBody>
          <a:bodyPr anchor="t">
            <a:noAutofit/>
          </a:bodyPr>
          <a:lstStyle>
            <a:lvl1pPr algn="l">
              <a:lnSpc>
                <a:spcPts val="1189"/>
              </a:lnSpc>
              <a:spcAft>
                <a:spcPts val="397"/>
              </a:spcAft>
              <a:defRPr sz="1056">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6415664" y="140492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6415664" y="5918247"/>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6415664" y="501558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6415664" y="4112916"/>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6415664" y="321025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6415664" y="2307586"/>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1981"/>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2773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31490" y="6555758"/>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9 </a:t>
            </a:r>
            <a:r>
              <a:rPr lang="en-US" sz="528" dirty="0" err="1">
                <a:solidFill>
                  <a:schemeClr val="bg2">
                    <a:lumMod val="50000"/>
                  </a:schemeClr>
                </a:solidFill>
                <a:cs typeface="Arial" panose="020B0604020202020204" pitchFamily="34" charset="0"/>
              </a:rPr>
              <a:t>Capgemini</a:t>
            </a:r>
            <a:r>
              <a:rPr lang="en-US" sz="52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309693456"/>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a:p>
        </p:txBody>
      </p:sp>
      <p:sp>
        <p:nvSpPr>
          <p:cNvPr id="8" name="Freeform 5"/>
          <p:cNvSpPr>
            <a:spLocks/>
          </p:cNvSpPr>
          <p:nvPr userDrawn="1"/>
        </p:nvSpPr>
        <p:spPr bwMode="auto">
          <a:xfrm>
            <a:off x="-1009947" y="-2656920"/>
            <a:ext cx="8749010"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endParaRPr lang="en-US" sz="1255"/>
          </a:p>
        </p:txBody>
      </p:sp>
      <p:grpSp>
        <p:nvGrpSpPr>
          <p:cNvPr id="9" name="Group 8"/>
          <p:cNvGrpSpPr/>
          <p:nvPr userDrawn="1"/>
        </p:nvGrpSpPr>
        <p:grpSpPr>
          <a:xfrm>
            <a:off x="4045466" y="2404113"/>
            <a:ext cx="597198"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5"/>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5"/>
            </a:p>
          </p:txBody>
        </p:sp>
      </p:grpSp>
      <p:sp>
        <p:nvSpPr>
          <p:cNvPr id="14" name="Rectangle 13"/>
          <p:cNvSpPr/>
          <p:nvPr userDrawn="1"/>
        </p:nvSpPr>
        <p:spPr>
          <a:xfrm>
            <a:off x="5310649" y="2886346"/>
            <a:ext cx="416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92"/>
              </a:lnSpc>
            </a:pPr>
            <a:r>
              <a:rPr lang="en-US" sz="594">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594">
                <a:solidFill>
                  <a:schemeClr val="accent1"/>
                </a:solidFill>
              </a:rPr>
              <a:t>the Collaborative Business Experience™</a:t>
            </a:r>
            <a:r>
              <a:rPr lang="en-US" sz="594">
                <a:solidFill>
                  <a:schemeClr val="tx1"/>
                </a:solidFill>
              </a:rPr>
              <a:t>, and draws on </a:t>
            </a:r>
            <a:r>
              <a:rPr lang="en-US" sz="594">
                <a:solidFill>
                  <a:schemeClr val="accent1"/>
                </a:solidFill>
              </a:rPr>
              <a:t>Rightshore</a:t>
            </a:r>
            <a:r>
              <a:rPr lang="en-US" sz="594" baseline="30000">
                <a:solidFill>
                  <a:schemeClr val="accent1"/>
                </a:solidFill>
              </a:rPr>
              <a:t>®</a:t>
            </a:r>
            <a:r>
              <a:rPr lang="en-US" sz="594">
                <a:solidFill>
                  <a:schemeClr val="tx1"/>
                </a:solidFill>
              </a:rPr>
              <a:t>, its worldwide delivery model.</a:t>
            </a:r>
          </a:p>
        </p:txBody>
      </p:sp>
      <p:sp>
        <p:nvSpPr>
          <p:cNvPr id="15" name="Rectangle 14"/>
          <p:cNvSpPr/>
          <p:nvPr userDrawn="1"/>
        </p:nvSpPr>
        <p:spPr>
          <a:xfrm>
            <a:off x="5310649" y="2507084"/>
            <a:ext cx="1803718" cy="149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320"/>
              </a:lnSpc>
            </a:pPr>
            <a:r>
              <a:rPr lang="en-US" sz="925">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92"/>
              </a:lnSpc>
              <a:spcAft>
                <a:spcPts val="397"/>
              </a:spcAft>
            </a:pPr>
            <a:r>
              <a:rPr lang="en-US" sz="594">
                <a:solidFill>
                  <a:schemeClr val="tx1"/>
                </a:solidFill>
              </a:rPr>
              <a:t>Learn more about us at</a:t>
            </a:r>
          </a:p>
          <a:p>
            <a:pPr algn="just">
              <a:lnSpc>
                <a:spcPts val="792"/>
              </a:lnSpc>
            </a:pPr>
            <a:r>
              <a:rPr lang="en-US" sz="925">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48714"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0207"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71701"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83194"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37220" y="3979258"/>
            <a:ext cx="270721" cy="333195"/>
          </a:xfrm>
          <a:prstGeom prst="rect">
            <a:avLst/>
          </a:prstGeom>
          <a:noFill/>
        </p:spPr>
      </p:pic>
      <p:sp>
        <p:nvSpPr>
          <p:cNvPr id="23" name="Rectangle 22"/>
          <p:cNvSpPr/>
          <p:nvPr userDrawn="1"/>
        </p:nvSpPr>
        <p:spPr>
          <a:xfrm>
            <a:off x="337218" y="5834045"/>
            <a:ext cx="3411379" cy="376257"/>
          </a:xfrm>
          <a:prstGeom prst="rect">
            <a:avLst/>
          </a:prstGeom>
        </p:spPr>
        <p:txBody>
          <a:bodyPr wrap="square" lIns="0" tIns="0" rIns="0" bIns="0" anchor="b" anchorCtr="0">
            <a:spAutoFit/>
          </a:bodyPr>
          <a:lstStyle/>
          <a:p>
            <a:pPr>
              <a:spcAft>
                <a:spcPts val="397"/>
              </a:spcAft>
            </a:pPr>
            <a:r>
              <a:rPr lang="en-US" sz="528" noProof="0" dirty="0">
                <a:solidFill>
                  <a:schemeClr val="bg1"/>
                </a:solidFill>
                <a:latin typeface="+mn-lt"/>
                <a:cs typeface="Arial"/>
              </a:rPr>
              <a:t>This message contains information that may be privileged or confidential and is the property of the </a:t>
            </a:r>
            <a:r>
              <a:rPr lang="en-US" sz="528" noProof="0" dirty="0" err="1">
                <a:solidFill>
                  <a:schemeClr val="bg1"/>
                </a:solidFill>
                <a:latin typeface="+mn-lt"/>
                <a:cs typeface="Arial"/>
              </a:rPr>
              <a:t>Capgemini</a:t>
            </a:r>
            <a:r>
              <a:rPr lang="en-US" sz="528" noProof="0" dirty="0">
                <a:solidFill>
                  <a:schemeClr val="bg1"/>
                </a:solidFill>
                <a:latin typeface="+mn-lt"/>
                <a:cs typeface="Arial"/>
              </a:rPr>
              <a:t> Group.</a:t>
            </a:r>
            <a:br>
              <a:rPr lang="en-US" sz="528" noProof="0" dirty="0">
                <a:solidFill>
                  <a:schemeClr val="bg1"/>
                </a:solidFill>
                <a:latin typeface="+mn-lt"/>
                <a:cs typeface="Arial"/>
              </a:rPr>
            </a:br>
            <a:r>
              <a:rPr lang="en-US" sz="528" noProof="0" dirty="0">
                <a:solidFill>
                  <a:schemeClr val="bg1"/>
                </a:solidFill>
                <a:latin typeface="Arial"/>
                <a:cs typeface="Arial"/>
              </a:rPr>
              <a:t>Copyright © 2019 </a:t>
            </a:r>
            <a:r>
              <a:rPr lang="en-US" sz="528" noProof="0" dirty="0" err="1">
                <a:solidFill>
                  <a:schemeClr val="bg1"/>
                </a:solidFill>
                <a:latin typeface="Arial"/>
                <a:cs typeface="Arial"/>
              </a:rPr>
              <a:t>Capgemini</a:t>
            </a:r>
            <a:r>
              <a:rPr lang="en-US" sz="528" noProof="0" dirty="0">
                <a:solidFill>
                  <a:schemeClr val="bg1"/>
                </a:solidFill>
                <a:latin typeface="Arial"/>
                <a:cs typeface="Arial"/>
              </a:rPr>
              <a:t>. All rights reserved.</a:t>
            </a:r>
          </a:p>
          <a:p>
            <a:pPr marL="0" marR="0" indent="0" defTabSz="632269" rtl="0" eaLnBrk="1" fontAlgn="auto" latinLnBrk="0" hangingPunct="1">
              <a:lnSpc>
                <a:spcPct val="100000"/>
              </a:lnSpc>
              <a:spcBef>
                <a:spcPts val="0"/>
              </a:spcBef>
              <a:spcAft>
                <a:spcPts val="397"/>
              </a:spcAft>
              <a:buClrTx/>
              <a:buSzTx/>
              <a:buFontTx/>
              <a:buNone/>
              <a:tabLst/>
              <a:defRPr/>
            </a:pPr>
            <a:r>
              <a:rPr lang="en-US" sz="528" noProof="0" dirty="0" err="1">
                <a:solidFill>
                  <a:schemeClr val="bg1"/>
                </a:solidFill>
                <a:latin typeface="Arial"/>
                <a:cs typeface="Arial"/>
              </a:rPr>
              <a:t>Rightshore</a:t>
            </a:r>
            <a:r>
              <a:rPr lang="en-US" sz="528" baseline="30000" noProof="0" dirty="0">
                <a:solidFill>
                  <a:schemeClr val="bg1"/>
                </a:solidFill>
                <a:latin typeface="Arial"/>
                <a:cs typeface="Arial"/>
              </a:rPr>
              <a:t>®</a:t>
            </a:r>
            <a:r>
              <a:rPr lang="en-US" sz="528" noProof="0" dirty="0">
                <a:solidFill>
                  <a:schemeClr val="bg1"/>
                </a:solidFill>
                <a:latin typeface="Arial"/>
                <a:cs typeface="Arial"/>
              </a:rPr>
              <a:t> is a trademark belonging to </a:t>
            </a:r>
            <a:r>
              <a:rPr lang="en-US" sz="528" noProof="0" dirty="0" err="1">
                <a:solidFill>
                  <a:schemeClr val="bg1"/>
                </a:solidFill>
                <a:latin typeface="Arial"/>
                <a:cs typeface="Arial"/>
              </a:rPr>
              <a:t>Capgemini</a:t>
            </a:r>
            <a:r>
              <a:rPr lang="en-US" sz="528" noProof="0" dirty="0">
                <a:solidFill>
                  <a:schemeClr val="bg1"/>
                </a:solidFill>
                <a:latin typeface="Arial"/>
                <a:cs typeface="Arial"/>
              </a:rPr>
              <a:t>.</a:t>
            </a:r>
          </a:p>
        </p:txBody>
      </p:sp>
      <p:sp>
        <p:nvSpPr>
          <p:cNvPr id="24" name="Rectangle 23"/>
          <p:cNvSpPr/>
          <p:nvPr userDrawn="1"/>
        </p:nvSpPr>
        <p:spPr>
          <a:xfrm>
            <a:off x="5310650" y="6026983"/>
            <a:ext cx="4241005" cy="183320"/>
          </a:xfrm>
          <a:prstGeom prst="rect">
            <a:avLst/>
          </a:prstGeom>
        </p:spPr>
        <p:txBody>
          <a:bodyPr wrap="square" lIns="0" tIns="0" rIns="0" bIns="0" anchor="b" anchorCtr="0">
            <a:spAutoFit/>
          </a:bodyPr>
          <a:lstStyle/>
          <a:p>
            <a:pPr>
              <a:spcAft>
                <a:spcPts val="397"/>
              </a:spcAft>
            </a:pPr>
            <a:r>
              <a:rPr lang="en-US" sz="397">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a:p>
        </p:txBody>
      </p:sp>
      <p:sp>
        <p:nvSpPr>
          <p:cNvPr id="27" name="Rectangle 26">
            <a:hlinkClick r:id="rId14"/>
          </p:cNvPr>
          <p:cNvSpPr/>
          <p:nvPr userDrawn="1"/>
        </p:nvSpPr>
        <p:spPr>
          <a:xfrm>
            <a:off x="5307449" y="4445642"/>
            <a:ext cx="1504474"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1152" y="4434172"/>
            <a:ext cx="2080260" cy="201012"/>
          </a:xfrm>
          <a:prstGeom prst="rect">
            <a:avLst/>
          </a:prstGeom>
        </p:spPr>
      </p:pic>
    </p:spTree>
    <p:extLst>
      <p:ext uri="{BB962C8B-B14F-4D97-AF65-F5344CB8AC3E}">
        <p14:creationId xmlns:p14="http://schemas.microsoft.com/office/powerpoint/2010/main" val="32129809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8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31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30822"/>
            <a:ext cx="9905999" cy="1257300"/>
            <a:chOff x="1" y="0"/>
            <a:chExt cx="12188824" cy="1404524"/>
          </a:xfrm>
          <a:solidFill>
            <a:srgbClr val="691E7C"/>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solidFill>
                  <a:srgbClr val="691E7C"/>
                </a:solidFill>
                <a:round/>
                <a:headEnd/>
                <a:tailEnd/>
              </a:ln>
              <a:effectLst/>
            </p:spPr>
            <p:txBody>
              <a:bodyPr vert="horz" wrap="square" lIns="99563" tIns="49782" rIns="99563" bIns="49782" numCol="1" anchor="t" anchorCtr="0" compatLnSpc="1">
                <a:prstTxWarp prst="textNoShape">
                  <a:avLst/>
                </a:prstTxWarp>
              </a:bodyPr>
              <a:lstStyle/>
              <a:p>
                <a:endParaRPr lang="fr-FR" sz="195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5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solidFill>
                  <a:srgbClr val="691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solidFill>
                <a:srgbClr val="691E7C"/>
              </a:solid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1950">
                <a:solidFill>
                  <a:prstClr val="white"/>
                </a:solidFill>
              </a:endParaRPr>
            </a:p>
          </p:txBody>
        </p:sp>
      </p:grpSp>
      <p:sp>
        <p:nvSpPr>
          <p:cNvPr id="15" name="Title Placeholder 1"/>
          <p:cNvSpPr>
            <a:spLocks noGrp="1"/>
          </p:cNvSpPr>
          <p:nvPr>
            <p:ph type="title"/>
            <p:custDataLst>
              <p:tags r:id="rId3"/>
            </p:custDataLst>
          </p:nvPr>
        </p:nvSpPr>
        <p:spPr>
          <a:xfrm>
            <a:off x="2" y="1"/>
            <a:ext cx="9905999" cy="933651"/>
          </a:xfrm>
          <a:prstGeom prst="rect">
            <a:avLst/>
          </a:prstGeom>
          <a:noFill/>
        </p:spPr>
        <p:txBody>
          <a:bodyPr vert="horz" lIns="297529" tIns="33059" rIns="165294" bIns="33059" rtlCol="0" anchor="ctr">
            <a:noAutofit/>
          </a:bodyPr>
          <a:lstStyle>
            <a:lvl1pPr algn="l">
              <a:defRPr sz="2275">
                <a:solidFill>
                  <a:schemeClr val="bg1"/>
                </a:solidFill>
                <a:latin typeface="Arial" panose="020B0604020202020204" pitchFamily="34" charset="0"/>
                <a:cs typeface="Arial" panose="020B0604020202020204" pitchFamily="34" charset="0"/>
              </a:defRPr>
            </a:lvl1pPr>
          </a:lstStyle>
          <a:p>
            <a:endParaRPr lang="en-US" noProof="0"/>
          </a:p>
        </p:txBody>
      </p:sp>
    </p:spTree>
    <p:extLst>
      <p:ext uri="{BB962C8B-B14F-4D97-AF65-F5344CB8AC3E}">
        <p14:creationId xmlns:p14="http://schemas.microsoft.com/office/powerpoint/2010/main" val="37556082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15918" y="2010608"/>
            <a:ext cx="4504135" cy="4442581"/>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5070379" y="2010606"/>
            <a:ext cx="4482111" cy="4441372"/>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1491" y="1420990"/>
            <a:ext cx="4504135"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070379" y="1420990"/>
            <a:ext cx="4482111"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1981"/>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682970" y="6555758"/>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9 </a:t>
            </a:r>
            <a:r>
              <a:rPr lang="en-US" sz="528" dirty="0" err="1">
                <a:solidFill>
                  <a:schemeClr val="bg2">
                    <a:lumMod val="50000"/>
                  </a:schemeClr>
                </a:solidFill>
                <a:cs typeface="Arial" panose="020B0604020202020204" pitchFamily="34" charset="0"/>
              </a:rPr>
              <a:t>Capgemini</a:t>
            </a:r>
            <a:r>
              <a:rPr lang="en-US" sz="52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054784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509474" y="732975"/>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6006117" y="5276722"/>
            <a:ext cx="3568394"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6006117" y="4140765"/>
            <a:ext cx="3568394" cy="974725"/>
          </a:xfrm>
          <a:prstGeom prst="rect">
            <a:avLst/>
          </a:prstGeom>
        </p:spPr>
        <p:txBody>
          <a:bodyPr anchor="b">
            <a:noAutofit/>
          </a:bodyPr>
          <a:lstStyle>
            <a:lvl1pPr algn="r">
              <a:lnSpc>
                <a:spcPts val="2438"/>
              </a:lnSpc>
              <a:defRPr sz="2113">
                <a:solidFill>
                  <a:schemeClr val="bg1"/>
                </a:solidFill>
              </a:defRPr>
            </a:lvl1pPr>
          </a:lstStyle>
          <a:p>
            <a:pPr lvl="0"/>
            <a:r>
              <a:rPr lang="en-US"/>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a:t>Click to add title</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a16="http://schemas.microsoft.com/office/drawing/2014/main" id="{834ADCB4-BFB1-450D-8F6D-64217F4CD92C}"/>
              </a:ext>
            </a:extLst>
          </p:cNvPr>
          <p:cNvSpPr/>
          <p:nvPr userDrawn="1"/>
        </p:nvSpPr>
        <p:spPr>
          <a:xfrm>
            <a:off x="653653" y="6535554"/>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4393510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a:p>
        </p:txBody>
      </p:sp>
      <p:sp>
        <p:nvSpPr>
          <p:cNvPr id="6" name="Freeform 9"/>
          <p:cNvSpPr>
            <a:spLocks/>
          </p:cNvSpPr>
          <p:nvPr userDrawn="1"/>
        </p:nvSpPr>
        <p:spPr bwMode="auto">
          <a:xfrm>
            <a:off x="-254078" y="0"/>
            <a:ext cx="7117741"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0365" tIns="30183" rIns="60365" bIns="30183" numCol="1" anchor="t" anchorCtr="0" compatLnSpc="1">
            <a:prstTxWarp prst="textNoShape">
              <a:avLst/>
            </a:prstTxWarp>
          </a:bodyPr>
          <a:lstStyle/>
          <a:p>
            <a:endParaRPr lang="en-US" sz="1255"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016896" y="-1634"/>
            <a:ext cx="5889104"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847056" y="-1588"/>
            <a:ext cx="8058944"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31490" y="434516"/>
            <a:ext cx="4445990" cy="1698343"/>
          </a:xfrm>
          <a:prstGeom prst="rect">
            <a:avLst/>
          </a:prstGeom>
        </p:spPr>
        <p:txBody>
          <a:bodyPr anchor="b">
            <a:noAutofit/>
          </a:bodyPr>
          <a:lstStyle>
            <a:lvl1pPr marL="0" indent="0">
              <a:lnSpc>
                <a:spcPts val="1981"/>
              </a:lnSpc>
              <a:buNone/>
              <a:defRPr sz="1717">
                <a:solidFill>
                  <a:schemeClr val="bg1"/>
                </a:solidFill>
              </a:defRPr>
            </a:lvl1pPr>
            <a:lvl2pPr marL="301823" indent="0">
              <a:buNone/>
              <a:defRPr sz="3961">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23572443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03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508799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7122776" y="1370346"/>
            <a:ext cx="2451735" cy="4684811"/>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122776"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384167"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636293" y="4963915"/>
            <a:ext cx="2678526" cy="331986"/>
          </a:xfrm>
          <a:prstGeom prst="rect">
            <a:avLst/>
          </a:prstGeom>
          <a:noFill/>
        </p:spPr>
        <p:txBody>
          <a:bodyPr anchor="ctr">
            <a:noAutofit/>
          </a:bodyPr>
          <a:lstStyle>
            <a:lvl1pPr algn="l">
              <a:defRPr sz="1300" b="1">
                <a:solidFill>
                  <a:schemeClr val="bg1"/>
                </a:solidFill>
              </a:defRPr>
            </a:lvl1pPr>
            <a:lvl2pPr>
              <a:defRPr sz="1138"/>
            </a:lvl2pPr>
            <a:lvl3pPr>
              <a:defRPr sz="975"/>
            </a:lvl3pPr>
            <a:lvl4pPr>
              <a:defRPr sz="894"/>
            </a:lvl4pPr>
            <a:lvl5pPr>
              <a:defRPr sz="894"/>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636293" y="3601840"/>
            <a:ext cx="2678526" cy="412363"/>
          </a:xfrm>
          <a:prstGeom prst="rect">
            <a:avLst/>
          </a:prstGeom>
          <a:noFill/>
        </p:spPr>
        <p:txBody>
          <a:bodyPr anchor="ctr">
            <a:noAutofit/>
          </a:bodyPr>
          <a:lstStyle>
            <a:lvl1pPr algn="l">
              <a:spcAft>
                <a:spcPts val="0"/>
              </a:spcAft>
              <a:defRPr sz="1463" b="1">
                <a:solidFill>
                  <a:schemeClr val="bg1"/>
                </a:solidFill>
              </a:defRPr>
            </a:lvl1pPr>
            <a:lvl2pPr>
              <a:defRPr sz="1138"/>
            </a:lvl2pPr>
            <a:lvl3pPr>
              <a:defRPr sz="975"/>
            </a:lvl3pPr>
            <a:lvl4pPr>
              <a:defRPr sz="894"/>
            </a:lvl4pPr>
            <a:lvl5pPr>
              <a:defRPr sz="894"/>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635441" y="4029586"/>
            <a:ext cx="2684617" cy="894840"/>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635441" y="5286886"/>
            <a:ext cx="2679377" cy="713864"/>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382441" y="1370346"/>
            <a:ext cx="2451735" cy="1951038"/>
          </a:xfrm>
          <a:prstGeom prst="rect">
            <a:avLst/>
          </a:prstGeom>
        </p:spPr>
        <p:txBody>
          <a:bodyPr>
            <a:noAutofit/>
          </a:bodyPr>
          <a:lstStyle>
            <a:lvl1pPr marL="189607" marR="0" indent="-189607"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393103" y="3683544"/>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391377" y="4105691"/>
            <a:ext cx="2451735" cy="1951038"/>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633199" y="6548561"/>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9 </a:t>
            </a:r>
            <a:r>
              <a:rPr lang="en-US" sz="650" dirty="0" err="1">
                <a:solidFill>
                  <a:schemeClr val="bg1"/>
                </a:solidFill>
                <a:cs typeface="Arial" panose="020B0604020202020204" pitchFamily="34" charset="0"/>
              </a:rPr>
              <a:t>Capgemini</a:t>
            </a:r>
            <a:r>
              <a:rPr lang="en-US" sz="650" dirty="0">
                <a:solidFill>
                  <a:schemeClr val="bg1"/>
                </a:solidFill>
                <a:cs typeface="Arial" panose="020B0604020202020204" pitchFamily="34" charset="0"/>
              </a:rPr>
              <a:t>. All rights reserved.</a:t>
            </a:r>
          </a:p>
        </p:txBody>
      </p:sp>
    </p:spTree>
    <p:extLst>
      <p:ext uri="{BB962C8B-B14F-4D97-AF65-F5344CB8AC3E}">
        <p14:creationId xmlns:p14="http://schemas.microsoft.com/office/powerpoint/2010/main" val="52895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long text</a:t>
            </a:r>
            <a:endParaRPr lang="pt-PT"/>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a:t>Click to insert title</a:t>
            </a:r>
            <a:endParaRPr lang="pt-PT"/>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726681" y="6517094"/>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9 </a:t>
            </a:r>
            <a:r>
              <a:rPr lang="en-US" sz="650" dirty="0" err="1">
                <a:solidFill>
                  <a:schemeClr val="bg1"/>
                </a:solidFill>
                <a:cs typeface="Arial" panose="020B0604020202020204" pitchFamily="34" charset="0"/>
              </a:rPr>
              <a:t>Capgemini</a:t>
            </a:r>
            <a:r>
              <a:rPr lang="en-US" sz="650" dirty="0">
                <a:solidFill>
                  <a:schemeClr val="bg1"/>
                </a:solidFill>
                <a:cs typeface="Arial" panose="020B0604020202020204" pitchFamily="34" charset="0"/>
              </a:rPr>
              <a:t>.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58790"/>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520421" y="473409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2" name="Oval 20">
            <a:extLst>
              <a:ext uri="{FF2B5EF4-FFF2-40B4-BE49-F238E27FC236}">
                <a16:creationId xmlns:a16="http://schemas.microsoft.com/office/drawing/2014/main" id="{80DEC651-0810-4FD4-A2CA-C54974433D45}"/>
              </a:ext>
            </a:extLst>
          </p:cNvPr>
          <p:cNvSpPr/>
          <p:nvPr userDrawn="1"/>
        </p:nvSpPr>
        <p:spPr>
          <a:xfrm>
            <a:off x="4520421" y="2944150"/>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a16="http://schemas.microsoft.com/office/drawing/2014/main" id="{4F0142AD-298C-4A60-9F24-035D4F3F07D0}"/>
              </a:ext>
            </a:extLst>
          </p:cNvPr>
          <p:cNvSpPr/>
          <p:nvPr userDrawn="1"/>
        </p:nvSpPr>
        <p:spPr>
          <a:xfrm>
            <a:off x="4481869" y="1186057"/>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893218" y="-868972"/>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42524" y="1525458"/>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4" y="3284121"/>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642524" y="5061943"/>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20785" y="825195"/>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20785" y="1268414"/>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5" y="2583859"/>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5" y="3027077"/>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620785" y="4361681"/>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620785" y="4804899"/>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9 </a:t>
            </a:r>
            <a:r>
              <a:rPr lang="en-US" sz="650" dirty="0" err="1">
                <a:solidFill>
                  <a:schemeClr val="bg2">
                    <a:lumMod val="50000"/>
                  </a:schemeClr>
                </a:solidFill>
                <a:cs typeface="Arial" panose="020B0604020202020204" pitchFamily="34" charset="0"/>
              </a:rPr>
              <a:t>Capgemini</a:t>
            </a:r>
            <a:r>
              <a:rPr lang="en-US" sz="65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08925284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sv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3.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2.sv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4.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sv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9.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32.xml"/><Relationship Id="rId7" Type="http://schemas.openxmlformats.org/officeDocument/2006/relationships/theme" Target="../theme/theme7.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33.emf"/><Relationship Id="rId5" Type="http://schemas.openxmlformats.org/officeDocument/2006/relationships/slideLayout" Target="../slideLayouts/slideLayout34.xml"/><Relationship Id="rId10" Type="http://schemas.openxmlformats.org/officeDocument/2006/relationships/oleObject" Target="../embeddings/oleObject5.bin"/><Relationship Id="rId4" Type="http://schemas.openxmlformats.org/officeDocument/2006/relationships/slideLayout" Target="../slideLayouts/slideLayout33.xml"/><Relationship Id="rId9" Type="http://schemas.openxmlformats.org/officeDocument/2006/relationships/tags" Target="../tags/tag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ags" Target="../tags/tag17.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vmlDrawing" Target="../drawings/vmlDrawing7.vml"/><Relationship Id="rId2" Type="http://schemas.openxmlformats.org/officeDocument/2006/relationships/slideLayout" Target="../slideLayouts/slideLayout37.xml"/><Relationship Id="rId16" Type="http://schemas.openxmlformats.org/officeDocument/2006/relationships/theme" Target="../theme/theme8.xml"/><Relationship Id="rId20" Type="http://schemas.openxmlformats.org/officeDocument/2006/relationships/image" Target="../media/image33.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oleObject" Target="../embeddings/oleObject7.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9.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31490" y="413387"/>
            <a:ext cx="9243020"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2960895470"/>
      </p:ext>
    </p:extLst>
  </p:cSld>
  <p:clrMap bg1="lt1" tx1="dk1" bg2="lt2" tx2="dk2" accent1="accent1" accent2="accent2" accent3="accent3" accent4="accent4" accent5="accent5" accent6="accent6" hlink="hlink" folHlink="folHlink"/>
  <p:sldLayoutIdLst>
    <p:sldLayoutId id="2147484106" r:id="rId1"/>
    <p:sldLayoutId id="2147484111" r:id="rId2"/>
  </p:sldLayoutIdLst>
  <p:transition>
    <p:wipe dir="r"/>
  </p:transition>
  <p:hf hdr="0"/>
  <p:txStyles>
    <p:titleStyle>
      <a:lvl1pPr algn="l" defTabSz="742950" rtl="0" eaLnBrk="1" latinLnBrk="0" hangingPunct="1">
        <a:lnSpc>
          <a:spcPts val="2438"/>
        </a:lnSpc>
        <a:spcBef>
          <a:spcPct val="0"/>
        </a:spcBef>
        <a:buNone/>
        <a:defRPr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ct val="90000"/>
        </a:lnSpc>
        <a:spcBef>
          <a:spcPts val="813"/>
        </a:spcBef>
        <a:buFont typeface="Arial" panose="020B0604020202020204" pitchFamily="34" charset="0"/>
        <a:buNone/>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185738" algn="l" defTabSz="742950" rtl="0" eaLnBrk="1" latinLnBrk="0" hangingPunct="1">
        <a:lnSpc>
          <a:spcPct val="90000"/>
        </a:lnSpc>
        <a:spcBef>
          <a:spcPts val="406"/>
        </a:spcBef>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868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00163"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671638"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35618" y="418452"/>
            <a:ext cx="9005370" cy="859536"/>
          </a:xfrm>
          <a:prstGeom prst="rect">
            <a:avLst/>
          </a:prstGeom>
        </p:spPr>
        <p:txBody>
          <a:bodyPr vert="horz" lIns="0" tIns="0" rIns="0" bIns="0" rtlCol="0" anchor="t">
            <a:normAutofit/>
          </a:bodyPr>
          <a:lstStyle/>
          <a:p>
            <a:pPr lvl="0">
              <a:lnSpc>
                <a:spcPts val="2438"/>
              </a:lnSpc>
            </a:pPr>
            <a:r>
              <a:rPr lang="en-US"/>
              <a:t>Click to edit Master title style</a:t>
            </a:r>
            <a:endParaRPr lang="pt-PT"/>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4351337"/>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2972249198"/>
      </p:ext>
    </p:extLst>
  </p:cSld>
  <p:clrMap bg1="lt1" tx1="dk1" bg2="lt2" tx2="dk2" accent1="accent1" accent2="accent2" accent3="accent3" accent4="accent4" accent5="accent5" accent6="accent6" hlink="hlink" folHlink="folHlink"/>
  <p:sldLayoutIdLst>
    <p:sldLayoutId id="2147484114" r:id="rId1"/>
    <p:sldLayoutId id="2147484116" r:id="rId2"/>
  </p:sldLayoutIdLst>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573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894"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9382582" y="188640"/>
            <a:ext cx="344789"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Capgemini Blue</a:t>
            </a:r>
          </a:p>
          <a:p>
            <a:pPr marL="139303"/>
            <a:r>
              <a:rPr lang="en-US" sz="488"/>
              <a:t>R 0</a:t>
            </a:r>
          </a:p>
          <a:p>
            <a:pPr marL="139303"/>
            <a:r>
              <a:rPr lang="en-US" sz="488"/>
              <a:t>G 112</a:t>
            </a:r>
          </a:p>
          <a:p>
            <a:pPr marL="139303"/>
            <a:r>
              <a:rPr lang="en-US" sz="488"/>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Vibrant</a:t>
            </a:r>
            <a:br>
              <a:rPr lang="en-US" sz="488" b="1"/>
            </a:br>
            <a:r>
              <a:rPr lang="en-US" sz="488" b="1"/>
              <a:t>Blue</a:t>
            </a:r>
          </a:p>
          <a:p>
            <a:pPr marL="139303"/>
            <a:r>
              <a:rPr lang="en-US" sz="488"/>
              <a:t>R 18</a:t>
            </a:r>
          </a:p>
          <a:p>
            <a:pPr marL="139303"/>
            <a:r>
              <a:rPr lang="en-US" sz="488"/>
              <a:t>G 171</a:t>
            </a:r>
          </a:p>
          <a:p>
            <a:pPr marL="139303"/>
            <a:r>
              <a:rPr lang="en-US" sz="488"/>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eep</a:t>
            </a:r>
            <a:br>
              <a:rPr lang="en-US" sz="488" b="1"/>
            </a:br>
            <a:r>
              <a:rPr lang="en-US" sz="488" b="1"/>
              <a:t>Purple</a:t>
            </a:r>
          </a:p>
          <a:p>
            <a:pPr marL="139303"/>
            <a:r>
              <a:rPr lang="en-US" sz="488"/>
              <a:t>R 43</a:t>
            </a:r>
          </a:p>
          <a:p>
            <a:pPr marL="139303"/>
            <a:r>
              <a:rPr lang="en-US" sz="488"/>
              <a:t>G 10</a:t>
            </a:r>
          </a:p>
          <a:p>
            <a:pPr marL="139303"/>
            <a:r>
              <a:rPr lang="en-US" sz="488"/>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Tech</a:t>
            </a:r>
            <a:br>
              <a:rPr lang="en-US" sz="488" b="1"/>
            </a:br>
            <a:r>
              <a:rPr lang="en-US" sz="488" b="1"/>
              <a:t>Red</a:t>
            </a:r>
          </a:p>
          <a:p>
            <a:pPr marL="139303"/>
            <a:r>
              <a:rPr lang="en-US" sz="488"/>
              <a:t>R 255</a:t>
            </a:r>
          </a:p>
          <a:p>
            <a:pPr marL="139303"/>
            <a:r>
              <a:rPr lang="en-US" sz="488"/>
              <a:t>G 48</a:t>
            </a:r>
          </a:p>
          <a:p>
            <a:pPr marL="139303"/>
            <a:r>
              <a:rPr lang="en-US" sz="488"/>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Zest</a:t>
            </a:r>
            <a:br>
              <a:rPr lang="en-US" sz="488" b="1"/>
            </a:br>
            <a:r>
              <a:rPr lang="en-US" sz="488" b="1"/>
              <a:t>Green</a:t>
            </a:r>
          </a:p>
          <a:p>
            <a:pPr marL="139303"/>
            <a:r>
              <a:rPr lang="en-US" sz="488"/>
              <a:t>R 149</a:t>
            </a:r>
          </a:p>
          <a:p>
            <a:pPr marL="139303"/>
            <a:r>
              <a:rPr lang="en-US" sz="488"/>
              <a:t>G 230</a:t>
            </a:r>
          </a:p>
          <a:p>
            <a:pPr marL="139303"/>
            <a:r>
              <a:rPr lang="en-US" sz="488"/>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a:t>Capgemini Blue</a:t>
            </a:r>
            <a:r>
              <a:rPr lang="en-US" sz="488"/>
              <a:t> (-50%)</a:t>
            </a:r>
          </a:p>
          <a:p>
            <a:pPr marL="139303"/>
            <a:r>
              <a:rPr lang="en-US" sz="488"/>
              <a:t>R 128</a:t>
            </a:r>
          </a:p>
          <a:p>
            <a:pPr marL="139303"/>
            <a:r>
              <a:rPr lang="en-US" sz="488"/>
              <a:t>G 184</a:t>
            </a:r>
          </a:p>
          <a:p>
            <a:pPr marL="139303"/>
            <a:r>
              <a:rPr lang="en-US" sz="488"/>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a:t>Vibrant</a:t>
            </a:r>
            <a:br>
              <a:rPr lang="en-US" sz="488" b="1"/>
            </a:br>
            <a:r>
              <a:rPr lang="en-US" sz="488" b="1"/>
              <a:t>Blue</a:t>
            </a:r>
            <a:r>
              <a:rPr lang="en-US" sz="488"/>
              <a:t> (-50%)</a:t>
            </a:r>
          </a:p>
          <a:p>
            <a:pPr marL="139303"/>
            <a:r>
              <a:rPr lang="en-US" sz="488"/>
              <a:t>R 136</a:t>
            </a:r>
          </a:p>
          <a:p>
            <a:pPr marL="139303"/>
            <a:r>
              <a:rPr lang="en-US" sz="488"/>
              <a:t>G 213</a:t>
            </a:r>
          </a:p>
          <a:p>
            <a:pPr marL="139303"/>
            <a:r>
              <a:rPr lang="en-US" sz="488"/>
              <a:t>B 237</a:t>
            </a:r>
          </a:p>
        </p:txBody>
      </p:sp>
      <p:sp>
        <p:nvSpPr>
          <p:cNvPr id="14" name="Rectangle 13"/>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Purple</a:t>
            </a:r>
          </a:p>
          <a:p>
            <a:pPr marL="139303"/>
            <a:r>
              <a:rPr lang="en-US" sz="488"/>
              <a:t>R 109</a:t>
            </a:r>
          </a:p>
          <a:p>
            <a:pPr marL="139303"/>
            <a:r>
              <a:rPr lang="en-US" sz="488"/>
              <a:t>G 100</a:t>
            </a:r>
          </a:p>
          <a:p>
            <a:pPr marL="139303"/>
            <a:r>
              <a:rPr lang="en-US" sz="488"/>
              <a:t>B 204</a:t>
            </a:r>
          </a:p>
        </p:txBody>
      </p:sp>
      <p:sp>
        <p:nvSpPr>
          <p:cNvPr id="15" name="Rectangle 14"/>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Orange</a:t>
            </a:r>
          </a:p>
          <a:p>
            <a:pPr marL="139303"/>
            <a:r>
              <a:rPr lang="en-US" sz="488"/>
              <a:t>R 255</a:t>
            </a:r>
          </a:p>
          <a:p>
            <a:pPr marL="139303"/>
            <a:r>
              <a:rPr lang="en-US" sz="488"/>
              <a:t>G 99</a:t>
            </a:r>
          </a:p>
          <a:p>
            <a:pPr marL="139303"/>
            <a:r>
              <a:rPr lang="en-US" sz="488"/>
              <a:t>B 39</a:t>
            </a:r>
          </a:p>
        </p:txBody>
      </p:sp>
      <p:sp>
        <p:nvSpPr>
          <p:cNvPr id="16" name="Rectangle 15"/>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Green</a:t>
            </a:r>
          </a:p>
          <a:p>
            <a:pPr marL="139303"/>
            <a:r>
              <a:rPr lang="en-US" sz="488"/>
              <a:t>R 200</a:t>
            </a:r>
          </a:p>
          <a:p>
            <a:pPr marL="139303"/>
            <a:r>
              <a:rPr lang="en-US" sz="488"/>
              <a:t>G 255</a:t>
            </a:r>
          </a:p>
          <a:p>
            <a:pPr marL="139303"/>
            <a:r>
              <a:rPr lang="en-US" sz="488"/>
              <a:t>B 22</a:t>
            </a:r>
          </a:p>
        </p:txBody>
      </p:sp>
      <p:sp>
        <p:nvSpPr>
          <p:cNvPr id="17" name="Rectangle 16"/>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Purple</a:t>
            </a:r>
          </a:p>
          <a:p>
            <a:pPr marL="139303"/>
            <a:r>
              <a:rPr lang="en-US" sz="488"/>
              <a:t>R 126</a:t>
            </a:r>
          </a:p>
          <a:p>
            <a:pPr marL="139303"/>
            <a:r>
              <a:rPr lang="en-US" sz="488"/>
              <a:t>G 57</a:t>
            </a:r>
          </a:p>
          <a:p>
            <a:pPr marL="139303"/>
            <a:r>
              <a:rPr lang="en-US" sz="488"/>
              <a:t>B 186</a:t>
            </a:r>
          </a:p>
        </p:txBody>
      </p:sp>
      <p:sp>
        <p:nvSpPr>
          <p:cNvPr id="18" name="Rectangle 17"/>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Green</a:t>
            </a:r>
          </a:p>
          <a:p>
            <a:pPr marL="139303"/>
            <a:r>
              <a:rPr lang="en-US" sz="488"/>
              <a:t>R 0</a:t>
            </a:r>
          </a:p>
          <a:p>
            <a:pPr marL="139303"/>
            <a:r>
              <a:rPr lang="en-US" sz="488"/>
              <a:t>G 195</a:t>
            </a:r>
          </a:p>
          <a:p>
            <a:pPr marL="139303"/>
            <a:r>
              <a:rPr lang="en-US" sz="488"/>
              <a:t>B 123</a:t>
            </a:r>
          </a:p>
        </p:txBody>
      </p:sp>
      <p:sp>
        <p:nvSpPr>
          <p:cNvPr id="19" name="Rectangle 18"/>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ark</a:t>
            </a:r>
            <a:br>
              <a:rPr lang="en-US" sz="488" b="1"/>
            </a:br>
            <a:r>
              <a:rPr lang="en-US" sz="488" b="1"/>
              <a:t>Green</a:t>
            </a:r>
          </a:p>
          <a:p>
            <a:pPr marL="139303"/>
            <a:r>
              <a:rPr lang="en-US" sz="488"/>
              <a:t>R 21</a:t>
            </a:r>
          </a:p>
          <a:p>
            <a:pPr marL="139303"/>
            <a:r>
              <a:rPr lang="en-US" sz="488"/>
              <a:t>G 99</a:t>
            </a:r>
          </a:p>
          <a:p>
            <a:pPr marL="139303"/>
            <a:r>
              <a:rPr lang="en-US" sz="488"/>
              <a:t>B 107</a:t>
            </a:r>
          </a:p>
        </p:txBody>
      </p:sp>
      <p:sp>
        <p:nvSpPr>
          <p:cNvPr id="20" name="Rectangle 19"/>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Aqua</a:t>
            </a:r>
          </a:p>
          <a:p>
            <a:pPr marL="139303"/>
            <a:r>
              <a:rPr lang="en-US" sz="488"/>
              <a:t>R 15</a:t>
            </a:r>
          </a:p>
          <a:p>
            <a:pPr marL="139303"/>
            <a:r>
              <a:rPr lang="en-US" sz="488"/>
              <a:t>G 153</a:t>
            </a:r>
          </a:p>
          <a:p>
            <a:pPr marL="139303"/>
            <a:r>
              <a:rPr lang="en-US" sz="488"/>
              <a:t>B 156</a:t>
            </a:r>
          </a:p>
        </p:txBody>
      </p:sp>
      <p:sp>
        <p:nvSpPr>
          <p:cNvPr id="21" name="Rectangle 20"/>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Aqua</a:t>
            </a:r>
          </a:p>
          <a:p>
            <a:pPr marL="139303"/>
            <a:r>
              <a:rPr lang="en-US" sz="488"/>
              <a:t>R 1</a:t>
            </a:r>
          </a:p>
          <a:p>
            <a:pPr marL="139303"/>
            <a:r>
              <a:rPr lang="en-US" sz="488"/>
              <a:t>G 209</a:t>
            </a:r>
          </a:p>
          <a:p>
            <a:pPr marL="139303"/>
            <a:r>
              <a:rPr lang="en-US" sz="488"/>
              <a:t>B 208</a:t>
            </a:r>
          </a:p>
        </p:txBody>
      </p:sp>
      <p:sp>
        <p:nvSpPr>
          <p:cNvPr id="22" name="Rectangle 21"/>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Peach</a:t>
            </a:r>
          </a:p>
          <a:p>
            <a:pPr marL="139303"/>
            <a:r>
              <a:rPr lang="en-US" sz="488"/>
              <a:t>R 255</a:t>
            </a:r>
          </a:p>
          <a:p>
            <a:pPr marL="139303"/>
            <a:r>
              <a:rPr lang="en-US" sz="488"/>
              <a:t>G 126</a:t>
            </a:r>
          </a:p>
          <a:p>
            <a:pPr marL="139303"/>
            <a:r>
              <a:rPr lang="en-US" sz="488"/>
              <a:t>B 131</a:t>
            </a:r>
          </a:p>
        </p:txBody>
      </p:sp>
      <p:sp>
        <p:nvSpPr>
          <p:cNvPr id="23" name="Rectangle 22"/>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Light</a:t>
            </a:r>
            <a:br>
              <a:rPr lang="en-US" sz="488" b="1"/>
            </a:br>
            <a:r>
              <a:rPr lang="en-US" sz="488" b="1"/>
              <a:t>Claret</a:t>
            </a:r>
          </a:p>
          <a:p>
            <a:pPr marL="139303"/>
            <a:r>
              <a:rPr lang="en-US" sz="488"/>
              <a:t>R 203</a:t>
            </a:r>
          </a:p>
          <a:p>
            <a:pPr marL="139303"/>
            <a:r>
              <a:rPr lang="en-US" sz="488"/>
              <a:t>G 41</a:t>
            </a:r>
          </a:p>
          <a:p>
            <a:pPr marL="139303"/>
            <a:r>
              <a:rPr lang="en-US" sz="488"/>
              <a:t>B 128</a:t>
            </a:r>
          </a:p>
        </p:txBody>
      </p:sp>
      <p:sp>
        <p:nvSpPr>
          <p:cNvPr id="24" name="Rectangle 23"/>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Claret</a:t>
            </a:r>
          </a:p>
          <a:p>
            <a:pPr marL="139303"/>
            <a:r>
              <a:rPr lang="en-US" sz="488"/>
              <a:t>R 134</a:t>
            </a:r>
          </a:p>
          <a:p>
            <a:pPr marL="139303"/>
            <a:r>
              <a:rPr lang="en-US" sz="488"/>
              <a:t>G 8</a:t>
            </a:r>
          </a:p>
          <a:p>
            <a:pPr marL="139303"/>
            <a:r>
              <a:rPr lang="en-US" sz="488"/>
              <a:t>B 100</a:t>
            </a:r>
          </a:p>
        </p:txBody>
      </p:sp>
      <p:sp>
        <p:nvSpPr>
          <p:cNvPr id="25" name="Rectangle 24"/>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Primary</a:t>
            </a:r>
          </a:p>
        </p:txBody>
      </p:sp>
      <p:sp>
        <p:nvSpPr>
          <p:cNvPr id="26" name="Rectangle 25"/>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Infographic</a:t>
            </a:r>
          </a:p>
        </p:txBody>
      </p:sp>
      <p:sp>
        <p:nvSpPr>
          <p:cNvPr id="27" name="Rectangle 26"/>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Secondary</a:t>
            </a:r>
          </a:p>
        </p:txBody>
      </p:sp>
      <p:sp>
        <p:nvSpPr>
          <p:cNvPr id="28" name="Rectangle 27"/>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ark</a:t>
            </a:r>
            <a:br>
              <a:rPr lang="en-US" sz="488" b="1"/>
            </a:br>
            <a:r>
              <a:rPr lang="en-US" sz="488" b="1"/>
              <a:t>Purple</a:t>
            </a:r>
          </a:p>
          <a:p>
            <a:pPr marL="139303"/>
            <a:r>
              <a:rPr lang="en-US" sz="488"/>
              <a:t>R 71</a:t>
            </a:r>
          </a:p>
          <a:p>
            <a:pPr marL="139303"/>
            <a:r>
              <a:rPr lang="en-US" sz="488"/>
              <a:t>G 1</a:t>
            </a:r>
          </a:p>
          <a:p>
            <a:pPr marL="139303"/>
            <a:r>
              <a:rPr lang="en-US" sz="488"/>
              <a:t>B 167</a:t>
            </a:r>
          </a:p>
        </p:txBody>
      </p:sp>
    </p:spTree>
    <p:extLst>
      <p:ext uri="{BB962C8B-B14F-4D97-AF65-F5344CB8AC3E}">
        <p14:creationId xmlns:p14="http://schemas.microsoft.com/office/powerpoint/2010/main" val="2045879626"/>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32" r:id="rId5"/>
    <p:sldLayoutId id="2147484135" r:id="rId6"/>
    <p:sldLayoutId id="2147484139" r:id="rId7"/>
    <p:sldLayoutId id="2147484164" r:id="rId8"/>
    <p:sldLayoutId id="2147484173" r:id="rId9"/>
    <p:sldLayoutId id="2147484174" r:id="rId10"/>
  </p:sldLayoutIdLst>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9382582" y="188640"/>
            <a:ext cx="344789"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Capgemini Blue</a:t>
            </a:r>
          </a:p>
          <a:p>
            <a:pPr marL="139303"/>
            <a:r>
              <a:rPr lang="en-US" sz="488"/>
              <a:t>R 0</a:t>
            </a:r>
          </a:p>
          <a:p>
            <a:pPr marL="139303"/>
            <a:r>
              <a:rPr lang="en-US" sz="488"/>
              <a:t>G 112</a:t>
            </a:r>
          </a:p>
          <a:p>
            <a:pPr marL="139303"/>
            <a:r>
              <a:rPr lang="en-US" sz="488"/>
              <a:t>B 173</a:t>
            </a:r>
          </a:p>
        </p:txBody>
      </p:sp>
      <p:sp>
        <p:nvSpPr>
          <p:cNvPr id="7" name="Rectangle 6"/>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Vibrant</a:t>
            </a:r>
            <a:br>
              <a:rPr lang="en-US" sz="488" b="1"/>
            </a:br>
            <a:r>
              <a:rPr lang="en-US" sz="488" b="1"/>
              <a:t>Blue</a:t>
            </a:r>
          </a:p>
          <a:p>
            <a:pPr marL="139303"/>
            <a:r>
              <a:rPr lang="en-US" sz="488"/>
              <a:t>R 18</a:t>
            </a:r>
          </a:p>
          <a:p>
            <a:pPr marL="139303"/>
            <a:r>
              <a:rPr lang="en-US" sz="488"/>
              <a:t>G 171</a:t>
            </a:r>
          </a:p>
          <a:p>
            <a:pPr marL="139303"/>
            <a:r>
              <a:rPr lang="en-US" sz="488"/>
              <a:t>B 219</a:t>
            </a:r>
          </a:p>
        </p:txBody>
      </p:sp>
      <p:sp>
        <p:nvSpPr>
          <p:cNvPr id="8" name="Rectangle 7"/>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eep</a:t>
            </a:r>
            <a:br>
              <a:rPr lang="en-US" sz="488" b="1"/>
            </a:br>
            <a:r>
              <a:rPr lang="en-US" sz="488" b="1"/>
              <a:t>Purple</a:t>
            </a:r>
          </a:p>
          <a:p>
            <a:pPr marL="139303"/>
            <a:r>
              <a:rPr lang="en-US" sz="488"/>
              <a:t>R 43</a:t>
            </a:r>
          </a:p>
          <a:p>
            <a:pPr marL="139303"/>
            <a:r>
              <a:rPr lang="en-US" sz="488"/>
              <a:t>G 10</a:t>
            </a:r>
          </a:p>
          <a:p>
            <a:pPr marL="139303"/>
            <a:r>
              <a:rPr lang="en-US" sz="488"/>
              <a:t>B 61</a:t>
            </a:r>
          </a:p>
        </p:txBody>
      </p:sp>
      <p:sp>
        <p:nvSpPr>
          <p:cNvPr id="9" name="Rectangle 8"/>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Tech</a:t>
            </a:r>
            <a:br>
              <a:rPr lang="en-US" sz="488" b="1"/>
            </a:br>
            <a:r>
              <a:rPr lang="en-US" sz="488" b="1"/>
              <a:t>Red</a:t>
            </a:r>
          </a:p>
          <a:p>
            <a:pPr marL="139303"/>
            <a:r>
              <a:rPr lang="en-US" sz="488"/>
              <a:t>R 255</a:t>
            </a:r>
          </a:p>
          <a:p>
            <a:pPr marL="139303"/>
            <a:r>
              <a:rPr lang="en-US" sz="488"/>
              <a:t>G 48</a:t>
            </a:r>
          </a:p>
          <a:p>
            <a:pPr marL="139303"/>
            <a:r>
              <a:rPr lang="en-US" sz="488"/>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Zest</a:t>
            </a:r>
            <a:br>
              <a:rPr lang="en-US" sz="488" b="1"/>
            </a:br>
            <a:r>
              <a:rPr lang="en-US" sz="488" b="1"/>
              <a:t>Green</a:t>
            </a:r>
          </a:p>
          <a:p>
            <a:pPr marL="139303"/>
            <a:r>
              <a:rPr lang="en-US" sz="488"/>
              <a:t>R 149</a:t>
            </a:r>
          </a:p>
          <a:p>
            <a:pPr marL="139303"/>
            <a:r>
              <a:rPr lang="en-US" sz="488"/>
              <a:t>G 230</a:t>
            </a:r>
          </a:p>
          <a:p>
            <a:pPr marL="139303"/>
            <a:r>
              <a:rPr lang="en-US" sz="488"/>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a:t>Capgemini Blue</a:t>
            </a:r>
            <a:r>
              <a:rPr lang="en-US" sz="488"/>
              <a:t> (-50%)</a:t>
            </a:r>
          </a:p>
          <a:p>
            <a:pPr marL="139303"/>
            <a:r>
              <a:rPr lang="en-US" sz="488"/>
              <a:t>R 128</a:t>
            </a:r>
          </a:p>
          <a:p>
            <a:pPr marL="139303"/>
            <a:r>
              <a:rPr lang="en-US" sz="488"/>
              <a:t>G 184</a:t>
            </a:r>
          </a:p>
          <a:p>
            <a:pPr marL="139303"/>
            <a:r>
              <a:rPr lang="en-US" sz="488"/>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a:t>Vibrant</a:t>
            </a:r>
            <a:br>
              <a:rPr lang="en-US" sz="488" b="1"/>
            </a:br>
            <a:r>
              <a:rPr lang="en-US" sz="488" b="1"/>
              <a:t>Blue</a:t>
            </a:r>
            <a:r>
              <a:rPr lang="en-US" sz="488"/>
              <a:t> (-50%)</a:t>
            </a:r>
          </a:p>
          <a:p>
            <a:pPr marL="139303"/>
            <a:r>
              <a:rPr lang="en-US" sz="488"/>
              <a:t>R 136</a:t>
            </a:r>
          </a:p>
          <a:p>
            <a:pPr marL="139303"/>
            <a:r>
              <a:rPr lang="en-US" sz="488"/>
              <a:t>G 213</a:t>
            </a:r>
          </a:p>
          <a:p>
            <a:pPr marL="139303"/>
            <a:r>
              <a:rPr lang="en-US" sz="488"/>
              <a:t>B 237</a:t>
            </a:r>
          </a:p>
        </p:txBody>
      </p:sp>
      <p:sp>
        <p:nvSpPr>
          <p:cNvPr id="17" name="Rectangle 16"/>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Purple</a:t>
            </a:r>
          </a:p>
          <a:p>
            <a:pPr marL="139303"/>
            <a:r>
              <a:rPr lang="en-US" sz="488"/>
              <a:t>R 109</a:t>
            </a:r>
          </a:p>
          <a:p>
            <a:pPr marL="139303"/>
            <a:r>
              <a:rPr lang="en-US" sz="488"/>
              <a:t>G 100</a:t>
            </a:r>
          </a:p>
          <a:p>
            <a:pPr marL="139303"/>
            <a:r>
              <a:rPr lang="en-US" sz="488"/>
              <a:t>B 204</a:t>
            </a:r>
          </a:p>
        </p:txBody>
      </p:sp>
      <p:sp>
        <p:nvSpPr>
          <p:cNvPr id="18" name="Rectangle 17"/>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Orange</a:t>
            </a:r>
          </a:p>
          <a:p>
            <a:pPr marL="139303"/>
            <a:r>
              <a:rPr lang="en-US" sz="488"/>
              <a:t>R 255</a:t>
            </a:r>
          </a:p>
          <a:p>
            <a:pPr marL="139303"/>
            <a:r>
              <a:rPr lang="en-US" sz="488"/>
              <a:t>G 99</a:t>
            </a:r>
          </a:p>
          <a:p>
            <a:pPr marL="139303"/>
            <a:r>
              <a:rPr lang="en-US" sz="488"/>
              <a:t>B 39</a:t>
            </a:r>
          </a:p>
        </p:txBody>
      </p:sp>
      <p:sp>
        <p:nvSpPr>
          <p:cNvPr id="19" name="Rectangle 18"/>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Green</a:t>
            </a:r>
          </a:p>
          <a:p>
            <a:pPr marL="139303"/>
            <a:r>
              <a:rPr lang="en-US" sz="488"/>
              <a:t>R 200</a:t>
            </a:r>
          </a:p>
          <a:p>
            <a:pPr marL="139303"/>
            <a:r>
              <a:rPr lang="en-US" sz="488"/>
              <a:t>G 255</a:t>
            </a:r>
          </a:p>
          <a:p>
            <a:pPr marL="139303"/>
            <a:r>
              <a:rPr lang="en-US" sz="488"/>
              <a:t>B 22</a:t>
            </a:r>
          </a:p>
        </p:txBody>
      </p:sp>
      <p:sp>
        <p:nvSpPr>
          <p:cNvPr id="20" name="Rectangle 19"/>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Purple</a:t>
            </a:r>
          </a:p>
          <a:p>
            <a:pPr marL="139303"/>
            <a:r>
              <a:rPr lang="en-US" sz="488"/>
              <a:t>R 126</a:t>
            </a:r>
          </a:p>
          <a:p>
            <a:pPr marL="139303"/>
            <a:r>
              <a:rPr lang="en-US" sz="488"/>
              <a:t>G 57</a:t>
            </a:r>
          </a:p>
          <a:p>
            <a:pPr marL="139303"/>
            <a:r>
              <a:rPr lang="en-US" sz="488"/>
              <a:t>B 186</a:t>
            </a:r>
          </a:p>
        </p:txBody>
      </p:sp>
      <p:sp>
        <p:nvSpPr>
          <p:cNvPr id="21" name="Rectangle 20"/>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Green</a:t>
            </a:r>
          </a:p>
          <a:p>
            <a:pPr marL="139303"/>
            <a:r>
              <a:rPr lang="en-US" sz="488"/>
              <a:t>R 0</a:t>
            </a:r>
          </a:p>
          <a:p>
            <a:pPr marL="139303"/>
            <a:r>
              <a:rPr lang="en-US" sz="488"/>
              <a:t>G 195</a:t>
            </a:r>
          </a:p>
          <a:p>
            <a:pPr marL="139303"/>
            <a:r>
              <a:rPr lang="en-US" sz="488"/>
              <a:t>B 123</a:t>
            </a:r>
          </a:p>
        </p:txBody>
      </p:sp>
      <p:sp>
        <p:nvSpPr>
          <p:cNvPr id="22" name="Rectangle 21"/>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ark</a:t>
            </a:r>
            <a:br>
              <a:rPr lang="en-US" sz="488" b="1"/>
            </a:br>
            <a:r>
              <a:rPr lang="en-US" sz="488" b="1"/>
              <a:t>Green</a:t>
            </a:r>
          </a:p>
          <a:p>
            <a:pPr marL="139303"/>
            <a:r>
              <a:rPr lang="en-US" sz="488"/>
              <a:t>R 21</a:t>
            </a:r>
          </a:p>
          <a:p>
            <a:pPr marL="139303"/>
            <a:r>
              <a:rPr lang="en-US" sz="488"/>
              <a:t>G 99</a:t>
            </a:r>
          </a:p>
          <a:p>
            <a:pPr marL="139303"/>
            <a:r>
              <a:rPr lang="en-US" sz="488"/>
              <a:t>B 107</a:t>
            </a:r>
          </a:p>
        </p:txBody>
      </p:sp>
      <p:sp>
        <p:nvSpPr>
          <p:cNvPr id="23" name="Rectangle 22"/>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Aqua</a:t>
            </a:r>
          </a:p>
          <a:p>
            <a:pPr marL="139303"/>
            <a:r>
              <a:rPr lang="en-US" sz="488"/>
              <a:t>R 15</a:t>
            </a:r>
          </a:p>
          <a:p>
            <a:pPr marL="139303"/>
            <a:r>
              <a:rPr lang="en-US" sz="488"/>
              <a:t>G 153</a:t>
            </a:r>
          </a:p>
          <a:p>
            <a:pPr marL="139303"/>
            <a:r>
              <a:rPr lang="en-US" sz="488"/>
              <a:t>B 156</a:t>
            </a:r>
          </a:p>
        </p:txBody>
      </p:sp>
      <p:sp>
        <p:nvSpPr>
          <p:cNvPr id="24" name="Rectangle 23"/>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Bright</a:t>
            </a:r>
            <a:br>
              <a:rPr lang="en-US" sz="488" b="1"/>
            </a:br>
            <a:r>
              <a:rPr lang="en-US" sz="488" b="1"/>
              <a:t>Aqua</a:t>
            </a:r>
          </a:p>
          <a:p>
            <a:pPr marL="139303"/>
            <a:r>
              <a:rPr lang="en-US" sz="488"/>
              <a:t>R 1</a:t>
            </a:r>
          </a:p>
          <a:p>
            <a:pPr marL="139303"/>
            <a:r>
              <a:rPr lang="en-US" sz="488"/>
              <a:t>G 209</a:t>
            </a:r>
          </a:p>
          <a:p>
            <a:pPr marL="139303"/>
            <a:r>
              <a:rPr lang="en-US" sz="488"/>
              <a:t>B 208</a:t>
            </a:r>
          </a:p>
        </p:txBody>
      </p:sp>
      <p:sp>
        <p:nvSpPr>
          <p:cNvPr id="25" name="Rectangle 24"/>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Peach</a:t>
            </a:r>
          </a:p>
          <a:p>
            <a:pPr marL="139303"/>
            <a:r>
              <a:rPr lang="en-US" sz="488"/>
              <a:t>R 255</a:t>
            </a:r>
          </a:p>
          <a:p>
            <a:pPr marL="139303"/>
            <a:r>
              <a:rPr lang="en-US" sz="488"/>
              <a:t>G 126</a:t>
            </a:r>
          </a:p>
          <a:p>
            <a:pPr marL="139303"/>
            <a:r>
              <a:rPr lang="en-US" sz="488"/>
              <a:t>B 131</a:t>
            </a:r>
          </a:p>
        </p:txBody>
      </p:sp>
      <p:sp>
        <p:nvSpPr>
          <p:cNvPr id="26" name="Rectangle 25"/>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Light</a:t>
            </a:r>
            <a:br>
              <a:rPr lang="en-US" sz="488" b="1"/>
            </a:br>
            <a:r>
              <a:rPr lang="en-US" sz="488" b="1"/>
              <a:t>Claret</a:t>
            </a:r>
          </a:p>
          <a:p>
            <a:pPr marL="139303"/>
            <a:r>
              <a:rPr lang="en-US" sz="488"/>
              <a:t>R 203</a:t>
            </a:r>
          </a:p>
          <a:p>
            <a:pPr marL="139303"/>
            <a:r>
              <a:rPr lang="en-US" sz="488"/>
              <a:t>G 41</a:t>
            </a:r>
          </a:p>
          <a:p>
            <a:pPr marL="139303"/>
            <a:r>
              <a:rPr lang="en-US" sz="488"/>
              <a:t>B 128</a:t>
            </a:r>
          </a:p>
        </p:txBody>
      </p:sp>
      <p:sp>
        <p:nvSpPr>
          <p:cNvPr id="27" name="Rectangle 26"/>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Claret</a:t>
            </a:r>
          </a:p>
          <a:p>
            <a:pPr marL="139303"/>
            <a:r>
              <a:rPr lang="en-US" sz="488"/>
              <a:t>R 134</a:t>
            </a:r>
          </a:p>
          <a:p>
            <a:pPr marL="139303"/>
            <a:r>
              <a:rPr lang="en-US" sz="488"/>
              <a:t>G 8</a:t>
            </a:r>
          </a:p>
          <a:p>
            <a:pPr marL="139303"/>
            <a:r>
              <a:rPr lang="en-US" sz="488"/>
              <a:t>B 100</a:t>
            </a:r>
          </a:p>
        </p:txBody>
      </p:sp>
      <p:sp>
        <p:nvSpPr>
          <p:cNvPr id="28" name="Rectangle 27"/>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Primary</a:t>
            </a:r>
          </a:p>
        </p:txBody>
      </p:sp>
      <p:sp>
        <p:nvSpPr>
          <p:cNvPr id="29" name="Rectangle 28"/>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Infographic</a:t>
            </a:r>
          </a:p>
        </p:txBody>
      </p:sp>
      <p:sp>
        <p:nvSpPr>
          <p:cNvPr id="30" name="Rectangle 29"/>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a:solidFill>
                  <a:schemeClr val="tx2"/>
                </a:solidFill>
              </a:rPr>
              <a:t>Secondary</a:t>
            </a:r>
          </a:p>
        </p:txBody>
      </p:sp>
      <p:sp>
        <p:nvSpPr>
          <p:cNvPr id="31" name="Rectangle 30"/>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a:t>Dark</a:t>
            </a:r>
            <a:br>
              <a:rPr lang="en-US" sz="488" b="1"/>
            </a:br>
            <a:r>
              <a:rPr lang="en-US" sz="488" b="1"/>
              <a:t>Purple</a:t>
            </a:r>
          </a:p>
          <a:p>
            <a:pPr marL="139303"/>
            <a:r>
              <a:rPr lang="en-US" sz="488"/>
              <a:t>R 71</a:t>
            </a:r>
          </a:p>
          <a:p>
            <a:pPr marL="139303"/>
            <a:r>
              <a:rPr lang="en-US" sz="488"/>
              <a:t>G 1</a:t>
            </a:r>
          </a:p>
          <a:p>
            <a:pPr marL="139303"/>
            <a:r>
              <a:rPr lang="en-US" sz="488"/>
              <a:t>B 167</a:t>
            </a:r>
          </a:p>
        </p:txBody>
      </p:sp>
    </p:spTree>
    <p:extLst>
      <p:ext uri="{BB962C8B-B14F-4D97-AF65-F5344CB8AC3E}">
        <p14:creationId xmlns:p14="http://schemas.microsoft.com/office/powerpoint/2010/main" val="3300768500"/>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9" r:id="rId3"/>
    <p:sldLayoutId id="2147484152" r:id="rId4"/>
    <p:sldLayoutId id="2147484153" r:id="rId5"/>
    <p:sldLayoutId id="2147484156" r:id="rId6"/>
    <p:sldLayoutId id="2147484158" r:id="rId7"/>
    <p:sldLayoutId id="2147484168" r:id="rId8"/>
    <p:sldLayoutId id="2147484169" r:id="rId9"/>
    <p:sldLayoutId id="2147484171" r:id="rId10"/>
  </p:sldLayoutIdLst>
  <p:txStyles>
    <p:titleStyle>
      <a:lvl1pPr algn="l" defTabSz="742950" rtl="0" eaLnBrk="1" latinLnBrk="0" hangingPunct="1">
        <a:lnSpc>
          <a:spcPct val="90000"/>
        </a:lnSpc>
        <a:spcBef>
          <a:spcPct val="0"/>
        </a:spcBef>
        <a:buNone/>
        <a:defRPr sz="2113" kern="1200">
          <a:solidFill>
            <a:schemeClr val="tx2"/>
          </a:solidFill>
          <a:latin typeface="+mj-lt"/>
          <a:ea typeface="+mj-ea"/>
          <a:cs typeface="+mj-cs"/>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8317" indent="-18573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6634" indent="-188317"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54633" indent="-177998"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35618" y="418452"/>
            <a:ext cx="9005370" cy="859536"/>
          </a:xfrm>
          <a:prstGeom prst="rect">
            <a:avLst/>
          </a:prstGeom>
        </p:spPr>
        <p:txBody>
          <a:bodyPr vert="horz" lIns="0" tIns="0" rIns="0" bIns="0" rtlCol="0" anchor="t">
            <a:normAutofit/>
          </a:bodyPr>
          <a:lstStyle/>
          <a:p>
            <a:pPr lvl="0">
              <a:lnSpc>
                <a:spcPts val="2438"/>
              </a:lnSpc>
            </a:pPr>
            <a:r>
              <a:rPr lang="en-US"/>
              <a:t>Click to edit Master title style</a:t>
            </a:r>
            <a:endParaRPr lang="pt-PT"/>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4351337"/>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5646"/>
          <a:stretch/>
        </p:blipFill>
        <p:spPr>
          <a:xfrm>
            <a:off x="9382582" y="188640"/>
            <a:ext cx="344789" cy="459624"/>
          </a:xfrm>
          <a:prstGeom prst="rect">
            <a:avLst/>
          </a:prstGeom>
        </p:spPr>
      </p:pic>
    </p:spTree>
    <p:extLst>
      <p:ext uri="{BB962C8B-B14F-4D97-AF65-F5344CB8AC3E}">
        <p14:creationId xmlns:p14="http://schemas.microsoft.com/office/powerpoint/2010/main" val="1240414828"/>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7" r:id="rId4"/>
  </p:sldLayoutIdLst>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573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894"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31490" y="413387"/>
            <a:ext cx="9243020"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835691049"/>
      </p:ext>
    </p:extLst>
  </p:cSld>
  <p:clrMap bg1="lt1" tx1="dk1" bg2="lt2" tx2="dk2" accent1="accent1" accent2="accent2" accent3="accent3" accent4="accent4" accent5="accent5" accent6="accent6" hlink="hlink" folHlink="folHlink"/>
  <p:sldLayoutIdLst>
    <p:sldLayoutId id="2147484166" r:id="rId1"/>
  </p:sldLayoutIdLst>
  <p:txStyles>
    <p:titleStyle>
      <a:lvl1pPr algn="l" defTabSz="742950" rtl="0" eaLnBrk="1" latinLnBrk="0" hangingPunct="1">
        <a:lnSpc>
          <a:spcPts val="2438"/>
        </a:lnSpc>
        <a:spcBef>
          <a:spcPct val="0"/>
        </a:spcBef>
        <a:buNone/>
        <a:defRPr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ct val="90000"/>
        </a:lnSpc>
        <a:spcBef>
          <a:spcPts val="813"/>
        </a:spcBef>
        <a:buFont typeface="Arial" panose="020B0604020202020204" pitchFamily="34" charset="0"/>
        <a:buNone/>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185738" algn="l" defTabSz="742950" rtl="0" eaLnBrk="1" latinLnBrk="0" hangingPunct="1">
        <a:lnSpc>
          <a:spcPct val="90000"/>
        </a:lnSpc>
        <a:spcBef>
          <a:spcPts val="406"/>
        </a:spcBef>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868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00163"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671638"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5123"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9344645" y="171573"/>
            <a:ext cx="340792"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44"/>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44"/>
            </a:p>
          </p:txBody>
        </p:sp>
      </p:grpSp>
    </p:spTree>
    <p:extLst>
      <p:ext uri="{BB962C8B-B14F-4D97-AF65-F5344CB8AC3E}">
        <p14:creationId xmlns:p14="http://schemas.microsoft.com/office/powerpoint/2010/main" val="935467835"/>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Lst>
  <p:txStyles>
    <p:titleStyle>
      <a:lvl1pPr marL="0" marR="0" indent="0" algn="l" defTabSz="742950" rtl="0" eaLnBrk="1" fontAlgn="auto" latinLnBrk="0" hangingPunct="1">
        <a:lnSpc>
          <a:spcPct val="9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438547" indent="-145753" algn="l" defTabSz="742950" rtl="0" eaLnBrk="1" latinLnBrk="0" hangingPunct="1">
        <a:lnSpc>
          <a:spcPct val="90000"/>
        </a:lnSpc>
        <a:spcBef>
          <a:spcPts val="406"/>
        </a:spcBef>
        <a:buClr>
          <a:schemeClr val="accent1"/>
        </a:buClr>
        <a:buFont typeface="Arial" panose="020B0604020202020204" pitchFamily="34" charset="0"/>
        <a:buChar char="•"/>
        <a:defRPr sz="1463" kern="1200">
          <a:solidFill>
            <a:schemeClr val="tx1"/>
          </a:solidFill>
          <a:latin typeface="+mj-lt"/>
          <a:ea typeface="+mn-ea"/>
          <a:cs typeface="+mn-cs"/>
        </a:defRPr>
      </a:lvl2pPr>
      <a:lvl3pPr marL="731342" indent="-14575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1024136" indent="-145753" algn="l" defTabSz="742950" rtl="0" eaLnBrk="1" latinLnBrk="0" hangingPunct="1">
        <a:lnSpc>
          <a:spcPct val="90000"/>
        </a:lnSpc>
        <a:spcBef>
          <a:spcPts val="406"/>
        </a:spcBef>
        <a:buClr>
          <a:schemeClr val="accent3"/>
        </a:buClr>
        <a:buFont typeface="Arial" panose="020B0604020202020204" pitchFamily="34" charset="0"/>
        <a:buChar char="•"/>
        <a:defRPr sz="1138" kern="1200">
          <a:solidFill>
            <a:schemeClr val="tx1"/>
          </a:solidFill>
          <a:latin typeface="+mj-lt"/>
          <a:ea typeface="+mn-ea"/>
          <a:cs typeface="+mn-cs"/>
        </a:defRPr>
      </a:lvl4pPr>
      <a:lvl5pPr marL="1316931" indent="-145753"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7171" name="think-cell Slide" r:id="rId19" imgW="270" imgH="270" progId="TCLayout.ActiveDocument.1">
                  <p:embed/>
                </p:oleObj>
              </mc:Choice>
              <mc:Fallback>
                <p:oleObj name="think-cell Slide" r:id="rId19" imgW="270" imgH="270" progId="TCLayout.ActiveDocument.1">
                  <p:embed/>
                  <p:pic>
                    <p:nvPicPr>
                      <p:cNvPr id="21" name="Object 2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9344645" y="171573"/>
            <a:ext cx="340792"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954562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65000"/>
                  </a:schemeClr>
                </a:solidFill>
                <a:cs typeface="Arial" panose="020B0604020202020204" pitchFamily="34" charset="0"/>
              </a:rPr>
              <a:pPr algn="r"/>
              <a:t>‹#›</a:t>
            </a:fld>
            <a:endParaRPr lang="en-US" sz="65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7326494"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65000"/>
                  </a:schemeClr>
                </a:solidFill>
              </a:rPr>
              <a:t>© Capgemini 2018. All rights reserved  </a:t>
            </a:r>
            <a:r>
              <a:rPr lang="en-US" sz="65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184720" y="6650662"/>
            <a:ext cx="383217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50"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0"/>
            <a:ext cx="9039254" cy="1104900"/>
          </a:xfrm>
          <a:prstGeom prst="rect">
            <a:avLst/>
          </a:prstGeom>
        </p:spPr>
        <p:txBody>
          <a:bodyPr vert="horz" lIns="0" tIns="0" rIns="0" bIns="0" rtlCol="0" anchor="ctr">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842174199"/>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Lst>
  <p:txStyles>
    <p:titleStyle>
      <a:lvl1pPr marL="0" marR="0" indent="0" algn="l" defTabSz="742950" rtl="0" eaLnBrk="1" fontAlgn="auto" latinLnBrk="0" hangingPunct="1">
        <a:lnSpc>
          <a:spcPct val="9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0" y="404816"/>
            <a:ext cx="8950991" cy="863601"/>
          </a:xfrm>
          <a:prstGeom prst="rect">
            <a:avLst/>
          </a:prstGeom>
        </p:spPr>
        <p:txBody>
          <a:bodyPr vert="horz" lIns="0" tIns="0" rIns="0" bIns="0" rtlCol="0" anchor="t">
            <a:normAutofit/>
          </a:bodyPr>
          <a:lstStyle/>
          <a:p>
            <a:pPr lvl="0">
              <a:lnSpc>
                <a:spcPts val="1981"/>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9382583" y="188640"/>
            <a:ext cx="344789"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8" y="1412878"/>
            <a:ext cx="9238893"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Capgemini Blue</a:t>
            </a:r>
          </a:p>
          <a:p>
            <a:pPr marL="113184"/>
            <a:r>
              <a:rPr lang="en-US" sz="397"/>
              <a:t>R 0</a:t>
            </a:r>
          </a:p>
          <a:p>
            <a:pPr marL="113184"/>
            <a:r>
              <a:rPr lang="en-US" sz="397"/>
              <a:t>G 112</a:t>
            </a:r>
          </a:p>
          <a:p>
            <a:pPr marL="113184"/>
            <a:r>
              <a:rPr lang="en-US" sz="397"/>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Vibrant</a:t>
            </a:r>
            <a:br>
              <a:rPr lang="en-US" sz="397" b="1"/>
            </a:br>
            <a:r>
              <a:rPr lang="en-US" sz="397" b="1"/>
              <a:t>Blue</a:t>
            </a:r>
          </a:p>
          <a:p>
            <a:pPr marL="113184"/>
            <a:r>
              <a:rPr lang="en-US" sz="397"/>
              <a:t>R 18</a:t>
            </a:r>
          </a:p>
          <a:p>
            <a:pPr marL="113184"/>
            <a:r>
              <a:rPr lang="en-US" sz="397"/>
              <a:t>G 171</a:t>
            </a:r>
          </a:p>
          <a:p>
            <a:pPr marL="113184"/>
            <a:r>
              <a:rPr lang="en-US" sz="397"/>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Deep</a:t>
            </a:r>
            <a:br>
              <a:rPr lang="en-US" sz="397" b="1"/>
            </a:br>
            <a:r>
              <a:rPr lang="en-US" sz="397" b="1"/>
              <a:t>Purple</a:t>
            </a:r>
          </a:p>
          <a:p>
            <a:pPr marL="113184"/>
            <a:r>
              <a:rPr lang="en-US" sz="397"/>
              <a:t>R 43</a:t>
            </a:r>
          </a:p>
          <a:p>
            <a:pPr marL="113184"/>
            <a:r>
              <a:rPr lang="en-US" sz="397"/>
              <a:t>G 10</a:t>
            </a:r>
          </a:p>
          <a:p>
            <a:pPr marL="113184"/>
            <a:r>
              <a:rPr lang="en-US" sz="397"/>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Tech</a:t>
            </a:r>
            <a:br>
              <a:rPr lang="en-US" sz="397" b="1"/>
            </a:br>
            <a:r>
              <a:rPr lang="en-US" sz="397" b="1"/>
              <a:t>Red</a:t>
            </a:r>
          </a:p>
          <a:p>
            <a:pPr marL="113184"/>
            <a:r>
              <a:rPr lang="en-US" sz="397"/>
              <a:t>R 255</a:t>
            </a:r>
          </a:p>
          <a:p>
            <a:pPr marL="113184"/>
            <a:r>
              <a:rPr lang="en-US" sz="397"/>
              <a:t>G 48</a:t>
            </a:r>
          </a:p>
          <a:p>
            <a:pPr marL="113184"/>
            <a:r>
              <a:rPr lang="en-US" sz="397"/>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Zest</a:t>
            </a:r>
            <a:br>
              <a:rPr lang="en-US" sz="397" b="1"/>
            </a:br>
            <a:r>
              <a:rPr lang="en-US" sz="397" b="1"/>
              <a:t>Green</a:t>
            </a:r>
          </a:p>
          <a:p>
            <a:pPr marL="113184"/>
            <a:r>
              <a:rPr lang="en-US" sz="397"/>
              <a:t>R 149</a:t>
            </a:r>
          </a:p>
          <a:p>
            <a:pPr marL="113184"/>
            <a:r>
              <a:rPr lang="en-US" sz="397"/>
              <a:t>G 230</a:t>
            </a:r>
          </a:p>
          <a:p>
            <a:pPr marL="113184"/>
            <a:r>
              <a:rPr lang="en-US" sz="397"/>
              <a:t>B 22</a:t>
            </a:r>
          </a:p>
        </p:txBody>
      </p:sp>
      <p:sp>
        <p:nvSpPr>
          <p:cNvPr id="11" name="Rectangle 10"/>
          <p:cNvSpPr/>
          <p:nvPr/>
        </p:nvSpPr>
        <p:spPr>
          <a:xfrm>
            <a:off x="10153651" y="2468610"/>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8777">
              <a:spcAft>
                <a:spcPts val="264"/>
              </a:spcAft>
            </a:pPr>
            <a:r>
              <a:rPr lang="en-US" sz="397" b="1"/>
              <a:t>Capgemini Blue</a:t>
            </a:r>
            <a:r>
              <a:rPr lang="en-US" sz="397"/>
              <a:t> (-50%)</a:t>
            </a:r>
          </a:p>
          <a:p>
            <a:pPr marL="113184"/>
            <a:r>
              <a:rPr lang="en-US" sz="397"/>
              <a:t>R 128</a:t>
            </a:r>
          </a:p>
          <a:p>
            <a:pPr marL="113184"/>
            <a:r>
              <a:rPr lang="en-US" sz="397"/>
              <a:t>G 184</a:t>
            </a:r>
          </a:p>
          <a:p>
            <a:pPr marL="113184"/>
            <a:r>
              <a:rPr lang="en-US" sz="397"/>
              <a:t>B 214</a:t>
            </a:r>
          </a:p>
        </p:txBody>
      </p:sp>
      <p:sp>
        <p:nvSpPr>
          <p:cNvPr id="12" name="Rectangle 11"/>
          <p:cNvSpPr/>
          <p:nvPr/>
        </p:nvSpPr>
        <p:spPr>
          <a:xfrm>
            <a:off x="10637145" y="2468610"/>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8777">
              <a:spcAft>
                <a:spcPts val="264"/>
              </a:spcAft>
            </a:pPr>
            <a:r>
              <a:rPr lang="en-US" sz="397" b="1"/>
              <a:t>Vibrant</a:t>
            </a:r>
            <a:br>
              <a:rPr lang="en-US" sz="397" b="1"/>
            </a:br>
            <a:r>
              <a:rPr lang="en-US" sz="397" b="1"/>
              <a:t>Blue</a:t>
            </a:r>
            <a:r>
              <a:rPr lang="en-US" sz="397"/>
              <a:t> (-50%)</a:t>
            </a:r>
          </a:p>
          <a:p>
            <a:pPr marL="113184"/>
            <a:r>
              <a:rPr lang="en-US" sz="397"/>
              <a:t>R 136</a:t>
            </a:r>
          </a:p>
          <a:p>
            <a:pPr marL="113184"/>
            <a:r>
              <a:rPr lang="en-US" sz="397"/>
              <a:t>G 213</a:t>
            </a:r>
          </a:p>
          <a:p>
            <a:pPr marL="113184"/>
            <a:r>
              <a:rPr lang="en-US" sz="397"/>
              <a:t>B 237</a:t>
            </a:r>
          </a:p>
        </p:txBody>
      </p:sp>
      <p:sp>
        <p:nvSpPr>
          <p:cNvPr id="14" name="Rectangle 13"/>
          <p:cNvSpPr/>
          <p:nvPr/>
        </p:nvSpPr>
        <p:spPr>
          <a:xfrm>
            <a:off x="11120640" y="2468610"/>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Bright</a:t>
            </a:r>
            <a:br>
              <a:rPr lang="en-US" sz="397" b="1"/>
            </a:br>
            <a:r>
              <a:rPr lang="en-US" sz="397" b="1"/>
              <a:t>Purple</a:t>
            </a:r>
          </a:p>
          <a:p>
            <a:pPr marL="113184"/>
            <a:r>
              <a:rPr lang="en-US" sz="397"/>
              <a:t>R 109</a:t>
            </a:r>
          </a:p>
          <a:p>
            <a:pPr marL="113184"/>
            <a:r>
              <a:rPr lang="en-US" sz="397"/>
              <a:t>G 100</a:t>
            </a:r>
          </a:p>
          <a:p>
            <a:pPr marL="113184"/>
            <a:r>
              <a:rPr lang="en-US" sz="397"/>
              <a:t>B 204</a:t>
            </a:r>
          </a:p>
        </p:txBody>
      </p:sp>
      <p:sp>
        <p:nvSpPr>
          <p:cNvPr id="15" name="Rectangle 14"/>
          <p:cNvSpPr/>
          <p:nvPr/>
        </p:nvSpPr>
        <p:spPr>
          <a:xfrm>
            <a:off x="11604134" y="2468610"/>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Orange</a:t>
            </a:r>
          </a:p>
          <a:p>
            <a:pPr marL="113184"/>
            <a:r>
              <a:rPr lang="en-US" sz="397"/>
              <a:t>R 255</a:t>
            </a:r>
          </a:p>
          <a:p>
            <a:pPr marL="113184"/>
            <a:r>
              <a:rPr lang="en-US" sz="397"/>
              <a:t>G 99</a:t>
            </a:r>
          </a:p>
          <a:p>
            <a:pPr marL="113184"/>
            <a:r>
              <a:rPr lang="en-US" sz="397"/>
              <a:t>B 39</a:t>
            </a:r>
          </a:p>
        </p:txBody>
      </p:sp>
      <p:sp>
        <p:nvSpPr>
          <p:cNvPr id="16" name="Rectangle 15"/>
          <p:cNvSpPr/>
          <p:nvPr/>
        </p:nvSpPr>
        <p:spPr>
          <a:xfrm>
            <a:off x="12087629" y="2468610"/>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Bright</a:t>
            </a:r>
            <a:br>
              <a:rPr lang="en-US" sz="397" b="1"/>
            </a:br>
            <a:r>
              <a:rPr lang="en-US" sz="397" b="1"/>
              <a:t>Green</a:t>
            </a:r>
          </a:p>
          <a:p>
            <a:pPr marL="113184"/>
            <a:r>
              <a:rPr lang="en-US" sz="397"/>
              <a:t>R 200</a:t>
            </a:r>
          </a:p>
          <a:p>
            <a:pPr marL="113184"/>
            <a:r>
              <a:rPr lang="en-US" sz="397"/>
              <a:t>G 255</a:t>
            </a:r>
          </a:p>
          <a:p>
            <a:pPr marL="113184"/>
            <a:r>
              <a:rPr lang="en-US" sz="397"/>
              <a:t>B 22</a:t>
            </a:r>
          </a:p>
        </p:txBody>
      </p:sp>
      <p:sp>
        <p:nvSpPr>
          <p:cNvPr id="17" name="Rectangle 16"/>
          <p:cNvSpPr/>
          <p:nvPr/>
        </p:nvSpPr>
        <p:spPr>
          <a:xfrm>
            <a:off x="11120640" y="3089933"/>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Purple</a:t>
            </a:r>
          </a:p>
          <a:p>
            <a:pPr marL="113184"/>
            <a:r>
              <a:rPr lang="en-US" sz="397"/>
              <a:t>R 126</a:t>
            </a:r>
          </a:p>
          <a:p>
            <a:pPr marL="113184"/>
            <a:r>
              <a:rPr lang="en-US" sz="397"/>
              <a:t>G 57</a:t>
            </a:r>
          </a:p>
          <a:p>
            <a:pPr marL="113184"/>
            <a:r>
              <a:rPr lang="en-US" sz="397"/>
              <a:t>B 186</a:t>
            </a:r>
          </a:p>
        </p:txBody>
      </p:sp>
      <p:sp>
        <p:nvSpPr>
          <p:cNvPr id="18" name="Rectangle 17"/>
          <p:cNvSpPr/>
          <p:nvPr/>
        </p:nvSpPr>
        <p:spPr>
          <a:xfrm>
            <a:off x="12087629" y="3089933"/>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Green</a:t>
            </a:r>
          </a:p>
          <a:p>
            <a:pPr marL="113184"/>
            <a:r>
              <a:rPr lang="en-US" sz="397"/>
              <a:t>R 0</a:t>
            </a:r>
          </a:p>
          <a:p>
            <a:pPr marL="113184"/>
            <a:r>
              <a:rPr lang="en-US" sz="397"/>
              <a:t>G 195</a:t>
            </a:r>
          </a:p>
          <a:p>
            <a:pPr marL="113184"/>
            <a:r>
              <a:rPr lang="en-US" sz="397"/>
              <a:t>B 123</a:t>
            </a:r>
          </a:p>
        </p:txBody>
      </p:sp>
      <p:sp>
        <p:nvSpPr>
          <p:cNvPr id="19" name="Rectangle 18"/>
          <p:cNvSpPr/>
          <p:nvPr/>
        </p:nvSpPr>
        <p:spPr>
          <a:xfrm>
            <a:off x="12087629" y="4948920"/>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Dark</a:t>
            </a:r>
            <a:br>
              <a:rPr lang="en-US" sz="397" b="1"/>
            </a:br>
            <a:r>
              <a:rPr lang="en-US" sz="397" b="1"/>
              <a:t>Green</a:t>
            </a:r>
          </a:p>
          <a:p>
            <a:pPr marL="113184"/>
            <a:r>
              <a:rPr lang="en-US" sz="397"/>
              <a:t>R 21</a:t>
            </a:r>
          </a:p>
          <a:p>
            <a:pPr marL="113184"/>
            <a:r>
              <a:rPr lang="en-US" sz="397"/>
              <a:t>G 99</a:t>
            </a:r>
          </a:p>
          <a:p>
            <a:pPr marL="113184"/>
            <a:r>
              <a:rPr lang="en-US" sz="397"/>
              <a:t>B 107</a:t>
            </a:r>
          </a:p>
        </p:txBody>
      </p:sp>
      <p:sp>
        <p:nvSpPr>
          <p:cNvPr id="20" name="Rectangle 19"/>
          <p:cNvSpPr/>
          <p:nvPr/>
        </p:nvSpPr>
        <p:spPr>
          <a:xfrm>
            <a:off x="12087629" y="4330088"/>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Aqua</a:t>
            </a:r>
          </a:p>
          <a:p>
            <a:pPr marL="113184"/>
            <a:r>
              <a:rPr lang="en-US" sz="397"/>
              <a:t>R 15</a:t>
            </a:r>
          </a:p>
          <a:p>
            <a:pPr marL="113184"/>
            <a:r>
              <a:rPr lang="en-US" sz="397"/>
              <a:t>G 153</a:t>
            </a:r>
          </a:p>
          <a:p>
            <a:pPr marL="113184"/>
            <a:r>
              <a:rPr lang="en-US" sz="397"/>
              <a:t>B 156</a:t>
            </a:r>
          </a:p>
        </p:txBody>
      </p:sp>
      <p:sp>
        <p:nvSpPr>
          <p:cNvPr id="21" name="Rectangle 20"/>
          <p:cNvSpPr/>
          <p:nvPr/>
        </p:nvSpPr>
        <p:spPr>
          <a:xfrm>
            <a:off x="12087629" y="3711255"/>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Bright</a:t>
            </a:r>
            <a:br>
              <a:rPr lang="en-US" sz="397" b="1"/>
            </a:br>
            <a:r>
              <a:rPr lang="en-US" sz="397" b="1"/>
              <a:t>Aqua</a:t>
            </a:r>
          </a:p>
          <a:p>
            <a:pPr marL="113184"/>
            <a:r>
              <a:rPr lang="en-US" sz="397"/>
              <a:t>R 1</a:t>
            </a:r>
          </a:p>
          <a:p>
            <a:pPr marL="113184"/>
            <a:r>
              <a:rPr lang="en-US" sz="397"/>
              <a:t>G 209</a:t>
            </a:r>
          </a:p>
          <a:p>
            <a:pPr marL="113184"/>
            <a:r>
              <a:rPr lang="en-US" sz="397"/>
              <a:t>B 208</a:t>
            </a:r>
          </a:p>
        </p:txBody>
      </p:sp>
      <p:sp>
        <p:nvSpPr>
          <p:cNvPr id="22" name="Rectangle 21"/>
          <p:cNvSpPr/>
          <p:nvPr/>
        </p:nvSpPr>
        <p:spPr>
          <a:xfrm>
            <a:off x="11604134" y="3089933"/>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Peach</a:t>
            </a:r>
          </a:p>
          <a:p>
            <a:pPr marL="113184"/>
            <a:r>
              <a:rPr lang="en-US" sz="397"/>
              <a:t>R 255</a:t>
            </a:r>
          </a:p>
          <a:p>
            <a:pPr marL="113184"/>
            <a:r>
              <a:rPr lang="en-US" sz="397"/>
              <a:t>G 126</a:t>
            </a:r>
          </a:p>
          <a:p>
            <a:pPr marL="113184"/>
            <a:r>
              <a:rPr lang="en-US" sz="397"/>
              <a:t>B 131</a:t>
            </a:r>
          </a:p>
        </p:txBody>
      </p:sp>
      <p:sp>
        <p:nvSpPr>
          <p:cNvPr id="23" name="Rectangle 22"/>
          <p:cNvSpPr/>
          <p:nvPr/>
        </p:nvSpPr>
        <p:spPr>
          <a:xfrm>
            <a:off x="11604134" y="3711255"/>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Light</a:t>
            </a:r>
            <a:br>
              <a:rPr lang="en-US" sz="397" b="1"/>
            </a:br>
            <a:r>
              <a:rPr lang="en-US" sz="397" b="1"/>
              <a:t>Claret</a:t>
            </a:r>
          </a:p>
          <a:p>
            <a:pPr marL="113184"/>
            <a:r>
              <a:rPr lang="en-US" sz="397"/>
              <a:t>R 203</a:t>
            </a:r>
          </a:p>
          <a:p>
            <a:pPr marL="113184"/>
            <a:r>
              <a:rPr lang="en-US" sz="397"/>
              <a:t>G 41</a:t>
            </a:r>
          </a:p>
          <a:p>
            <a:pPr marL="113184"/>
            <a:r>
              <a:rPr lang="en-US" sz="397"/>
              <a:t>B 128</a:t>
            </a:r>
          </a:p>
        </p:txBody>
      </p:sp>
      <p:sp>
        <p:nvSpPr>
          <p:cNvPr id="24" name="Rectangle 23"/>
          <p:cNvSpPr/>
          <p:nvPr/>
        </p:nvSpPr>
        <p:spPr>
          <a:xfrm>
            <a:off x="11604134" y="4330088"/>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Claret</a:t>
            </a:r>
          </a:p>
          <a:p>
            <a:pPr marL="113184"/>
            <a:r>
              <a:rPr lang="en-US" sz="397"/>
              <a:t>R 134</a:t>
            </a:r>
          </a:p>
          <a:p>
            <a:pPr marL="113184"/>
            <a:r>
              <a:rPr lang="en-US" sz="397"/>
              <a:t>G 8</a:t>
            </a:r>
          </a:p>
          <a:p>
            <a:pPr marL="113184"/>
            <a:r>
              <a:rPr lang="en-US" sz="397"/>
              <a:t>B 100</a:t>
            </a:r>
          </a:p>
        </p:txBody>
      </p:sp>
      <p:sp>
        <p:nvSpPr>
          <p:cNvPr id="25" name="Rectangle 24"/>
          <p:cNvSpPr/>
          <p:nvPr/>
        </p:nvSpPr>
        <p:spPr>
          <a:xfrm>
            <a:off x="10196933" y="1432069"/>
            <a:ext cx="375103"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a:solidFill>
                  <a:schemeClr val="tx2"/>
                </a:solidFill>
              </a:rPr>
              <a:t>Primary</a:t>
            </a:r>
          </a:p>
        </p:txBody>
      </p:sp>
      <p:sp>
        <p:nvSpPr>
          <p:cNvPr id="26" name="Rectangle 25"/>
          <p:cNvSpPr/>
          <p:nvPr/>
        </p:nvSpPr>
        <p:spPr>
          <a:xfrm>
            <a:off x="10217522" y="2311499"/>
            <a:ext cx="556243"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a:solidFill>
                  <a:schemeClr val="tx2"/>
                </a:solidFill>
              </a:rPr>
              <a:t>Infographic</a:t>
            </a:r>
          </a:p>
        </p:txBody>
      </p:sp>
      <p:sp>
        <p:nvSpPr>
          <p:cNvPr id="27" name="Rectangle 26"/>
          <p:cNvSpPr/>
          <p:nvPr/>
        </p:nvSpPr>
        <p:spPr>
          <a:xfrm>
            <a:off x="11177748" y="1432069"/>
            <a:ext cx="496931"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a:solidFill>
                  <a:schemeClr val="tx2"/>
                </a:solidFill>
              </a:rPr>
              <a:t>Secondary</a:t>
            </a:r>
          </a:p>
        </p:txBody>
      </p:sp>
      <p:sp>
        <p:nvSpPr>
          <p:cNvPr id="28" name="Rectangle 27"/>
          <p:cNvSpPr/>
          <p:nvPr/>
        </p:nvSpPr>
        <p:spPr>
          <a:xfrm>
            <a:off x="11120640" y="3711255"/>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a:t>Dark</a:t>
            </a:r>
            <a:br>
              <a:rPr lang="en-US" sz="397" b="1"/>
            </a:br>
            <a:r>
              <a:rPr lang="en-US" sz="397" b="1"/>
              <a:t>Purple</a:t>
            </a:r>
          </a:p>
          <a:p>
            <a:pPr marL="113184"/>
            <a:r>
              <a:rPr lang="en-US" sz="397"/>
              <a:t>R 71</a:t>
            </a:r>
          </a:p>
          <a:p>
            <a:pPr marL="113184"/>
            <a:r>
              <a:rPr lang="en-US" sz="397"/>
              <a:t>G 1</a:t>
            </a:r>
          </a:p>
          <a:p>
            <a:pPr marL="113184"/>
            <a:r>
              <a:rPr lang="en-US" sz="397"/>
              <a:t>B 167</a:t>
            </a:r>
          </a:p>
        </p:txBody>
      </p:sp>
    </p:spTree>
    <p:extLst>
      <p:ext uri="{BB962C8B-B14F-4D97-AF65-F5344CB8AC3E}">
        <p14:creationId xmlns:p14="http://schemas.microsoft.com/office/powerpoint/2010/main" val="3792218969"/>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Lst>
  <p:txStyles>
    <p:titleStyle>
      <a:lvl1pPr algn="l" defTabSz="603647" rtl="0" eaLnBrk="1" latinLnBrk="0" hangingPunct="1">
        <a:lnSpc>
          <a:spcPct val="90000"/>
        </a:lnSpc>
        <a:spcBef>
          <a:spcPct val="0"/>
        </a:spcBef>
        <a:buNone/>
        <a:defRPr lang="pt-PT" sz="1717"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03647" rtl="0" eaLnBrk="1" latinLnBrk="0" hangingPunct="1">
        <a:lnSpc>
          <a:spcPts val="1453"/>
        </a:lnSpc>
        <a:spcBef>
          <a:spcPts val="0"/>
        </a:spcBef>
        <a:spcAft>
          <a:spcPts val="397"/>
        </a:spcAft>
        <a:buFont typeface="Arial" panose="020B0604020202020204" pitchFamily="34" charset="0"/>
        <a:buNone/>
        <a:defRPr sz="1189" kern="1200">
          <a:solidFill>
            <a:schemeClr val="tx1"/>
          </a:solidFill>
          <a:latin typeface="+mn-lt"/>
          <a:ea typeface="+mn-ea"/>
          <a:cs typeface="+mn-cs"/>
        </a:defRPr>
      </a:lvl1pPr>
      <a:lvl2pPr marL="154056" indent="-150912" algn="l" defTabSz="603647" rtl="0" eaLnBrk="1" latinLnBrk="0" hangingPunct="1">
        <a:lnSpc>
          <a:spcPts val="1320"/>
        </a:lnSpc>
        <a:spcBef>
          <a:spcPts val="0"/>
        </a:spcBef>
        <a:spcAft>
          <a:spcPts val="397"/>
        </a:spcAft>
        <a:buClr>
          <a:schemeClr val="accent1"/>
        </a:buClr>
        <a:buFont typeface="Wingdings" panose="05000000000000000000" pitchFamily="2" charset="2"/>
        <a:buChar char="§"/>
        <a:defRPr sz="1056" kern="1200">
          <a:solidFill>
            <a:schemeClr val="tx1"/>
          </a:solidFill>
          <a:latin typeface="+mn-lt"/>
          <a:ea typeface="+mn-ea"/>
          <a:cs typeface="+mn-cs"/>
        </a:defRPr>
      </a:lvl2pPr>
      <a:lvl3pPr marL="301823" indent="-147768" algn="l" defTabSz="603647" rtl="0" eaLnBrk="1" latinLnBrk="0" hangingPunct="1">
        <a:lnSpc>
          <a:spcPts val="1056"/>
        </a:lnSpc>
        <a:spcBef>
          <a:spcPts val="0"/>
        </a:spcBef>
        <a:spcAft>
          <a:spcPts val="397"/>
        </a:spcAft>
        <a:buClr>
          <a:schemeClr val="accent1"/>
        </a:buClr>
        <a:buFont typeface="Arial" panose="020B0604020202020204" pitchFamily="34" charset="0"/>
        <a:buChar char="•"/>
        <a:defRPr sz="925" kern="1200">
          <a:solidFill>
            <a:schemeClr val="tx1"/>
          </a:solidFill>
          <a:latin typeface="+mn-lt"/>
          <a:ea typeface="+mn-ea"/>
          <a:cs typeface="+mn-cs"/>
        </a:defRPr>
      </a:lvl3pPr>
      <a:lvl4pPr marL="455879" indent="-154056" algn="l" defTabSz="603647" rtl="0" eaLnBrk="1" latinLnBrk="0" hangingPunct="1">
        <a:lnSpc>
          <a:spcPct val="90000"/>
        </a:lnSpc>
        <a:spcBef>
          <a:spcPts val="0"/>
        </a:spcBef>
        <a:spcAft>
          <a:spcPts val="397"/>
        </a:spcAft>
        <a:buClr>
          <a:schemeClr val="accent1"/>
        </a:buClr>
        <a:buFont typeface="Arial" panose="020B0604020202020204" pitchFamily="34" charset="0"/>
        <a:buChar char="‒"/>
        <a:defRPr sz="792" kern="1200">
          <a:solidFill>
            <a:schemeClr val="tx1"/>
          </a:solidFill>
          <a:latin typeface="+mn-lt"/>
          <a:ea typeface="+mn-ea"/>
          <a:cs typeface="+mn-cs"/>
        </a:defRPr>
      </a:lvl4pPr>
      <a:lvl5pPr marL="1358206" indent="-150912" algn="l" defTabSz="603647" rtl="0" eaLnBrk="1" latinLnBrk="0" hangingPunct="1">
        <a:lnSpc>
          <a:spcPct val="90000"/>
        </a:lnSpc>
        <a:spcBef>
          <a:spcPts val="330"/>
        </a:spcBef>
        <a:buFont typeface="Arial" panose="020B0604020202020204" pitchFamily="34" charset="0"/>
        <a:buChar char="•"/>
        <a:defRPr sz="925" kern="1200">
          <a:solidFill>
            <a:schemeClr val="tx1"/>
          </a:solidFill>
          <a:latin typeface="+mn-lt"/>
          <a:ea typeface="+mn-ea"/>
          <a:cs typeface="+mn-cs"/>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pt-PT"/>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8.jpeg"/><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NULL"/><Relationship Id="rId4" Type="http://schemas.openxmlformats.org/officeDocument/2006/relationships/customXml" Target="../ink/ink1.xml"/></Relationships>
</file>

<file path=ppt/slides/_rels/slide31.xml.rels><?xml version="1.0" encoding="UTF-8" standalone="yes"?>
<Relationships xmlns="http://schemas.openxmlformats.org/package/2006/relationships"><Relationship Id="rId8" Type="http://schemas.openxmlformats.org/officeDocument/2006/relationships/hyperlink" Target="http://km3.capgemini.com/book/714868" TargetMode="External"/><Relationship Id="rId13" Type="http://schemas.openxmlformats.org/officeDocument/2006/relationships/hyperlink" Target="https://www.capgemini.com/testimonials/" TargetMode="External"/><Relationship Id="rId3" Type="http://schemas.openxmlformats.org/officeDocument/2006/relationships/hyperlink" Target="http://careerstory.in.capgemini.com/" TargetMode="External"/><Relationship Id="rId7" Type="http://schemas.openxmlformats.org/officeDocument/2006/relationships/hyperlink" Target="https://km3.capgemini.com/book/310127" TargetMode="External"/><Relationship Id="rId12" Type="http://schemas.openxmlformats.org/officeDocument/2006/relationships/hyperlink" Target="https://mylearning.capgemini.com/" TargetMode="External"/><Relationship Id="rId2" Type="http://schemas.openxmlformats.org/officeDocument/2006/relationships/image" Target="../media/image57.jpeg"/><Relationship Id="rId1" Type="http://schemas.openxmlformats.org/officeDocument/2006/relationships/slideLayout" Target="../slideLayouts/slideLayout2.xml"/><Relationship Id="rId6" Type="http://schemas.openxmlformats.org/officeDocument/2006/relationships/hyperlink" Target="https://km3.capgemini.com/book/1051302" TargetMode="External"/><Relationship Id="rId11" Type="http://schemas.openxmlformats.org/officeDocument/2006/relationships/hyperlink" Target="http://r2d2.capgemini.com/" TargetMode="External"/><Relationship Id="rId5" Type="http://schemas.openxmlformats.org/officeDocument/2006/relationships/hyperlink" Target="https://careerframework.fs.capgemini.com/" TargetMode="External"/><Relationship Id="rId10" Type="http://schemas.openxmlformats.org/officeDocument/2006/relationships/hyperlink" Target="https://myconnect.capgemini.com/" TargetMode="External"/><Relationship Id="rId4" Type="http://schemas.openxmlformats.org/officeDocument/2006/relationships/hyperlink" Target="http://talent.capgemini.com/media_library/Medias/Common_images/CG_Career_Story_Oct-2016.pdf" TargetMode="External"/><Relationship Id="rId9" Type="http://schemas.openxmlformats.org/officeDocument/2006/relationships/hyperlink" Target="https://iconnect.fs.capgemini.com/"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hyperlink" Target="https://careerframework.fs.capgemini.com/"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hyperlink" Target="mailto:talent.fssbu@capgemini.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2.sv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4" name="Rectangle 6"/>
          <p:cNvSpPr>
            <a:spLocks noGrp="1" noChangeArrowheads="1"/>
          </p:cNvSpPr>
          <p:nvPr>
            <p:ph type="ctrTitle" idx="4294967295"/>
          </p:nvPr>
        </p:nvSpPr>
        <p:spPr>
          <a:xfrm>
            <a:off x="196648" y="548600"/>
            <a:ext cx="2792700" cy="1003300"/>
          </a:xfrm>
        </p:spPr>
        <p:txBody>
          <a:bodyPr anchor="t">
            <a:noAutofit/>
          </a:bodyPr>
          <a:lstStyle/>
          <a:p>
            <a:r>
              <a:rPr lang="en-US" sz="3600" dirty="0">
                <a:solidFill>
                  <a:srgbClr val="99FF33"/>
                </a:solidFill>
              </a:rPr>
              <a:t>Your Career Story in Capgemini</a:t>
            </a:r>
            <a:br>
              <a:rPr lang="en-US" sz="3600" b="1" dirty="0">
                <a:solidFill>
                  <a:srgbClr val="99FF33"/>
                </a:solidFill>
              </a:rPr>
            </a:br>
            <a:endParaRPr lang="en-US" sz="2000" b="1" dirty="0">
              <a:solidFill>
                <a:srgbClr val="99FF33"/>
              </a:solidFill>
            </a:endParaRPr>
          </a:p>
        </p:txBody>
      </p:sp>
      <p:sp>
        <p:nvSpPr>
          <p:cNvPr id="4" name="Text Placeholder 3">
            <a:extLst>
              <a:ext uri="{FF2B5EF4-FFF2-40B4-BE49-F238E27FC236}">
                <a16:creationId xmlns:a16="http://schemas.microsoft.com/office/drawing/2014/main" id="{6D59504C-74D0-4A21-9C48-A11291D9296B}"/>
              </a:ext>
            </a:extLst>
          </p:cNvPr>
          <p:cNvSpPr>
            <a:spLocks noGrp="1"/>
          </p:cNvSpPr>
          <p:nvPr>
            <p:ph type="body" sz="quarter" idx="11"/>
          </p:nvPr>
        </p:nvSpPr>
        <p:spPr/>
        <p:txBody>
          <a:bodyPr/>
          <a:lstStyle/>
          <a:p>
            <a:endParaRPr lang="en-US" dirty="0"/>
          </a:p>
        </p:txBody>
      </p:sp>
      <p:sp>
        <p:nvSpPr>
          <p:cNvPr id="5" name="TextBox 4">
            <a:extLst>
              <a:ext uri="{FF2B5EF4-FFF2-40B4-BE49-F238E27FC236}">
                <a16:creationId xmlns:a16="http://schemas.microsoft.com/office/drawing/2014/main" id="{B7B151BA-AE69-40F6-B6A4-2DADD89687BC}"/>
              </a:ext>
            </a:extLst>
          </p:cNvPr>
          <p:cNvSpPr txBox="1"/>
          <p:nvPr/>
        </p:nvSpPr>
        <p:spPr>
          <a:xfrm>
            <a:off x="95693" y="2725311"/>
            <a:ext cx="3774558" cy="677108"/>
          </a:xfrm>
          <a:prstGeom prst="rect">
            <a:avLst/>
          </a:prstGeom>
          <a:noFill/>
        </p:spPr>
        <p:txBody>
          <a:bodyPr wrap="square" rtlCol="0">
            <a:spAutoFit/>
          </a:bodyPr>
          <a:lstStyle/>
          <a:p>
            <a:r>
              <a:rPr lang="en-US" dirty="0"/>
              <a:t>Where can my career go from here?</a:t>
            </a:r>
          </a:p>
        </p:txBody>
      </p:sp>
    </p:spTree>
    <p:extLst>
      <p:ext uri="{BB962C8B-B14F-4D97-AF65-F5344CB8AC3E}">
        <p14:creationId xmlns:p14="http://schemas.microsoft.com/office/powerpoint/2010/main" val="4245712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9397" y="187304"/>
            <a:ext cx="4445990" cy="863600"/>
          </a:xfrm>
        </p:spPr>
        <p:txBody>
          <a:bodyPr vert="horz" lIns="91440" tIns="45720" rIns="91440" bIns="45720" rtlCol="0" anchor="ctr">
            <a:normAutofit/>
          </a:bodyPr>
          <a:lstStyle/>
          <a:p>
            <a:r>
              <a:rPr lang="en-US" sz="2400">
                <a:solidFill>
                  <a:schemeClr val="bg2"/>
                </a:solidFill>
                <a:latin typeface="Arial" pitchFamily="34" charset="0"/>
              </a:rPr>
              <a:t>Set-up time to meet your People Manager.</a:t>
            </a:r>
          </a:p>
        </p:txBody>
      </p:sp>
      <p:pic>
        <p:nvPicPr>
          <p:cNvPr id="4" name="Picture 4" descr="https://www.illinois.gov/dceo/SmallBizAssistance/PublishingImages/oneonone01.jpg"/>
          <p:cNvPicPr>
            <a:picLocks noChangeAspect="1" noChangeArrowheads="1"/>
          </p:cNvPicPr>
          <p:nvPr/>
        </p:nvPicPr>
        <p:blipFill>
          <a:blip r:embed="rId2" cstate="email"/>
          <a:srcRect/>
          <a:stretch>
            <a:fillRect/>
          </a:stretch>
        </p:blipFill>
        <p:spPr bwMode="auto">
          <a:xfrm>
            <a:off x="6033150" y="3212970"/>
            <a:ext cx="3635566" cy="2214738"/>
          </a:xfrm>
          <a:prstGeom prst="rect">
            <a:avLst/>
          </a:prstGeom>
          <a:noFill/>
          <a:ln w="19050">
            <a:solidFill>
              <a:schemeClr val="bg1">
                <a:lumMod val="85000"/>
              </a:schemeClr>
            </a:solidFill>
          </a:ln>
        </p:spPr>
      </p:pic>
      <p:graphicFrame>
        <p:nvGraphicFramePr>
          <p:cNvPr id="26" name="Diagram 25"/>
          <p:cNvGraphicFramePr/>
          <p:nvPr>
            <p:extLst>
              <p:ext uri="{D42A27DB-BD31-4B8C-83A1-F6EECF244321}">
                <p14:modId xmlns:p14="http://schemas.microsoft.com/office/powerpoint/2010/main" val="2776466048"/>
              </p:ext>
            </p:extLst>
          </p:nvPr>
        </p:nvGraphicFramePr>
        <p:xfrm>
          <a:off x="482598" y="921776"/>
          <a:ext cx="5184576" cy="5328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Oval 26"/>
          <p:cNvSpPr/>
          <p:nvPr/>
        </p:nvSpPr>
        <p:spPr>
          <a:xfrm>
            <a:off x="1775120" y="1012573"/>
            <a:ext cx="432048" cy="432048"/>
          </a:xfrm>
          <a:prstGeom prst="ellipse">
            <a:avLst/>
          </a:prstGeom>
          <a:solidFill>
            <a:srgbClr val="BDBD00"/>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1</a:t>
            </a:r>
          </a:p>
        </p:txBody>
      </p:sp>
      <p:sp>
        <p:nvSpPr>
          <p:cNvPr id="28" name="Oval 27"/>
          <p:cNvSpPr/>
          <p:nvPr/>
        </p:nvSpPr>
        <p:spPr>
          <a:xfrm>
            <a:off x="5438542" y="2647490"/>
            <a:ext cx="432048" cy="432048"/>
          </a:xfrm>
          <a:prstGeom prst="ellipse">
            <a:avLst/>
          </a:prstGeom>
          <a:solidFill>
            <a:srgbClr val="C00000"/>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6</a:t>
            </a:r>
          </a:p>
        </p:txBody>
      </p:sp>
      <p:sp>
        <p:nvSpPr>
          <p:cNvPr id="29" name="Oval 28"/>
          <p:cNvSpPr/>
          <p:nvPr/>
        </p:nvSpPr>
        <p:spPr>
          <a:xfrm>
            <a:off x="3600183" y="1012573"/>
            <a:ext cx="432048" cy="432048"/>
          </a:xfrm>
          <a:prstGeom prst="ellipse">
            <a:avLst/>
          </a:prstGeom>
          <a:solidFill>
            <a:schemeClr val="accent4">
              <a:lumMod val="60000"/>
              <a:lumOff val="40000"/>
            </a:schemeClr>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2</a:t>
            </a:r>
          </a:p>
        </p:txBody>
      </p:sp>
      <p:sp>
        <p:nvSpPr>
          <p:cNvPr id="30" name="Oval 29"/>
          <p:cNvSpPr/>
          <p:nvPr/>
        </p:nvSpPr>
        <p:spPr>
          <a:xfrm>
            <a:off x="5438542" y="1012573"/>
            <a:ext cx="432048" cy="432048"/>
          </a:xfrm>
          <a:prstGeom prst="ellipse">
            <a:avLst/>
          </a:prstGeom>
          <a:solidFill>
            <a:srgbClr val="691E7C">
              <a:lumMod val="60000"/>
              <a:lumOff val="40000"/>
            </a:srgbClr>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3</a:t>
            </a:r>
          </a:p>
        </p:txBody>
      </p:sp>
      <p:sp>
        <p:nvSpPr>
          <p:cNvPr id="31" name="Oval 30"/>
          <p:cNvSpPr/>
          <p:nvPr/>
        </p:nvSpPr>
        <p:spPr>
          <a:xfrm>
            <a:off x="1775120" y="2647490"/>
            <a:ext cx="432048" cy="432048"/>
          </a:xfrm>
          <a:prstGeom prst="ellipse">
            <a:avLst/>
          </a:prstGeom>
          <a:solidFill>
            <a:schemeClr val="accent3">
              <a:lumMod val="25000"/>
              <a:lumOff val="75000"/>
            </a:schemeClr>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4</a:t>
            </a:r>
          </a:p>
        </p:txBody>
      </p:sp>
      <p:sp>
        <p:nvSpPr>
          <p:cNvPr id="32" name="Oval 31"/>
          <p:cNvSpPr/>
          <p:nvPr/>
        </p:nvSpPr>
        <p:spPr>
          <a:xfrm>
            <a:off x="3600183" y="2647490"/>
            <a:ext cx="432048" cy="432048"/>
          </a:xfrm>
          <a:prstGeom prst="ellipse">
            <a:avLst/>
          </a:prstGeom>
          <a:solidFill>
            <a:srgbClr val="002060"/>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5</a:t>
            </a:r>
          </a:p>
        </p:txBody>
      </p:sp>
      <p:sp>
        <p:nvSpPr>
          <p:cNvPr id="33" name="Oval 32"/>
          <p:cNvSpPr/>
          <p:nvPr/>
        </p:nvSpPr>
        <p:spPr>
          <a:xfrm>
            <a:off x="1775120" y="4835894"/>
            <a:ext cx="432048" cy="432048"/>
          </a:xfrm>
          <a:prstGeom prst="ellipse">
            <a:avLst/>
          </a:prstGeom>
          <a:solidFill>
            <a:schemeClr val="accent1">
              <a:lumMod val="60000"/>
              <a:lumOff val="40000"/>
            </a:schemeClr>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7</a:t>
            </a:r>
          </a:p>
        </p:txBody>
      </p:sp>
      <p:sp>
        <p:nvSpPr>
          <p:cNvPr id="34" name="Oval 33"/>
          <p:cNvSpPr/>
          <p:nvPr/>
        </p:nvSpPr>
        <p:spPr>
          <a:xfrm>
            <a:off x="3600183" y="4835894"/>
            <a:ext cx="432048" cy="432048"/>
          </a:xfrm>
          <a:prstGeom prst="ellipse">
            <a:avLst/>
          </a:prstGeom>
          <a:solidFill>
            <a:srgbClr val="FF0000"/>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8</a:t>
            </a:r>
          </a:p>
        </p:txBody>
      </p:sp>
      <p:sp>
        <p:nvSpPr>
          <p:cNvPr id="35" name="Oval 34"/>
          <p:cNvSpPr/>
          <p:nvPr/>
        </p:nvSpPr>
        <p:spPr>
          <a:xfrm>
            <a:off x="5438542" y="4835894"/>
            <a:ext cx="432048" cy="432048"/>
          </a:xfrm>
          <a:prstGeom prst="ellipse">
            <a:avLst/>
          </a:prstGeom>
          <a:solidFill>
            <a:srgbClr val="0098CC"/>
          </a:solidFill>
          <a:ln w="1905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 lastClr="FFFFFF"/>
                </a:solidFill>
                <a:effectLst/>
                <a:uLnTx/>
                <a:uFillTx/>
                <a:latin typeface="Arial" pitchFamily="34" charset="0"/>
                <a:ea typeface="+mn-ea"/>
                <a:cs typeface="Arial" pitchFamily="34" charset="0"/>
              </a:rPr>
              <a:t>9</a:t>
            </a:r>
          </a:p>
        </p:txBody>
      </p:sp>
    </p:spTree>
    <p:extLst>
      <p:ext uri="{BB962C8B-B14F-4D97-AF65-F5344CB8AC3E}">
        <p14:creationId xmlns:p14="http://schemas.microsoft.com/office/powerpoint/2010/main" val="558154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906000" cy="134071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103" rtl="0" eaLnBrk="1" latinLnBrk="0" hangingPunct="1"/>
            <a:endParaRPr lang="en-US" sz="1800" kern="1200">
              <a:solidFill>
                <a:schemeClr val="lt1"/>
              </a:solidFill>
              <a:latin typeface="+mn-lt"/>
              <a:ea typeface="+mn-ea"/>
              <a:cs typeface="+mn-cs"/>
            </a:endParaRPr>
          </a:p>
        </p:txBody>
      </p:sp>
      <p:sp>
        <p:nvSpPr>
          <p:cNvPr id="4" name="Freeform 7"/>
          <p:cNvSpPr>
            <a:spLocks/>
          </p:cNvSpPr>
          <p:nvPr/>
        </p:nvSpPr>
        <p:spPr bwMode="auto">
          <a:xfrm>
            <a:off x="332509" y="85021"/>
            <a:ext cx="1298575" cy="1142117"/>
          </a:xfrm>
          <a:custGeom>
            <a:avLst/>
            <a:gdLst/>
            <a:ahLst/>
            <a:cxnLst>
              <a:cxn ang="0">
                <a:pos x="43" y="173"/>
              </a:cxn>
              <a:cxn ang="0">
                <a:pos x="43" y="49"/>
              </a:cxn>
              <a:cxn ang="0">
                <a:pos x="0" y="73"/>
              </a:cxn>
              <a:cxn ang="0">
                <a:pos x="0" y="44"/>
              </a:cxn>
              <a:cxn ang="0">
                <a:pos x="28" y="28"/>
              </a:cxn>
              <a:cxn ang="0">
                <a:pos x="49" y="0"/>
              </a:cxn>
              <a:cxn ang="0">
                <a:pos x="76" y="0"/>
              </a:cxn>
              <a:cxn ang="0">
                <a:pos x="76" y="173"/>
              </a:cxn>
            </a:cxnLst>
            <a:rect l="0" t="0" r="r" b="b"/>
            <a:pathLst>
              <a:path w="76" h="173">
                <a:moveTo>
                  <a:pt x="43" y="173"/>
                </a:moveTo>
                <a:cubicBezTo>
                  <a:pt x="43" y="49"/>
                  <a:pt x="43" y="49"/>
                  <a:pt x="43" y="49"/>
                </a:cubicBezTo>
                <a:cubicBezTo>
                  <a:pt x="31" y="60"/>
                  <a:pt x="16" y="68"/>
                  <a:pt x="0" y="73"/>
                </a:cubicBezTo>
                <a:cubicBezTo>
                  <a:pt x="0" y="44"/>
                  <a:pt x="0" y="44"/>
                  <a:pt x="0" y="44"/>
                </a:cubicBezTo>
                <a:cubicBezTo>
                  <a:pt x="9" y="41"/>
                  <a:pt x="18" y="35"/>
                  <a:pt x="28" y="28"/>
                </a:cubicBezTo>
                <a:cubicBezTo>
                  <a:pt x="38" y="20"/>
                  <a:pt x="45" y="11"/>
                  <a:pt x="49" y="0"/>
                </a:cubicBezTo>
                <a:cubicBezTo>
                  <a:pt x="76" y="0"/>
                  <a:pt x="76" y="0"/>
                  <a:pt x="76" y="0"/>
                </a:cubicBezTo>
                <a:cubicBezTo>
                  <a:pt x="76" y="173"/>
                  <a:pt x="76" y="173"/>
                  <a:pt x="76" y="17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p:cNvCxnSpPr/>
          <p:nvPr/>
        </p:nvCxnSpPr>
        <p:spPr>
          <a:xfrm>
            <a:off x="-12185" y="1227138"/>
            <a:ext cx="1069460" cy="0"/>
          </a:xfrm>
          <a:prstGeom prst="line">
            <a:avLst/>
          </a:prstGeom>
          <a:noFill/>
          <a:ln w="38100" cap="rnd">
            <a:solidFill>
              <a:schemeClr val="bg1"/>
            </a:solidFill>
            <a:prstDash val="solid"/>
            <a:round/>
            <a:headEnd/>
            <a:tailEnd/>
          </a:ln>
        </p:spPr>
      </p:cxnSp>
      <p:cxnSp>
        <p:nvCxnSpPr>
          <p:cNvPr id="6" name="Straight Connector 5"/>
          <p:cNvCxnSpPr/>
          <p:nvPr/>
        </p:nvCxnSpPr>
        <p:spPr>
          <a:xfrm>
            <a:off x="1631084" y="1227138"/>
            <a:ext cx="7939088" cy="0"/>
          </a:xfrm>
          <a:prstGeom prst="line">
            <a:avLst/>
          </a:prstGeom>
          <a:noFill/>
          <a:ln w="38100" cap="rnd">
            <a:solidFill>
              <a:schemeClr val="bg1"/>
            </a:solidFill>
            <a:prstDash val="solid"/>
            <a:round/>
            <a:headEnd/>
            <a:tailEnd/>
          </a:ln>
        </p:spPr>
      </p:cxnSp>
      <p:graphicFrame>
        <p:nvGraphicFramePr>
          <p:cNvPr id="9" name="Table 8"/>
          <p:cNvGraphicFramePr>
            <a:graphicFrameLocks noGrp="1"/>
          </p:cNvGraphicFramePr>
          <p:nvPr>
            <p:extLst>
              <p:ext uri="{D42A27DB-BD31-4B8C-83A1-F6EECF244321}">
                <p14:modId xmlns:p14="http://schemas.microsoft.com/office/powerpoint/2010/main" val="3828963291"/>
              </p:ext>
            </p:extLst>
          </p:nvPr>
        </p:nvGraphicFramePr>
        <p:xfrm>
          <a:off x="1743322" y="66397"/>
          <a:ext cx="7705070" cy="1127760"/>
        </p:xfrm>
        <a:graphic>
          <a:graphicData uri="http://schemas.openxmlformats.org/drawingml/2006/table">
            <a:tbl>
              <a:tblPr firstRow="1">
                <a:effectLst>
                  <a:outerShdw blurRad="50800" dist="38100" dir="2700000" algn="tl" rotWithShape="0">
                    <a:prstClr val="black">
                      <a:alpha val="40000"/>
                    </a:prstClr>
                  </a:outerShdw>
                </a:effectLst>
              </a:tblPr>
              <a:tblGrid>
                <a:gridCol w="7705070">
                  <a:extLst>
                    <a:ext uri="{9D8B030D-6E8A-4147-A177-3AD203B41FA5}">
                      <a16:colId xmlns:a16="http://schemas.microsoft.com/office/drawing/2014/main" val="20000"/>
                    </a:ext>
                  </a:extLst>
                </a:gridCol>
              </a:tblGrid>
              <a:tr h="875539">
                <a:tc>
                  <a:txBody>
                    <a:bodyPr/>
                    <a:lstStyle/>
                    <a:p>
                      <a:pPr marL="0" marR="0" indent="0" algn="just">
                        <a:spcBef>
                          <a:spcPts val="0"/>
                        </a:spcBef>
                        <a:spcAft>
                          <a:spcPts val="0"/>
                        </a:spcAft>
                      </a:pPr>
                      <a:r>
                        <a:rPr lang="en-GB" sz="1400" b="1" i="1">
                          <a:solidFill>
                            <a:schemeClr val="bg1"/>
                          </a:solidFill>
                          <a:effectLst/>
                          <a:latin typeface="+mn-lt"/>
                          <a:ea typeface="Times New Roman"/>
                        </a:rPr>
                        <a:t>Excels</a:t>
                      </a:r>
                    </a:p>
                    <a:p>
                      <a:pPr marL="0" marR="0" indent="0" algn="just">
                        <a:spcBef>
                          <a:spcPts val="0"/>
                        </a:spcBef>
                        <a:spcAft>
                          <a:spcPts val="0"/>
                        </a:spcAft>
                      </a:pPr>
                      <a:r>
                        <a:rPr lang="en-GB" sz="1200">
                          <a:solidFill>
                            <a:schemeClr val="bg1"/>
                          </a:solidFill>
                          <a:effectLst/>
                          <a:latin typeface="+mn-lt"/>
                          <a:ea typeface="Times New Roman"/>
                        </a:rPr>
                        <a:t>Significantly and consistently exceeds most/all performance criteria/expectations for the level. Unique, exceptional accomplishments clearly obvious to all. This rating is reserved for those individuals whose performance is consistently far above what is usually expected from an individual at the level. Generally the best performance that can realistically be expected - </a:t>
                      </a:r>
                      <a:r>
                        <a:rPr lang="en-GB" sz="1200" i="1">
                          <a:solidFill>
                            <a:schemeClr val="bg1"/>
                          </a:solidFill>
                          <a:effectLst/>
                          <a:latin typeface="+mn-lt"/>
                          <a:ea typeface="Times New Roman"/>
                        </a:rPr>
                        <a:t>Outstanding Performance and Contribution.</a:t>
                      </a:r>
                      <a:endParaRPr lang="en-US" sz="1200">
                        <a:solidFill>
                          <a:schemeClr val="bg1"/>
                        </a:solidFill>
                        <a:effectLst/>
                        <a:latin typeface="+mn-lt"/>
                        <a:ea typeface="Times New Roman"/>
                      </a:endParaRPr>
                    </a:p>
                  </a:txBody>
                  <a:tcPr marL="45169" marR="4516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3" name="Rectangle 12"/>
          <p:cNvSpPr/>
          <p:nvPr/>
        </p:nvSpPr>
        <p:spPr>
          <a:xfrm>
            <a:off x="-773" y="1334163"/>
            <a:ext cx="9911051" cy="159863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103" rtl="0" eaLnBrk="1" latinLnBrk="0" hangingPunct="1"/>
            <a:endParaRPr lang="en-US" sz="1800" kern="1200">
              <a:solidFill>
                <a:schemeClr val="lt1"/>
              </a:solidFill>
              <a:latin typeface="+mn-lt"/>
              <a:ea typeface="+mn-ea"/>
              <a:cs typeface="+mn-cs"/>
            </a:endParaRPr>
          </a:p>
        </p:txBody>
      </p:sp>
      <p:sp>
        <p:nvSpPr>
          <p:cNvPr id="14" name="Rectangle 13"/>
          <p:cNvSpPr/>
          <p:nvPr/>
        </p:nvSpPr>
        <p:spPr>
          <a:xfrm>
            <a:off x="-12186" y="2845152"/>
            <a:ext cx="9918185" cy="18800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103" rtl="0" eaLnBrk="1" latinLnBrk="0" hangingPunct="1"/>
            <a:endParaRPr lang="en-US" sz="1800" kern="1200">
              <a:solidFill>
                <a:schemeClr val="lt1"/>
              </a:solidFill>
              <a:latin typeface="+mn-lt"/>
              <a:ea typeface="+mn-ea"/>
              <a:cs typeface="+mn-cs"/>
            </a:endParaRPr>
          </a:p>
        </p:txBody>
      </p:sp>
      <p:sp>
        <p:nvSpPr>
          <p:cNvPr id="10" name="Freeform 9"/>
          <p:cNvSpPr>
            <a:spLocks/>
          </p:cNvSpPr>
          <p:nvPr/>
        </p:nvSpPr>
        <p:spPr bwMode="auto">
          <a:xfrm>
            <a:off x="522545" y="1502385"/>
            <a:ext cx="1108540" cy="1193722"/>
          </a:xfrm>
          <a:custGeom>
            <a:avLst/>
            <a:gdLst/>
            <a:ahLst/>
            <a:cxnLst>
              <a:cxn ang="0">
                <a:pos x="0" y="173"/>
              </a:cxn>
              <a:cxn ang="0">
                <a:pos x="11" y="140"/>
              </a:cxn>
              <a:cxn ang="0">
                <a:pos x="48" y="99"/>
              </a:cxn>
              <a:cxn ang="0">
                <a:pos x="75" y="70"/>
              </a:cxn>
              <a:cxn ang="0">
                <a:pos x="82" y="50"/>
              </a:cxn>
              <a:cxn ang="0">
                <a:pos x="76" y="33"/>
              </a:cxn>
              <a:cxn ang="0">
                <a:pos x="60" y="27"/>
              </a:cxn>
              <a:cxn ang="0">
                <a:pos x="43" y="34"/>
              </a:cxn>
              <a:cxn ang="0">
                <a:pos x="36" y="54"/>
              </a:cxn>
              <a:cxn ang="0">
                <a:pos x="4" y="51"/>
              </a:cxn>
              <a:cxn ang="0">
                <a:pos x="22" y="12"/>
              </a:cxn>
              <a:cxn ang="0">
                <a:pos x="61" y="0"/>
              </a:cxn>
              <a:cxn ang="0">
                <a:pos x="101" y="14"/>
              </a:cxn>
              <a:cxn ang="0">
                <a:pos x="115" y="48"/>
              </a:cxn>
              <a:cxn ang="0">
                <a:pos x="111" y="70"/>
              </a:cxn>
              <a:cxn ang="0">
                <a:pos x="98" y="92"/>
              </a:cxn>
              <a:cxn ang="0">
                <a:pos x="76" y="114"/>
              </a:cxn>
              <a:cxn ang="0">
                <a:pos x="57" y="133"/>
              </a:cxn>
              <a:cxn ang="0">
                <a:pos x="50" y="142"/>
              </a:cxn>
              <a:cxn ang="0">
                <a:pos x="115" y="142"/>
              </a:cxn>
              <a:cxn ang="0">
                <a:pos x="115" y="173"/>
              </a:cxn>
            </a:cxnLst>
            <a:rect l="0" t="0" r="r" b="b"/>
            <a:pathLst>
              <a:path w="115" h="173">
                <a:moveTo>
                  <a:pt x="0" y="173"/>
                </a:moveTo>
                <a:cubicBezTo>
                  <a:pt x="1" y="161"/>
                  <a:pt x="5" y="150"/>
                  <a:pt x="11" y="140"/>
                </a:cubicBezTo>
                <a:cubicBezTo>
                  <a:pt x="17" y="129"/>
                  <a:pt x="30" y="116"/>
                  <a:pt x="48" y="99"/>
                </a:cubicBezTo>
                <a:cubicBezTo>
                  <a:pt x="63" y="85"/>
                  <a:pt x="72" y="75"/>
                  <a:pt x="75" y="70"/>
                </a:cubicBezTo>
                <a:cubicBezTo>
                  <a:pt x="80" y="64"/>
                  <a:pt x="82" y="57"/>
                  <a:pt x="82" y="50"/>
                </a:cubicBezTo>
                <a:cubicBezTo>
                  <a:pt x="82" y="43"/>
                  <a:pt x="80" y="37"/>
                  <a:pt x="76" y="33"/>
                </a:cubicBezTo>
                <a:cubicBezTo>
                  <a:pt x="72" y="29"/>
                  <a:pt x="67" y="27"/>
                  <a:pt x="60" y="27"/>
                </a:cubicBezTo>
                <a:cubicBezTo>
                  <a:pt x="53" y="27"/>
                  <a:pt x="48" y="29"/>
                  <a:pt x="43" y="34"/>
                </a:cubicBezTo>
                <a:cubicBezTo>
                  <a:pt x="39" y="38"/>
                  <a:pt x="37" y="45"/>
                  <a:pt x="36" y="54"/>
                </a:cubicBezTo>
                <a:cubicBezTo>
                  <a:pt x="4" y="51"/>
                  <a:pt x="4" y="51"/>
                  <a:pt x="4" y="51"/>
                </a:cubicBezTo>
                <a:cubicBezTo>
                  <a:pt x="6" y="33"/>
                  <a:pt x="12" y="20"/>
                  <a:pt x="22" y="12"/>
                </a:cubicBezTo>
                <a:cubicBezTo>
                  <a:pt x="32" y="4"/>
                  <a:pt x="45" y="0"/>
                  <a:pt x="61" y="0"/>
                </a:cubicBezTo>
                <a:cubicBezTo>
                  <a:pt x="78" y="0"/>
                  <a:pt x="91" y="5"/>
                  <a:pt x="101" y="14"/>
                </a:cubicBezTo>
                <a:cubicBezTo>
                  <a:pt x="110" y="23"/>
                  <a:pt x="115" y="34"/>
                  <a:pt x="115" y="48"/>
                </a:cubicBezTo>
                <a:cubicBezTo>
                  <a:pt x="115" y="56"/>
                  <a:pt x="114" y="63"/>
                  <a:pt x="111" y="70"/>
                </a:cubicBezTo>
                <a:cubicBezTo>
                  <a:pt x="108" y="77"/>
                  <a:pt x="104" y="84"/>
                  <a:pt x="98" y="92"/>
                </a:cubicBezTo>
                <a:cubicBezTo>
                  <a:pt x="94" y="97"/>
                  <a:pt x="87" y="104"/>
                  <a:pt x="76" y="114"/>
                </a:cubicBezTo>
                <a:cubicBezTo>
                  <a:pt x="66" y="123"/>
                  <a:pt x="59" y="130"/>
                  <a:pt x="57" y="133"/>
                </a:cubicBezTo>
                <a:cubicBezTo>
                  <a:pt x="54" y="136"/>
                  <a:pt x="51" y="139"/>
                  <a:pt x="50" y="142"/>
                </a:cubicBezTo>
                <a:cubicBezTo>
                  <a:pt x="115" y="142"/>
                  <a:pt x="115" y="142"/>
                  <a:pt x="115" y="142"/>
                </a:cubicBezTo>
                <a:cubicBezTo>
                  <a:pt x="115" y="173"/>
                  <a:pt x="115" y="173"/>
                  <a:pt x="115" y="173"/>
                </a:cubicBezTo>
              </a:path>
            </a:pathLst>
          </a:custGeom>
          <a:noFill/>
          <a:ln w="381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11" name="Straight Connector 10"/>
          <p:cNvCxnSpPr/>
          <p:nvPr/>
        </p:nvCxnSpPr>
        <p:spPr>
          <a:xfrm>
            <a:off x="-11566" y="2696107"/>
            <a:ext cx="534110" cy="0"/>
          </a:xfrm>
          <a:prstGeom prst="line">
            <a:avLst/>
          </a:prstGeom>
          <a:noFill/>
          <a:ln w="38100" cap="rnd">
            <a:solidFill>
              <a:schemeClr val="accent1"/>
            </a:solidFill>
            <a:prstDash val="solid"/>
            <a:round/>
            <a:headEnd/>
            <a:tailEnd/>
          </a:ln>
        </p:spPr>
      </p:cxnSp>
      <p:cxnSp>
        <p:nvCxnSpPr>
          <p:cNvPr id="12" name="Straight Connector 11"/>
          <p:cNvCxnSpPr/>
          <p:nvPr/>
        </p:nvCxnSpPr>
        <p:spPr>
          <a:xfrm>
            <a:off x="1631085" y="2696107"/>
            <a:ext cx="7939087" cy="0"/>
          </a:xfrm>
          <a:prstGeom prst="line">
            <a:avLst/>
          </a:prstGeom>
          <a:noFill/>
          <a:ln w="38100" cap="rnd">
            <a:solidFill>
              <a:schemeClr val="accent1"/>
            </a:solidFill>
            <a:prstDash val="solid"/>
            <a:round/>
            <a:headEnd/>
            <a:tailEnd/>
          </a:ln>
        </p:spPr>
      </p:cxnSp>
      <p:graphicFrame>
        <p:nvGraphicFramePr>
          <p:cNvPr id="19" name="Table 18"/>
          <p:cNvGraphicFramePr>
            <a:graphicFrameLocks noGrp="1"/>
          </p:cNvGraphicFramePr>
          <p:nvPr>
            <p:extLst>
              <p:ext uri="{D42A27DB-BD31-4B8C-83A1-F6EECF244321}">
                <p14:modId xmlns:p14="http://schemas.microsoft.com/office/powerpoint/2010/main" val="3339219812"/>
              </p:ext>
            </p:extLst>
          </p:nvPr>
        </p:nvGraphicFramePr>
        <p:xfrm>
          <a:off x="1752864" y="1657151"/>
          <a:ext cx="7695528" cy="944880"/>
        </p:xfrm>
        <a:graphic>
          <a:graphicData uri="http://schemas.openxmlformats.org/drawingml/2006/table">
            <a:tbl>
              <a:tblPr firstRow="1">
                <a:effectLst>
                  <a:outerShdw blurRad="50800" dist="38100" dir="2700000" algn="tl" rotWithShape="0">
                    <a:prstClr val="black">
                      <a:alpha val="40000"/>
                    </a:prstClr>
                  </a:outerShdw>
                </a:effectLst>
              </a:tblPr>
              <a:tblGrid>
                <a:gridCol w="7695528">
                  <a:extLst>
                    <a:ext uri="{9D8B030D-6E8A-4147-A177-3AD203B41FA5}">
                      <a16:colId xmlns:a16="http://schemas.microsoft.com/office/drawing/2014/main" val="20000"/>
                    </a:ext>
                  </a:extLst>
                </a:gridCol>
              </a:tblGrid>
              <a:tr h="761794">
                <a:tc>
                  <a:txBody>
                    <a:bodyPr/>
                    <a:lstStyle/>
                    <a:p>
                      <a:pPr marL="0" marR="0" indent="0" algn="just">
                        <a:spcBef>
                          <a:spcPts val="0"/>
                        </a:spcBef>
                        <a:spcAft>
                          <a:spcPts val="0"/>
                        </a:spcAft>
                      </a:pPr>
                      <a:r>
                        <a:rPr lang="en-GB" sz="1400" b="1" i="1">
                          <a:effectLst/>
                          <a:latin typeface="+mn-lt"/>
                          <a:ea typeface="Times New Roman"/>
                        </a:rPr>
                        <a:t>Exceeds</a:t>
                      </a:r>
                    </a:p>
                    <a:p>
                      <a:pPr marL="0" marR="0" indent="0" algn="just">
                        <a:spcBef>
                          <a:spcPts val="0"/>
                        </a:spcBef>
                        <a:spcAft>
                          <a:spcPts val="0"/>
                        </a:spcAft>
                      </a:pPr>
                      <a:r>
                        <a:rPr lang="en-GB" sz="1200">
                          <a:effectLst/>
                          <a:latin typeface="+mn-lt"/>
                          <a:ea typeface="Times New Roman"/>
                        </a:rPr>
                        <a:t>Consistently exceeds many/most of the performance criteria/expectations for the level. Typically achieved by only the best of experienced performers. Performance is noticeably better than expected. Results consistently exceed expectations of an individual at this level - </a:t>
                      </a:r>
                      <a:r>
                        <a:rPr lang="en-GB" sz="1200" i="1">
                          <a:effectLst/>
                          <a:latin typeface="+mn-lt"/>
                          <a:ea typeface="Times New Roman"/>
                        </a:rPr>
                        <a:t>Distinguished Performance and Contribution.</a:t>
                      </a:r>
                      <a:endParaRPr lang="en-US" sz="1200">
                        <a:effectLst/>
                        <a:latin typeface="+mn-lt"/>
                        <a:ea typeface="Times New Roman"/>
                      </a:endParaRPr>
                    </a:p>
                  </a:txBody>
                  <a:tcPr marL="45169" marR="4516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1" name="Rectangle 20"/>
          <p:cNvSpPr/>
          <p:nvPr/>
        </p:nvSpPr>
        <p:spPr>
          <a:xfrm>
            <a:off x="-25709" y="4728529"/>
            <a:ext cx="9945230" cy="115216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103" rtl="0" eaLnBrk="1" latinLnBrk="0" hangingPunct="1"/>
            <a:endParaRPr lang="en-US" sz="1800" kern="1200">
              <a:solidFill>
                <a:schemeClr val="lt1"/>
              </a:solidFill>
              <a:latin typeface="+mn-lt"/>
              <a:ea typeface="+mn-ea"/>
              <a:cs typeface="+mn-cs"/>
            </a:endParaRPr>
          </a:p>
        </p:txBody>
      </p:sp>
      <p:sp>
        <p:nvSpPr>
          <p:cNvPr id="22" name="Rectangle 21"/>
          <p:cNvSpPr/>
          <p:nvPr/>
        </p:nvSpPr>
        <p:spPr>
          <a:xfrm>
            <a:off x="-12186" y="5880689"/>
            <a:ext cx="9918185" cy="97731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103" rtl="0" eaLnBrk="1" latinLnBrk="0" hangingPunct="1"/>
            <a:endParaRPr lang="en-US" sz="1800" kern="1200">
              <a:solidFill>
                <a:schemeClr val="lt1"/>
              </a:solidFill>
              <a:latin typeface="+mn-lt"/>
              <a:ea typeface="+mn-ea"/>
              <a:cs typeface="+mn-cs"/>
            </a:endParaRPr>
          </a:p>
        </p:txBody>
      </p:sp>
      <p:sp>
        <p:nvSpPr>
          <p:cNvPr id="23" name="Freeform 22"/>
          <p:cNvSpPr>
            <a:spLocks/>
          </p:cNvSpPr>
          <p:nvPr/>
        </p:nvSpPr>
        <p:spPr bwMode="auto">
          <a:xfrm>
            <a:off x="377997" y="2996940"/>
            <a:ext cx="1397636" cy="1619366"/>
          </a:xfrm>
          <a:custGeom>
            <a:avLst/>
            <a:gdLst/>
            <a:ahLst/>
            <a:cxnLst>
              <a:cxn ang="0">
                <a:pos x="32" y="171"/>
              </a:cxn>
              <a:cxn ang="0">
                <a:pos x="18" y="162"/>
              </a:cxn>
              <a:cxn ang="0">
                <a:pos x="0" y="127"/>
              </a:cxn>
              <a:cxn ang="0">
                <a:pos x="32" y="123"/>
              </a:cxn>
              <a:cxn ang="0">
                <a:pos x="41" y="142"/>
              </a:cxn>
              <a:cxn ang="0">
                <a:pos x="57" y="148"/>
              </a:cxn>
              <a:cxn ang="0">
                <a:pos x="74" y="140"/>
              </a:cxn>
              <a:cxn ang="0">
                <a:pos x="81" y="120"/>
              </a:cxn>
              <a:cxn ang="0">
                <a:pos x="74" y="100"/>
              </a:cxn>
              <a:cxn ang="0">
                <a:pos x="58" y="93"/>
              </a:cxn>
              <a:cxn ang="0">
                <a:pos x="43" y="95"/>
              </a:cxn>
              <a:cxn ang="0">
                <a:pos x="46" y="68"/>
              </a:cxn>
              <a:cxn ang="0">
                <a:pos x="67" y="63"/>
              </a:cxn>
              <a:cxn ang="0">
                <a:pos x="74" y="46"/>
              </a:cxn>
              <a:cxn ang="0">
                <a:pos x="69" y="32"/>
              </a:cxn>
              <a:cxn ang="0">
                <a:pos x="55" y="27"/>
              </a:cxn>
              <a:cxn ang="0">
                <a:pos x="41" y="33"/>
              </a:cxn>
              <a:cxn ang="0">
                <a:pos x="33" y="50"/>
              </a:cxn>
              <a:cxn ang="0">
                <a:pos x="3" y="45"/>
              </a:cxn>
              <a:cxn ang="0">
                <a:pos x="12" y="20"/>
              </a:cxn>
              <a:cxn ang="0">
                <a:pos x="30" y="5"/>
              </a:cxn>
              <a:cxn ang="0">
                <a:pos x="56" y="0"/>
              </a:cxn>
              <a:cxn ang="0">
                <a:pos x="95" y="16"/>
              </a:cxn>
              <a:cxn ang="0">
                <a:pos x="107" y="44"/>
              </a:cxn>
              <a:cxn ang="0">
                <a:pos x="82" y="80"/>
              </a:cxn>
              <a:cxn ang="0">
                <a:pos x="106" y="94"/>
              </a:cxn>
              <a:cxn ang="0">
                <a:pos x="115" y="121"/>
              </a:cxn>
              <a:cxn ang="0">
                <a:pos x="98" y="160"/>
              </a:cxn>
              <a:cxn ang="0">
                <a:pos x="80" y="171"/>
              </a:cxn>
            </a:cxnLst>
            <a:rect l="0" t="0" r="r" b="b"/>
            <a:pathLst>
              <a:path w="115" h="171">
                <a:moveTo>
                  <a:pt x="32" y="171"/>
                </a:moveTo>
                <a:cubicBezTo>
                  <a:pt x="27" y="169"/>
                  <a:pt x="22" y="166"/>
                  <a:pt x="18" y="162"/>
                </a:cubicBezTo>
                <a:cubicBezTo>
                  <a:pt x="8" y="153"/>
                  <a:pt x="2" y="141"/>
                  <a:pt x="0" y="127"/>
                </a:cubicBezTo>
                <a:cubicBezTo>
                  <a:pt x="32" y="123"/>
                  <a:pt x="32" y="123"/>
                  <a:pt x="32" y="123"/>
                </a:cubicBezTo>
                <a:cubicBezTo>
                  <a:pt x="33" y="131"/>
                  <a:pt x="36" y="137"/>
                  <a:pt x="41" y="142"/>
                </a:cubicBezTo>
                <a:cubicBezTo>
                  <a:pt x="45" y="146"/>
                  <a:pt x="50" y="148"/>
                  <a:pt x="57" y="148"/>
                </a:cubicBezTo>
                <a:cubicBezTo>
                  <a:pt x="63" y="148"/>
                  <a:pt x="69" y="146"/>
                  <a:pt x="74" y="140"/>
                </a:cubicBezTo>
                <a:cubicBezTo>
                  <a:pt x="79" y="135"/>
                  <a:pt x="81" y="128"/>
                  <a:pt x="81" y="120"/>
                </a:cubicBezTo>
                <a:cubicBezTo>
                  <a:pt x="81" y="111"/>
                  <a:pt x="79" y="105"/>
                  <a:pt x="74" y="100"/>
                </a:cubicBezTo>
                <a:cubicBezTo>
                  <a:pt x="70" y="95"/>
                  <a:pt x="64" y="93"/>
                  <a:pt x="58" y="93"/>
                </a:cubicBezTo>
                <a:cubicBezTo>
                  <a:pt x="54" y="93"/>
                  <a:pt x="49" y="94"/>
                  <a:pt x="43" y="95"/>
                </a:cubicBezTo>
                <a:cubicBezTo>
                  <a:pt x="46" y="68"/>
                  <a:pt x="46" y="68"/>
                  <a:pt x="46" y="68"/>
                </a:cubicBezTo>
                <a:cubicBezTo>
                  <a:pt x="55" y="69"/>
                  <a:pt x="62" y="67"/>
                  <a:pt x="67" y="63"/>
                </a:cubicBezTo>
                <a:cubicBezTo>
                  <a:pt x="71" y="58"/>
                  <a:pt x="74" y="53"/>
                  <a:pt x="74" y="46"/>
                </a:cubicBezTo>
                <a:cubicBezTo>
                  <a:pt x="74" y="40"/>
                  <a:pt x="72" y="36"/>
                  <a:pt x="69" y="32"/>
                </a:cubicBezTo>
                <a:cubicBezTo>
                  <a:pt x="65" y="29"/>
                  <a:pt x="61" y="27"/>
                  <a:pt x="55" y="27"/>
                </a:cubicBezTo>
                <a:cubicBezTo>
                  <a:pt x="49" y="27"/>
                  <a:pt x="45" y="29"/>
                  <a:pt x="41" y="33"/>
                </a:cubicBezTo>
                <a:cubicBezTo>
                  <a:pt x="37" y="37"/>
                  <a:pt x="34" y="43"/>
                  <a:pt x="33" y="50"/>
                </a:cubicBezTo>
                <a:cubicBezTo>
                  <a:pt x="3" y="45"/>
                  <a:pt x="3" y="45"/>
                  <a:pt x="3" y="45"/>
                </a:cubicBezTo>
                <a:cubicBezTo>
                  <a:pt x="5" y="35"/>
                  <a:pt x="8" y="26"/>
                  <a:pt x="12" y="20"/>
                </a:cubicBezTo>
                <a:cubicBezTo>
                  <a:pt x="17" y="14"/>
                  <a:pt x="23" y="9"/>
                  <a:pt x="30" y="5"/>
                </a:cubicBezTo>
                <a:cubicBezTo>
                  <a:pt x="38" y="2"/>
                  <a:pt x="46" y="0"/>
                  <a:pt x="56" y="0"/>
                </a:cubicBezTo>
                <a:cubicBezTo>
                  <a:pt x="72" y="0"/>
                  <a:pt x="85" y="5"/>
                  <a:pt x="95" y="16"/>
                </a:cubicBezTo>
                <a:cubicBezTo>
                  <a:pt x="103" y="24"/>
                  <a:pt x="107" y="34"/>
                  <a:pt x="107" y="44"/>
                </a:cubicBezTo>
                <a:cubicBezTo>
                  <a:pt x="107" y="59"/>
                  <a:pt x="99" y="71"/>
                  <a:pt x="82" y="80"/>
                </a:cubicBezTo>
                <a:cubicBezTo>
                  <a:pt x="92" y="82"/>
                  <a:pt x="100" y="87"/>
                  <a:pt x="106" y="94"/>
                </a:cubicBezTo>
                <a:cubicBezTo>
                  <a:pt x="112" y="102"/>
                  <a:pt x="115" y="111"/>
                  <a:pt x="115" y="121"/>
                </a:cubicBezTo>
                <a:cubicBezTo>
                  <a:pt x="115" y="136"/>
                  <a:pt x="109" y="149"/>
                  <a:pt x="98" y="160"/>
                </a:cubicBezTo>
                <a:cubicBezTo>
                  <a:pt x="93" y="165"/>
                  <a:pt x="86" y="169"/>
                  <a:pt x="80" y="17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24" name="Straight Connector 23"/>
          <p:cNvCxnSpPr/>
          <p:nvPr/>
        </p:nvCxnSpPr>
        <p:spPr>
          <a:xfrm>
            <a:off x="-11566" y="4616306"/>
            <a:ext cx="787986" cy="0"/>
          </a:xfrm>
          <a:prstGeom prst="line">
            <a:avLst/>
          </a:prstGeom>
          <a:noFill/>
          <a:ln w="38100" cap="rnd">
            <a:solidFill>
              <a:schemeClr val="bg1"/>
            </a:solidFill>
            <a:prstDash val="solid"/>
            <a:round/>
            <a:headEnd/>
            <a:tailEnd/>
          </a:ln>
        </p:spPr>
      </p:cxnSp>
      <p:cxnSp>
        <p:nvCxnSpPr>
          <p:cNvPr id="25" name="Straight Connector 24"/>
          <p:cNvCxnSpPr/>
          <p:nvPr/>
        </p:nvCxnSpPr>
        <p:spPr>
          <a:xfrm>
            <a:off x="1352500" y="4616306"/>
            <a:ext cx="8217672" cy="0"/>
          </a:xfrm>
          <a:prstGeom prst="line">
            <a:avLst/>
          </a:prstGeom>
          <a:noFill/>
          <a:ln w="38100" cap="rnd">
            <a:solidFill>
              <a:schemeClr val="bg1"/>
            </a:solidFill>
            <a:prstDash val="solid"/>
            <a:round/>
            <a:headEnd/>
            <a:tailEnd/>
          </a:ln>
        </p:spPr>
      </p:cxnSp>
      <p:graphicFrame>
        <p:nvGraphicFramePr>
          <p:cNvPr id="28" name="Table 27"/>
          <p:cNvGraphicFramePr>
            <a:graphicFrameLocks noGrp="1"/>
          </p:cNvGraphicFramePr>
          <p:nvPr>
            <p:extLst>
              <p:ext uri="{D42A27DB-BD31-4B8C-83A1-F6EECF244321}">
                <p14:modId xmlns:p14="http://schemas.microsoft.com/office/powerpoint/2010/main" val="3774151229"/>
              </p:ext>
            </p:extLst>
          </p:nvPr>
        </p:nvGraphicFramePr>
        <p:xfrm>
          <a:off x="1928580" y="3425623"/>
          <a:ext cx="7585797" cy="762000"/>
        </p:xfrm>
        <a:graphic>
          <a:graphicData uri="http://schemas.openxmlformats.org/drawingml/2006/table">
            <a:tbl>
              <a:tblPr firstRow="1">
                <a:effectLst>
                  <a:outerShdw blurRad="50800" dist="38100" dir="2700000" algn="tl" rotWithShape="0">
                    <a:prstClr val="black">
                      <a:alpha val="40000"/>
                    </a:prstClr>
                  </a:outerShdw>
                </a:effectLst>
              </a:tblPr>
              <a:tblGrid>
                <a:gridCol w="7585797">
                  <a:extLst>
                    <a:ext uri="{9D8B030D-6E8A-4147-A177-3AD203B41FA5}">
                      <a16:colId xmlns:a16="http://schemas.microsoft.com/office/drawing/2014/main" val="20000"/>
                    </a:ext>
                  </a:extLst>
                </a:gridCol>
              </a:tblGrid>
              <a:tr h="722499">
                <a:tc>
                  <a:txBody>
                    <a:bodyPr/>
                    <a:lstStyle/>
                    <a:p>
                      <a:pPr marL="0" marR="0" indent="0" algn="just" defTabSz="914342" rtl="0" eaLnBrk="1" fontAlgn="auto" latinLnBrk="0" hangingPunct="1">
                        <a:lnSpc>
                          <a:spcPct val="100000"/>
                        </a:lnSpc>
                        <a:spcBef>
                          <a:spcPts val="0"/>
                        </a:spcBef>
                        <a:spcAft>
                          <a:spcPts val="0"/>
                        </a:spcAft>
                        <a:buClrTx/>
                        <a:buSzTx/>
                        <a:buFontTx/>
                        <a:buNone/>
                        <a:tabLst/>
                        <a:defRPr/>
                      </a:pPr>
                      <a:r>
                        <a:rPr lang="en-GB" sz="1400" b="1" i="1">
                          <a:solidFill>
                            <a:schemeClr val="bg1"/>
                          </a:solidFill>
                          <a:effectLst/>
                          <a:latin typeface="+mn-lt"/>
                          <a:ea typeface="Times New Roman"/>
                        </a:rPr>
                        <a:t>Attains / Succeeds</a:t>
                      </a:r>
                      <a:endParaRPr lang="en-US" sz="1400" b="1" i="1">
                        <a:solidFill>
                          <a:schemeClr val="bg1"/>
                        </a:solidFill>
                        <a:effectLst/>
                        <a:latin typeface="+mn-lt"/>
                        <a:ea typeface="Times New Roman"/>
                      </a:endParaRPr>
                    </a:p>
                    <a:p>
                      <a:pPr marL="0" marR="0" indent="0" algn="just">
                        <a:spcBef>
                          <a:spcPts val="0"/>
                        </a:spcBef>
                        <a:spcAft>
                          <a:spcPts val="0"/>
                        </a:spcAft>
                      </a:pPr>
                      <a:r>
                        <a:rPr lang="en-GB" sz="1200">
                          <a:solidFill>
                            <a:schemeClr val="bg1"/>
                          </a:solidFill>
                          <a:effectLst/>
                          <a:latin typeface="+mn-lt"/>
                          <a:ea typeface="Times New Roman"/>
                        </a:rPr>
                        <a:t>Consistently meets all and periodically exceeds some of the performance criteria established for the level. Results are achieved for an individual at the level. Steady, reliable contribution - </a:t>
                      </a:r>
                      <a:r>
                        <a:rPr lang="en-GB" sz="1200" i="1">
                          <a:solidFill>
                            <a:schemeClr val="bg1"/>
                          </a:solidFill>
                          <a:effectLst/>
                          <a:latin typeface="+mn-lt"/>
                          <a:ea typeface="Times New Roman"/>
                        </a:rPr>
                        <a:t>Commendable Performance and Contributions</a:t>
                      </a:r>
                      <a:r>
                        <a:rPr lang="en-GB" sz="1200">
                          <a:solidFill>
                            <a:schemeClr val="bg1"/>
                          </a:solidFill>
                          <a:effectLst/>
                          <a:latin typeface="+mn-lt"/>
                          <a:ea typeface="Times New Roman"/>
                        </a:rPr>
                        <a:t>.</a:t>
                      </a:r>
                      <a:endParaRPr lang="en-US" sz="1200">
                        <a:solidFill>
                          <a:schemeClr val="bg1"/>
                        </a:solidFill>
                        <a:effectLst/>
                        <a:latin typeface="+mn-lt"/>
                        <a:ea typeface="Times New Roman"/>
                      </a:endParaRPr>
                    </a:p>
                  </a:txBody>
                  <a:tcPr marL="45169" marR="4516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9" name="Freeform 8"/>
          <p:cNvSpPr>
            <a:spLocks noEditPoints="1"/>
          </p:cNvSpPr>
          <p:nvPr/>
        </p:nvSpPr>
        <p:spPr bwMode="auto">
          <a:xfrm>
            <a:off x="410724" y="4975422"/>
            <a:ext cx="1085796" cy="755156"/>
          </a:xfrm>
          <a:custGeom>
            <a:avLst/>
            <a:gdLst/>
            <a:ahLst/>
            <a:cxnLst>
              <a:cxn ang="0">
                <a:pos x="685" y="1668"/>
              </a:cxn>
              <a:cxn ang="0">
                <a:pos x="685" y="1331"/>
              </a:cxn>
              <a:cxn ang="0">
                <a:pos x="0" y="1331"/>
              </a:cxn>
              <a:cxn ang="0">
                <a:pos x="0" y="1061"/>
              </a:cxn>
              <a:cxn ang="0">
                <a:pos x="724" y="0"/>
              </a:cxn>
              <a:cxn ang="0">
                <a:pos x="994" y="0"/>
              </a:cxn>
              <a:cxn ang="0">
                <a:pos x="994" y="1051"/>
              </a:cxn>
              <a:cxn ang="0">
                <a:pos x="1197" y="1051"/>
              </a:cxn>
              <a:cxn ang="0">
                <a:pos x="1197" y="1331"/>
              </a:cxn>
              <a:cxn ang="0">
                <a:pos x="994" y="1331"/>
              </a:cxn>
              <a:cxn ang="0">
                <a:pos x="994" y="1668"/>
              </a:cxn>
              <a:cxn ang="0">
                <a:pos x="685" y="1051"/>
              </a:cxn>
              <a:cxn ang="0">
                <a:pos x="685" y="492"/>
              </a:cxn>
              <a:cxn ang="0">
                <a:pos x="299" y="1051"/>
              </a:cxn>
              <a:cxn ang="0">
                <a:pos x="685" y="1051"/>
              </a:cxn>
            </a:cxnLst>
            <a:rect l="0" t="0" r="r" b="b"/>
            <a:pathLst>
              <a:path w="1197" h="1668">
                <a:moveTo>
                  <a:pt x="685" y="1668"/>
                </a:moveTo>
                <a:lnTo>
                  <a:pt x="685" y="1331"/>
                </a:lnTo>
                <a:lnTo>
                  <a:pt x="0" y="1331"/>
                </a:lnTo>
                <a:lnTo>
                  <a:pt x="0" y="1061"/>
                </a:lnTo>
                <a:lnTo>
                  <a:pt x="724" y="0"/>
                </a:lnTo>
                <a:lnTo>
                  <a:pt x="994" y="0"/>
                </a:lnTo>
                <a:lnTo>
                  <a:pt x="994" y="1051"/>
                </a:lnTo>
                <a:lnTo>
                  <a:pt x="1197" y="1051"/>
                </a:lnTo>
                <a:lnTo>
                  <a:pt x="1197" y="1331"/>
                </a:lnTo>
                <a:lnTo>
                  <a:pt x="994" y="1331"/>
                </a:lnTo>
                <a:lnTo>
                  <a:pt x="994" y="1668"/>
                </a:lnTo>
                <a:moveTo>
                  <a:pt x="685" y="1051"/>
                </a:moveTo>
                <a:lnTo>
                  <a:pt x="685" y="492"/>
                </a:lnTo>
                <a:lnTo>
                  <a:pt x="299" y="1051"/>
                </a:lnTo>
                <a:lnTo>
                  <a:pt x="685" y="1051"/>
                </a:lnTo>
              </a:path>
            </a:pathLst>
          </a:custGeom>
          <a:noFill/>
          <a:ln w="381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algn="l" defTabSz="914103" rtl="0" eaLnBrk="1" latinLnBrk="0" hangingPunct="1"/>
            <a:endParaRPr lang="en-US" sz="1800" kern="1200">
              <a:solidFill>
                <a:schemeClr val="tx1"/>
              </a:solidFill>
              <a:latin typeface="+mn-lt"/>
              <a:ea typeface="+mn-ea"/>
              <a:cs typeface="+mn-cs"/>
            </a:endParaRPr>
          </a:p>
        </p:txBody>
      </p:sp>
      <p:cxnSp>
        <p:nvCxnSpPr>
          <p:cNvPr id="30" name="Straight Connector 29"/>
          <p:cNvCxnSpPr/>
          <p:nvPr/>
        </p:nvCxnSpPr>
        <p:spPr>
          <a:xfrm flipV="1">
            <a:off x="-11566" y="5730578"/>
            <a:ext cx="993362" cy="2742"/>
          </a:xfrm>
          <a:prstGeom prst="line">
            <a:avLst/>
          </a:prstGeom>
          <a:noFill/>
          <a:ln w="38100" cap="rnd">
            <a:solidFill>
              <a:schemeClr val="tx1"/>
            </a:solidFill>
            <a:prstDash val="solid"/>
            <a:round/>
            <a:headEnd/>
            <a:tailEnd/>
          </a:ln>
        </p:spPr>
      </p:cxnSp>
      <p:cxnSp>
        <p:nvCxnSpPr>
          <p:cNvPr id="31" name="Straight Connector 30"/>
          <p:cNvCxnSpPr/>
          <p:nvPr/>
        </p:nvCxnSpPr>
        <p:spPr>
          <a:xfrm>
            <a:off x="1352500" y="5733320"/>
            <a:ext cx="8217672" cy="0"/>
          </a:xfrm>
          <a:prstGeom prst="line">
            <a:avLst/>
          </a:prstGeom>
          <a:noFill/>
          <a:ln w="38100" cap="rnd">
            <a:solidFill>
              <a:schemeClr val="tx1"/>
            </a:solidFill>
            <a:prstDash val="solid"/>
            <a:round/>
            <a:headEnd/>
            <a:tailEnd/>
          </a:ln>
        </p:spPr>
      </p:cxnSp>
      <p:cxnSp>
        <p:nvCxnSpPr>
          <p:cNvPr id="34" name="Straight Connector 33"/>
          <p:cNvCxnSpPr/>
          <p:nvPr/>
        </p:nvCxnSpPr>
        <p:spPr>
          <a:xfrm>
            <a:off x="-2957" y="6695577"/>
            <a:ext cx="779377" cy="0"/>
          </a:xfrm>
          <a:prstGeom prst="line">
            <a:avLst/>
          </a:prstGeom>
          <a:noFill/>
          <a:ln w="38100" cap="rnd">
            <a:solidFill>
              <a:schemeClr val="bg1"/>
            </a:solidFill>
            <a:prstDash val="solid"/>
            <a:round/>
            <a:headEnd/>
            <a:tailEnd/>
          </a:ln>
        </p:spPr>
      </p:cxnSp>
      <p:sp>
        <p:nvSpPr>
          <p:cNvPr id="35" name="Freeform 7"/>
          <p:cNvSpPr>
            <a:spLocks/>
          </p:cNvSpPr>
          <p:nvPr/>
        </p:nvSpPr>
        <p:spPr bwMode="auto">
          <a:xfrm>
            <a:off x="559895" y="6021360"/>
            <a:ext cx="792605" cy="666061"/>
          </a:xfrm>
          <a:custGeom>
            <a:avLst/>
            <a:gdLst>
              <a:gd name="connsiteX0" fmla="*/ 0 w 10000"/>
              <a:gd name="connsiteY0" fmla="*/ 7272 h 10204"/>
              <a:gd name="connsiteX1" fmla="*/ 2846 w 10000"/>
              <a:gd name="connsiteY1" fmla="*/ 7070 h 10204"/>
              <a:gd name="connsiteX2" fmla="*/ 3567 w 10000"/>
              <a:gd name="connsiteY2" fmla="*/ 8105 h 10204"/>
              <a:gd name="connsiteX3" fmla="*/ 4930 w 10000"/>
              <a:gd name="connsiteY3" fmla="*/ 8481 h 10204"/>
              <a:gd name="connsiteX4" fmla="*/ 6453 w 10000"/>
              <a:gd name="connsiteY4" fmla="*/ 7984 h 10204"/>
              <a:gd name="connsiteX5" fmla="*/ 7074 w 10000"/>
              <a:gd name="connsiteY5" fmla="*/ 6519 h 10204"/>
              <a:gd name="connsiteX6" fmla="*/ 6453 w 10000"/>
              <a:gd name="connsiteY6" fmla="*/ 5148 h 10204"/>
              <a:gd name="connsiteX7" fmla="*/ 4850 w 10000"/>
              <a:gd name="connsiteY7" fmla="*/ 4691 h 10204"/>
              <a:gd name="connsiteX8" fmla="*/ 2645 w 10000"/>
              <a:gd name="connsiteY8" fmla="*/ 5417 h 10204"/>
              <a:gd name="connsiteX9" fmla="*/ 341 w 10000"/>
              <a:gd name="connsiteY9" fmla="*/ 5188 h 10204"/>
              <a:gd name="connsiteX10" fmla="*/ 1804 w 10000"/>
              <a:gd name="connsiteY10" fmla="*/ 0 h 10204"/>
              <a:gd name="connsiteX11" fmla="*/ 9339 w 10000"/>
              <a:gd name="connsiteY11" fmla="*/ 0 h 10204"/>
              <a:gd name="connsiteX12" fmla="*/ 9339 w 10000"/>
              <a:gd name="connsiteY12" fmla="*/ 1788 h 10204"/>
              <a:gd name="connsiteX13" fmla="*/ 3968 w 10000"/>
              <a:gd name="connsiteY13" fmla="*/ 1788 h 10204"/>
              <a:gd name="connsiteX14" fmla="*/ 3507 w 10000"/>
              <a:gd name="connsiteY14" fmla="*/ 3481 h 10204"/>
              <a:gd name="connsiteX15" fmla="*/ 5471 w 10000"/>
              <a:gd name="connsiteY15" fmla="*/ 3172 h 10204"/>
              <a:gd name="connsiteX16" fmla="*/ 8677 w 10000"/>
              <a:gd name="connsiteY16" fmla="*/ 4086 h 10204"/>
              <a:gd name="connsiteX17" fmla="*/ 10000 w 10000"/>
              <a:gd name="connsiteY17" fmla="*/ 6492 h 10204"/>
              <a:gd name="connsiteX18" fmla="*/ 8938 w 10000"/>
              <a:gd name="connsiteY18" fmla="*/ 8683 h 10204"/>
              <a:gd name="connsiteX19" fmla="*/ 4910 w 10000"/>
              <a:gd name="connsiteY19" fmla="*/ 10000 h 10204"/>
              <a:gd name="connsiteX20" fmla="*/ 3541 w 10000"/>
              <a:gd name="connsiteY20" fmla="*/ 9907 h 10204"/>
              <a:gd name="connsiteX21" fmla="*/ 1543 w 10000"/>
              <a:gd name="connsiteY21" fmla="*/ 9261 h 10204"/>
              <a:gd name="connsiteX22" fmla="*/ 0 w 10000"/>
              <a:gd name="connsiteY22" fmla="*/ 7272 h 10204"/>
              <a:gd name="connsiteX0" fmla="*/ 0 w 10000"/>
              <a:gd name="connsiteY0" fmla="*/ 7272 h 10204"/>
              <a:gd name="connsiteX1" fmla="*/ 2846 w 10000"/>
              <a:gd name="connsiteY1" fmla="*/ 7070 h 10204"/>
              <a:gd name="connsiteX2" fmla="*/ 3567 w 10000"/>
              <a:gd name="connsiteY2" fmla="*/ 8105 h 10204"/>
              <a:gd name="connsiteX3" fmla="*/ 4930 w 10000"/>
              <a:gd name="connsiteY3" fmla="*/ 8481 h 10204"/>
              <a:gd name="connsiteX4" fmla="*/ 6453 w 10000"/>
              <a:gd name="connsiteY4" fmla="*/ 7984 h 10204"/>
              <a:gd name="connsiteX5" fmla="*/ 7074 w 10000"/>
              <a:gd name="connsiteY5" fmla="*/ 6519 h 10204"/>
              <a:gd name="connsiteX6" fmla="*/ 6453 w 10000"/>
              <a:gd name="connsiteY6" fmla="*/ 5148 h 10204"/>
              <a:gd name="connsiteX7" fmla="*/ 4850 w 10000"/>
              <a:gd name="connsiteY7" fmla="*/ 4691 h 10204"/>
              <a:gd name="connsiteX8" fmla="*/ 2645 w 10000"/>
              <a:gd name="connsiteY8" fmla="*/ 5417 h 10204"/>
              <a:gd name="connsiteX9" fmla="*/ 341 w 10000"/>
              <a:gd name="connsiteY9" fmla="*/ 5188 h 10204"/>
              <a:gd name="connsiteX10" fmla="*/ 1804 w 10000"/>
              <a:gd name="connsiteY10" fmla="*/ 0 h 10204"/>
              <a:gd name="connsiteX11" fmla="*/ 9339 w 10000"/>
              <a:gd name="connsiteY11" fmla="*/ 0 h 10204"/>
              <a:gd name="connsiteX12" fmla="*/ 9339 w 10000"/>
              <a:gd name="connsiteY12" fmla="*/ 1788 h 10204"/>
              <a:gd name="connsiteX13" fmla="*/ 3968 w 10000"/>
              <a:gd name="connsiteY13" fmla="*/ 1788 h 10204"/>
              <a:gd name="connsiteX14" fmla="*/ 3507 w 10000"/>
              <a:gd name="connsiteY14" fmla="*/ 3481 h 10204"/>
              <a:gd name="connsiteX15" fmla="*/ 5471 w 10000"/>
              <a:gd name="connsiteY15" fmla="*/ 3172 h 10204"/>
              <a:gd name="connsiteX16" fmla="*/ 8677 w 10000"/>
              <a:gd name="connsiteY16" fmla="*/ 4086 h 10204"/>
              <a:gd name="connsiteX17" fmla="*/ 10000 w 10000"/>
              <a:gd name="connsiteY17" fmla="*/ 6492 h 10204"/>
              <a:gd name="connsiteX18" fmla="*/ 8938 w 10000"/>
              <a:gd name="connsiteY18" fmla="*/ 8683 h 10204"/>
              <a:gd name="connsiteX19" fmla="*/ 6185 w 10000"/>
              <a:gd name="connsiteY19" fmla="*/ 9907 h 10204"/>
              <a:gd name="connsiteX20" fmla="*/ 4910 w 10000"/>
              <a:gd name="connsiteY20" fmla="*/ 10000 h 10204"/>
              <a:gd name="connsiteX21" fmla="*/ 3541 w 10000"/>
              <a:gd name="connsiteY21" fmla="*/ 9907 h 10204"/>
              <a:gd name="connsiteX22" fmla="*/ 1543 w 10000"/>
              <a:gd name="connsiteY22" fmla="*/ 9261 h 10204"/>
              <a:gd name="connsiteX23" fmla="*/ 0 w 10000"/>
              <a:gd name="connsiteY23" fmla="*/ 7272 h 10204"/>
              <a:gd name="connsiteX0" fmla="*/ 4910 w 10000"/>
              <a:gd name="connsiteY0" fmla="*/ 10000 h 10328"/>
              <a:gd name="connsiteX1" fmla="*/ 3541 w 10000"/>
              <a:gd name="connsiteY1" fmla="*/ 9907 h 10328"/>
              <a:gd name="connsiteX2" fmla="*/ 1543 w 10000"/>
              <a:gd name="connsiteY2" fmla="*/ 9261 h 10328"/>
              <a:gd name="connsiteX3" fmla="*/ 0 w 10000"/>
              <a:gd name="connsiteY3" fmla="*/ 7272 h 10328"/>
              <a:gd name="connsiteX4" fmla="*/ 2846 w 10000"/>
              <a:gd name="connsiteY4" fmla="*/ 7070 h 10328"/>
              <a:gd name="connsiteX5" fmla="*/ 3567 w 10000"/>
              <a:gd name="connsiteY5" fmla="*/ 8105 h 10328"/>
              <a:gd name="connsiteX6" fmla="*/ 4930 w 10000"/>
              <a:gd name="connsiteY6" fmla="*/ 8481 h 10328"/>
              <a:gd name="connsiteX7" fmla="*/ 6453 w 10000"/>
              <a:gd name="connsiteY7" fmla="*/ 7984 h 10328"/>
              <a:gd name="connsiteX8" fmla="*/ 7074 w 10000"/>
              <a:gd name="connsiteY8" fmla="*/ 6519 h 10328"/>
              <a:gd name="connsiteX9" fmla="*/ 6453 w 10000"/>
              <a:gd name="connsiteY9" fmla="*/ 5148 h 10328"/>
              <a:gd name="connsiteX10" fmla="*/ 4850 w 10000"/>
              <a:gd name="connsiteY10" fmla="*/ 4691 h 10328"/>
              <a:gd name="connsiteX11" fmla="*/ 2645 w 10000"/>
              <a:gd name="connsiteY11" fmla="*/ 5417 h 10328"/>
              <a:gd name="connsiteX12" fmla="*/ 341 w 10000"/>
              <a:gd name="connsiteY12" fmla="*/ 5188 h 10328"/>
              <a:gd name="connsiteX13" fmla="*/ 1804 w 10000"/>
              <a:gd name="connsiteY13" fmla="*/ 0 h 10328"/>
              <a:gd name="connsiteX14" fmla="*/ 9339 w 10000"/>
              <a:gd name="connsiteY14" fmla="*/ 0 h 10328"/>
              <a:gd name="connsiteX15" fmla="*/ 9339 w 10000"/>
              <a:gd name="connsiteY15" fmla="*/ 1788 h 10328"/>
              <a:gd name="connsiteX16" fmla="*/ 3968 w 10000"/>
              <a:gd name="connsiteY16" fmla="*/ 1788 h 10328"/>
              <a:gd name="connsiteX17" fmla="*/ 3507 w 10000"/>
              <a:gd name="connsiteY17" fmla="*/ 3481 h 10328"/>
              <a:gd name="connsiteX18" fmla="*/ 5471 w 10000"/>
              <a:gd name="connsiteY18" fmla="*/ 3172 h 10328"/>
              <a:gd name="connsiteX19" fmla="*/ 8677 w 10000"/>
              <a:gd name="connsiteY19" fmla="*/ 4086 h 10328"/>
              <a:gd name="connsiteX20" fmla="*/ 10000 w 10000"/>
              <a:gd name="connsiteY20" fmla="*/ 6492 h 10328"/>
              <a:gd name="connsiteX21" fmla="*/ 8938 w 10000"/>
              <a:gd name="connsiteY21" fmla="*/ 8683 h 10328"/>
              <a:gd name="connsiteX22" fmla="*/ 6185 w 10000"/>
              <a:gd name="connsiteY22" fmla="*/ 9907 h 10328"/>
              <a:gd name="connsiteX23" fmla="*/ 5398 w 10000"/>
              <a:gd name="connsiteY23" fmla="*/ 10328 h 10328"/>
              <a:gd name="connsiteX0" fmla="*/ 4910 w 10000"/>
              <a:gd name="connsiteY0" fmla="*/ 10000 h 10204"/>
              <a:gd name="connsiteX1" fmla="*/ 3541 w 10000"/>
              <a:gd name="connsiteY1" fmla="*/ 9907 h 10204"/>
              <a:gd name="connsiteX2" fmla="*/ 1543 w 10000"/>
              <a:gd name="connsiteY2" fmla="*/ 9261 h 10204"/>
              <a:gd name="connsiteX3" fmla="*/ 0 w 10000"/>
              <a:gd name="connsiteY3" fmla="*/ 7272 h 10204"/>
              <a:gd name="connsiteX4" fmla="*/ 2846 w 10000"/>
              <a:gd name="connsiteY4" fmla="*/ 7070 h 10204"/>
              <a:gd name="connsiteX5" fmla="*/ 3567 w 10000"/>
              <a:gd name="connsiteY5" fmla="*/ 8105 h 10204"/>
              <a:gd name="connsiteX6" fmla="*/ 4930 w 10000"/>
              <a:gd name="connsiteY6" fmla="*/ 8481 h 10204"/>
              <a:gd name="connsiteX7" fmla="*/ 6453 w 10000"/>
              <a:gd name="connsiteY7" fmla="*/ 7984 h 10204"/>
              <a:gd name="connsiteX8" fmla="*/ 7074 w 10000"/>
              <a:gd name="connsiteY8" fmla="*/ 6519 h 10204"/>
              <a:gd name="connsiteX9" fmla="*/ 6453 w 10000"/>
              <a:gd name="connsiteY9" fmla="*/ 5148 h 10204"/>
              <a:gd name="connsiteX10" fmla="*/ 4850 w 10000"/>
              <a:gd name="connsiteY10" fmla="*/ 4691 h 10204"/>
              <a:gd name="connsiteX11" fmla="*/ 2645 w 10000"/>
              <a:gd name="connsiteY11" fmla="*/ 5417 h 10204"/>
              <a:gd name="connsiteX12" fmla="*/ 341 w 10000"/>
              <a:gd name="connsiteY12" fmla="*/ 5188 h 10204"/>
              <a:gd name="connsiteX13" fmla="*/ 1804 w 10000"/>
              <a:gd name="connsiteY13" fmla="*/ 0 h 10204"/>
              <a:gd name="connsiteX14" fmla="*/ 9339 w 10000"/>
              <a:gd name="connsiteY14" fmla="*/ 0 h 10204"/>
              <a:gd name="connsiteX15" fmla="*/ 9339 w 10000"/>
              <a:gd name="connsiteY15" fmla="*/ 1788 h 10204"/>
              <a:gd name="connsiteX16" fmla="*/ 3968 w 10000"/>
              <a:gd name="connsiteY16" fmla="*/ 1788 h 10204"/>
              <a:gd name="connsiteX17" fmla="*/ 3507 w 10000"/>
              <a:gd name="connsiteY17" fmla="*/ 3481 h 10204"/>
              <a:gd name="connsiteX18" fmla="*/ 5471 w 10000"/>
              <a:gd name="connsiteY18" fmla="*/ 3172 h 10204"/>
              <a:gd name="connsiteX19" fmla="*/ 8677 w 10000"/>
              <a:gd name="connsiteY19" fmla="*/ 4086 h 10204"/>
              <a:gd name="connsiteX20" fmla="*/ 10000 w 10000"/>
              <a:gd name="connsiteY20" fmla="*/ 6492 h 10204"/>
              <a:gd name="connsiteX21" fmla="*/ 8938 w 10000"/>
              <a:gd name="connsiteY21" fmla="*/ 8683 h 10204"/>
              <a:gd name="connsiteX22" fmla="*/ 6185 w 10000"/>
              <a:gd name="connsiteY22" fmla="*/ 9907 h 10204"/>
              <a:gd name="connsiteX0" fmla="*/ 3541 w 10000"/>
              <a:gd name="connsiteY0" fmla="*/ 9907 h 9907"/>
              <a:gd name="connsiteX1" fmla="*/ 1543 w 10000"/>
              <a:gd name="connsiteY1" fmla="*/ 9261 h 9907"/>
              <a:gd name="connsiteX2" fmla="*/ 0 w 10000"/>
              <a:gd name="connsiteY2" fmla="*/ 7272 h 9907"/>
              <a:gd name="connsiteX3" fmla="*/ 2846 w 10000"/>
              <a:gd name="connsiteY3" fmla="*/ 7070 h 9907"/>
              <a:gd name="connsiteX4" fmla="*/ 3567 w 10000"/>
              <a:gd name="connsiteY4" fmla="*/ 8105 h 9907"/>
              <a:gd name="connsiteX5" fmla="*/ 4930 w 10000"/>
              <a:gd name="connsiteY5" fmla="*/ 8481 h 9907"/>
              <a:gd name="connsiteX6" fmla="*/ 6453 w 10000"/>
              <a:gd name="connsiteY6" fmla="*/ 7984 h 9907"/>
              <a:gd name="connsiteX7" fmla="*/ 7074 w 10000"/>
              <a:gd name="connsiteY7" fmla="*/ 6519 h 9907"/>
              <a:gd name="connsiteX8" fmla="*/ 6453 w 10000"/>
              <a:gd name="connsiteY8" fmla="*/ 5148 h 9907"/>
              <a:gd name="connsiteX9" fmla="*/ 4850 w 10000"/>
              <a:gd name="connsiteY9" fmla="*/ 4691 h 9907"/>
              <a:gd name="connsiteX10" fmla="*/ 2645 w 10000"/>
              <a:gd name="connsiteY10" fmla="*/ 5417 h 9907"/>
              <a:gd name="connsiteX11" fmla="*/ 341 w 10000"/>
              <a:gd name="connsiteY11" fmla="*/ 5188 h 9907"/>
              <a:gd name="connsiteX12" fmla="*/ 1804 w 10000"/>
              <a:gd name="connsiteY12" fmla="*/ 0 h 9907"/>
              <a:gd name="connsiteX13" fmla="*/ 9339 w 10000"/>
              <a:gd name="connsiteY13" fmla="*/ 0 h 9907"/>
              <a:gd name="connsiteX14" fmla="*/ 9339 w 10000"/>
              <a:gd name="connsiteY14" fmla="*/ 1788 h 9907"/>
              <a:gd name="connsiteX15" fmla="*/ 3968 w 10000"/>
              <a:gd name="connsiteY15" fmla="*/ 1788 h 9907"/>
              <a:gd name="connsiteX16" fmla="*/ 3507 w 10000"/>
              <a:gd name="connsiteY16" fmla="*/ 3481 h 9907"/>
              <a:gd name="connsiteX17" fmla="*/ 5471 w 10000"/>
              <a:gd name="connsiteY17" fmla="*/ 3172 h 9907"/>
              <a:gd name="connsiteX18" fmla="*/ 8677 w 10000"/>
              <a:gd name="connsiteY18" fmla="*/ 4086 h 9907"/>
              <a:gd name="connsiteX19" fmla="*/ 10000 w 10000"/>
              <a:gd name="connsiteY19" fmla="*/ 6492 h 9907"/>
              <a:gd name="connsiteX20" fmla="*/ 8938 w 10000"/>
              <a:gd name="connsiteY20" fmla="*/ 8683 h 9907"/>
              <a:gd name="connsiteX21" fmla="*/ 6185 w 10000"/>
              <a:gd name="connsiteY21" fmla="*/ 9907 h 9907"/>
              <a:gd name="connsiteX0" fmla="*/ 3541 w 10000"/>
              <a:gd name="connsiteY0" fmla="*/ 10000 h 10000"/>
              <a:gd name="connsiteX1" fmla="*/ 1543 w 10000"/>
              <a:gd name="connsiteY1" fmla="*/ 9348 h 10000"/>
              <a:gd name="connsiteX2" fmla="*/ 0 w 10000"/>
              <a:gd name="connsiteY2" fmla="*/ 7340 h 10000"/>
              <a:gd name="connsiteX3" fmla="*/ 2846 w 10000"/>
              <a:gd name="connsiteY3" fmla="*/ 7136 h 10000"/>
              <a:gd name="connsiteX4" fmla="*/ 3567 w 10000"/>
              <a:gd name="connsiteY4" fmla="*/ 8181 h 10000"/>
              <a:gd name="connsiteX5" fmla="*/ 4930 w 10000"/>
              <a:gd name="connsiteY5" fmla="*/ 8561 h 10000"/>
              <a:gd name="connsiteX6" fmla="*/ 6453 w 10000"/>
              <a:gd name="connsiteY6" fmla="*/ 8059 h 10000"/>
              <a:gd name="connsiteX7" fmla="*/ 7074 w 10000"/>
              <a:gd name="connsiteY7" fmla="*/ 6580 h 10000"/>
              <a:gd name="connsiteX8" fmla="*/ 6453 w 10000"/>
              <a:gd name="connsiteY8" fmla="*/ 5196 h 10000"/>
              <a:gd name="connsiteX9" fmla="*/ 4850 w 10000"/>
              <a:gd name="connsiteY9" fmla="*/ 4735 h 10000"/>
              <a:gd name="connsiteX10" fmla="*/ 2645 w 10000"/>
              <a:gd name="connsiteY10" fmla="*/ 5468 h 10000"/>
              <a:gd name="connsiteX11" fmla="*/ 341 w 10000"/>
              <a:gd name="connsiteY11" fmla="*/ 5237 h 10000"/>
              <a:gd name="connsiteX12" fmla="*/ 1804 w 10000"/>
              <a:gd name="connsiteY12" fmla="*/ 0 h 10000"/>
              <a:gd name="connsiteX13" fmla="*/ 9339 w 10000"/>
              <a:gd name="connsiteY13" fmla="*/ 0 h 10000"/>
              <a:gd name="connsiteX14" fmla="*/ 9339 w 10000"/>
              <a:gd name="connsiteY14" fmla="*/ 1805 h 10000"/>
              <a:gd name="connsiteX15" fmla="*/ 3968 w 10000"/>
              <a:gd name="connsiteY15" fmla="*/ 1805 h 10000"/>
              <a:gd name="connsiteX16" fmla="*/ 3507 w 10000"/>
              <a:gd name="connsiteY16" fmla="*/ 3514 h 10000"/>
              <a:gd name="connsiteX17" fmla="*/ 5471 w 10000"/>
              <a:gd name="connsiteY17" fmla="*/ 3202 h 10000"/>
              <a:gd name="connsiteX18" fmla="*/ 8677 w 10000"/>
              <a:gd name="connsiteY18" fmla="*/ 4124 h 10000"/>
              <a:gd name="connsiteX19" fmla="*/ 10000 w 10000"/>
              <a:gd name="connsiteY19" fmla="*/ 6553 h 10000"/>
              <a:gd name="connsiteX20" fmla="*/ 8938 w 10000"/>
              <a:gd name="connsiteY20" fmla="*/ 8765 h 10000"/>
              <a:gd name="connsiteX21" fmla="*/ 6185 w 10000"/>
              <a:gd name="connsiteY21" fmla="*/ 10000 h 10000"/>
              <a:gd name="connsiteX0" fmla="*/ 3541 w 10000"/>
              <a:gd name="connsiteY0" fmla="*/ 10000 h 10000"/>
              <a:gd name="connsiteX1" fmla="*/ 1543 w 10000"/>
              <a:gd name="connsiteY1" fmla="*/ 9348 h 10000"/>
              <a:gd name="connsiteX2" fmla="*/ 0 w 10000"/>
              <a:gd name="connsiteY2" fmla="*/ 7340 h 10000"/>
              <a:gd name="connsiteX3" fmla="*/ 2846 w 10000"/>
              <a:gd name="connsiteY3" fmla="*/ 7136 h 10000"/>
              <a:gd name="connsiteX4" fmla="*/ 3567 w 10000"/>
              <a:gd name="connsiteY4" fmla="*/ 8181 h 10000"/>
              <a:gd name="connsiteX5" fmla="*/ 4930 w 10000"/>
              <a:gd name="connsiteY5" fmla="*/ 8561 h 10000"/>
              <a:gd name="connsiteX6" fmla="*/ 6453 w 10000"/>
              <a:gd name="connsiteY6" fmla="*/ 8059 h 10000"/>
              <a:gd name="connsiteX7" fmla="*/ 7074 w 10000"/>
              <a:gd name="connsiteY7" fmla="*/ 6580 h 10000"/>
              <a:gd name="connsiteX8" fmla="*/ 6453 w 10000"/>
              <a:gd name="connsiteY8" fmla="*/ 5196 h 10000"/>
              <a:gd name="connsiteX9" fmla="*/ 4850 w 10000"/>
              <a:gd name="connsiteY9" fmla="*/ 4735 h 10000"/>
              <a:gd name="connsiteX10" fmla="*/ 2645 w 10000"/>
              <a:gd name="connsiteY10" fmla="*/ 5468 h 10000"/>
              <a:gd name="connsiteX11" fmla="*/ 341 w 10000"/>
              <a:gd name="connsiteY11" fmla="*/ 5237 h 10000"/>
              <a:gd name="connsiteX12" fmla="*/ 1804 w 10000"/>
              <a:gd name="connsiteY12" fmla="*/ 0 h 10000"/>
              <a:gd name="connsiteX13" fmla="*/ 9339 w 10000"/>
              <a:gd name="connsiteY13" fmla="*/ 0 h 10000"/>
              <a:gd name="connsiteX14" fmla="*/ 9339 w 10000"/>
              <a:gd name="connsiteY14" fmla="*/ 1805 h 10000"/>
              <a:gd name="connsiteX15" fmla="*/ 3968 w 10000"/>
              <a:gd name="connsiteY15" fmla="*/ 1805 h 10000"/>
              <a:gd name="connsiteX16" fmla="*/ 3507 w 10000"/>
              <a:gd name="connsiteY16" fmla="*/ 3514 h 10000"/>
              <a:gd name="connsiteX17" fmla="*/ 5471 w 10000"/>
              <a:gd name="connsiteY17" fmla="*/ 3202 h 10000"/>
              <a:gd name="connsiteX18" fmla="*/ 8677 w 10000"/>
              <a:gd name="connsiteY18" fmla="*/ 4124 h 10000"/>
              <a:gd name="connsiteX19" fmla="*/ 10000 w 10000"/>
              <a:gd name="connsiteY19" fmla="*/ 6553 h 10000"/>
              <a:gd name="connsiteX20" fmla="*/ 8938 w 10000"/>
              <a:gd name="connsiteY20" fmla="*/ 8765 h 10000"/>
              <a:gd name="connsiteX21" fmla="*/ 6185 w 10000"/>
              <a:gd name="connsiteY21" fmla="*/ 10000 h 10000"/>
              <a:gd name="connsiteX0" fmla="*/ 3541 w 10000"/>
              <a:gd name="connsiteY0" fmla="*/ 10000 h 10000"/>
              <a:gd name="connsiteX1" fmla="*/ 1543 w 10000"/>
              <a:gd name="connsiteY1" fmla="*/ 9348 h 10000"/>
              <a:gd name="connsiteX2" fmla="*/ 0 w 10000"/>
              <a:gd name="connsiteY2" fmla="*/ 7340 h 10000"/>
              <a:gd name="connsiteX3" fmla="*/ 2846 w 10000"/>
              <a:gd name="connsiteY3" fmla="*/ 7136 h 10000"/>
              <a:gd name="connsiteX4" fmla="*/ 3567 w 10000"/>
              <a:gd name="connsiteY4" fmla="*/ 8181 h 10000"/>
              <a:gd name="connsiteX5" fmla="*/ 4930 w 10000"/>
              <a:gd name="connsiteY5" fmla="*/ 8561 h 10000"/>
              <a:gd name="connsiteX6" fmla="*/ 6453 w 10000"/>
              <a:gd name="connsiteY6" fmla="*/ 8059 h 10000"/>
              <a:gd name="connsiteX7" fmla="*/ 7074 w 10000"/>
              <a:gd name="connsiteY7" fmla="*/ 6580 h 10000"/>
              <a:gd name="connsiteX8" fmla="*/ 6453 w 10000"/>
              <a:gd name="connsiteY8" fmla="*/ 5196 h 10000"/>
              <a:gd name="connsiteX9" fmla="*/ 4850 w 10000"/>
              <a:gd name="connsiteY9" fmla="*/ 4735 h 10000"/>
              <a:gd name="connsiteX10" fmla="*/ 2645 w 10000"/>
              <a:gd name="connsiteY10" fmla="*/ 5468 h 10000"/>
              <a:gd name="connsiteX11" fmla="*/ 341 w 10000"/>
              <a:gd name="connsiteY11" fmla="*/ 5237 h 10000"/>
              <a:gd name="connsiteX12" fmla="*/ 1804 w 10000"/>
              <a:gd name="connsiteY12" fmla="*/ 0 h 10000"/>
              <a:gd name="connsiteX13" fmla="*/ 9339 w 10000"/>
              <a:gd name="connsiteY13" fmla="*/ 0 h 10000"/>
              <a:gd name="connsiteX14" fmla="*/ 9339 w 10000"/>
              <a:gd name="connsiteY14" fmla="*/ 1805 h 10000"/>
              <a:gd name="connsiteX15" fmla="*/ 3968 w 10000"/>
              <a:gd name="connsiteY15" fmla="*/ 1805 h 10000"/>
              <a:gd name="connsiteX16" fmla="*/ 3507 w 10000"/>
              <a:gd name="connsiteY16" fmla="*/ 3514 h 10000"/>
              <a:gd name="connsiteX17" fmla="*/ 5471 w 10000"/>
              <a:gd name="connsiteY17" fmla="*/ 3202 h 10000"/>
              <a:gd name="connsiteX18" fmla="*/ 8677 w 10000"/>
              <a:gd name="connsiteY18" fmla="*/ 4124 h 10000"/>
              <a:gd name="connsiteX19" fmla="*/ 10000 w 10000"/>
              <a:gd name="connsiteY19" fmla="*/ 6553 h 10000"/>
              <a:gd name="connsiteX20" fmla="*/ 8938 w 10000"/>
              <a:gd name="connsiteY20" fmla="*/ 8765 h 10000"/>
              <a:gd name="connsiteX21" fmla="*/ 6185 w 10000"/>
              <a:gd name="connsiteY21" fmla="*/ 10000 h 10000"/>
              <a:gd name="connsiteX0" fmla="*/ 3541 w 10000"/>
              <a:gd name="connsiteY0" fmla="*/ 10000 h 10000"/>
              <a:gd name="connsiteX1" fmla="*/ 1543 w 10000"/>
              <a:gd name="connsiteY1" fmla="*/ 9348 h 10000"/>
              <a:gd name="connsiteX2" fmla="*/ 0 w 10000"/>
              <a:gd name="connsiteY2" fmla="*/ 7340 h 10000"/>
              <a:gd name="connsiteX3" fmla="*/ 2846 w 10000"/>
              <a:gd name="connsiteY3" fmla="*/ 7136 h 10000"/>
              <a:gd name="connsiteX4" fmla="*/ 3567 w 10000"/>
              <a:gd name="connsiteY4" fmla="*/ 8181 h 10000"/>
              <a:gd name="connsiteX5" fmla="*/ 4930 w 10000"/>
              <a:gd name="connsiteY5" fmla="*/ 8561 h 10000"/>
              <a:gd name="connsiteX6" fmla="*/ 6453 w 10000"/>
              <a:gd name="connsiteY6" fmla="*/ 8059 h 10000"/>
              <a:gd name="connsiteX7" fmla="*/ 7074 w 10000"/>
              <a:gd name="connsiteY7" fmla="*/ 6580 h 10000"/>
              <a:gd name="connsiteX8" fmla="*/ 6453 w 10000"/>
              <a:gd name="connsiteY8" fmla="*/ 5196 h 10000"/>
              <a:gd name="connsiteX9" fmla="*/ 4850 w 10000"/>
              <a:gd name="connsiteY9" fmla="*/ 4735 h 10000"/>
              <a:gd name="connsiteX10" fmla="*/ 2645 w 10000"/>
              <a:gd name="connsiteY10" fmla="*/ 5468 h 10000"/>
              <a:gd name="connsiteX11" fmla="*/ 341 w 10000"/>
              <a:gd name="connsiteY11" fmla="*/ 5237 h 10000"/>
              <a:gd name="connsiteX12" fmla="*/ 1804 w 10000"/>
              <a:gd name="connsiteY12" fmla="*/ 0 h 10000"/>
              <a:gd name="connsiteX13" fmla="*/ 9339 w 10000"/>
              <a:gd name="connsiteY13" fmla="*/ 0 h 10000"/>
              <a:gd name="connsiteX14" fmla="*/ 9339 w 10000"/>
              <a:gd name="connsiteY14" fmla="*/ 1805 h 10000"/>
              <a:gd name="connsiteX15" fmla="*/ 3968 w 10000"/>
              <a:gd name="connsiteY15" fmla="*/ 1805 h 10000"/>
              <a:gd name="connsiteX16" fmla="*/ 3507 w 10000"/>
              <a:gd name="connsiteY16" fmla="*/ 3514 h 10000"/>
              <a:gd name="connsiteX17" fmla="*/ 5471 w 10000"/>
              <a:gd name="connsiteY17" fmla="*/ 3202 h 10000"/>
              <a:gd name="connsiteX18" fmla="*/ 8677 w 10000"/>
              <a:gd name="connsiteY18" fmla="*/ 4124 h 10000"/>
              <a:gd name="connsiteX19" fmla="*/ 10000 w 10000"/>
              <a:gd name="connsiteY19" fmla="*/ 6553 h 10000"/>
              <a:gd name="connsiteX20" fmla="*/ 8938 w 10000"/>
              <a:gd name="connsiteY20" fmla="*/ 8765 h 10000"/>
              <a:gd name="connsiteX21" fmla="*/ 6185 w 10000"/>
              <a:gd name="connsiteY21" fmla="*/ 10000 h 10000"/>
              <a:gd name="connsiteX0" fmla="*/ 3541 w 10000"/>
              <a:gd name="connsiteY0" fmla="*/ 10000 h 10000"/>
              <a:gd name="connsiteX1" fmla="*/ 1543 w 10000"/>
              <a:gd name="connsiteY1" fmla="*/ 9348 h 10000"/>
              <a:gd name="connsiteX2" fmla="*/ 0 w 10000"/>
              <a:gd name="connsiteY2" fmla="*/ 7340 h 10000"/>
              <a:gd name="connsiteX3" fmla="*/ 2846 w 10000"/>
              <a:gd name="connsiteY3" fmla="*/ 7136 h 10000"/>
              <a:gd name="connsiteX4" fmla="*/ 3567 w 10000"/>
              <a:gd name="connsiteY4" fmla="*/ 8181 h 10000"/>
              <a:gd name="connsiteX5" fmla="*/ 4930 w 10000"/>
              <a:gd name="connsiteY5" fmla="*/ 8561 h 10000"/>
              <a:gd name="connsiteX6" fmla="*/ 6453 w 10000"/>
              <a:gd name="connsiteY6" fmla="*/ 8059 h 10000"/>
              <a:gd name="connsiteX7" fmla="*/ 7074 w 10000"/>
              <a:gd name="connsiteY7" fmla="*/ 6580 h 10000"/>
              <a:gd name="connsiteX8" fmla="*/ 6453 w 10000"/>
              <a:gd name="connsiteY8" fmla="*/ 5196 h 10000"/>
              <a:gd name="connsiteX9" fmla="*/ 4850 w 10000"/>
              <a:gd name="connsiteY9" fmla="*/ 4735 h 10000"/>
              <a:gd name="connsiteX10" fmla="*/ 2645 w 10000"/>
              <a:gd name="connsiteY10" fmla="*/ 5468 h 10000"/>
              <a:gd name="connsiteX11" fmla="*/ 341 w 10000"/>
              <a:gd name="connsiteY11" fmla="*/ 5237 h 10000"/>
              <a:gd name="connsiteX12" fmla="*/ 1804 w 10000"/>
              <a:gd name="connsiteY12" fmla="*/ 0 h 10000"/>
              <a:gd name="connsiteX13" fmla="*/ 9339 w 10000"/>
              <a:gd name="connsiteY13" fmla="*/ 0 h 10000"/>
              <a:gd name="connsiteX14" fmla="*/ 9339 w 10000"/>
              <a:gd name="connsiteY14" fmla="*/ 1805 h 10000"/>
              <a:gd name="connsiteX15" fmla="*/ 3968 w 10000"/>
              <a:gd name="connsiteY15" fmla="*/ 1805 h 10000"/>
              <a:gd name="connsiteX16" fmla="*/ 3507 w 10000"/>
              <a:gd name="connsiteY16" fmla="*/ 3514 h 10000"/>
              <a:gd name="connsiteX17" fmla="*/ 5471 w 10000"/>
              <a:gd name="connsiteY17" fmla="*/ 3202 h 10000"/>
              <a:gd name="connsiteX18" fmla="*/ 8677 w 10000"/>
              <a:gd name="connsiteY18" fmla="*/ 4124 h 10000"/>
              <a:gd name="connsiteX19" fmla="*/ 10000 w 10000"/>
              <a:gd name="connsiteY19" fmla="*/ 6553 h 10000"/>
              <a:gd name="connsiteX20" fmla="*/ 8938 w 10000"/>
              <a:gd name="connsiteY20" fmla="*/ 8765 h 10000"/>
              <a:gd name="connsiteX21" fmla="*/ 6185 w 10000"/>
              <a:gd name="connsiteY2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000">
                <a:moveTo>
                  <a:pt x="3541" y="10000"/>
                </a:moveTo>
                <a:cubicBezTo>
                  <a:pt x="2949" y="9883"/>
                  <a:pt x="2275" y="9750"/>
                  <a:pt x="1543" y="9348"/>
                </a:cubicBezTo>
                <a:cubicBezTo>
                  <a:pt x="681" y="8859"/>
                  <a:pt x="160" y="8181"/>
                  <a:pt x="0" y="7340"/>
                </a:cubicBezTo>
                <a:lnTo>
                  <a:pt x="2846" y="7136"/>
                </a:lnTo>
                <a:cubicBezTo>
                  <a:pt x="2926" y="7570"/>
                  <a:pt x="3166" y="7923"/>
                  <a:pt x="3567" y="8181"/>
                </a:cubicBezTo>
                <a:cubicBezTo>
                  <a:pt x="3948" y="8425"/>
                  <a:pt x="4409" y="8561"/>
                  <a:pt x="4930" y="8561"/>
                </a:cubicBezTo>
                <a:cubicBezTo>
                  <a:pt x="5531" y="8561"/>
                  <a:pt x="6032" y="8398"/>
                  <a:pt x="6453" y="8059"/>
                </a:cubicBezTo>
                <a:cubicBezTo>
                  <a:pt x="6854" y="7733"/>
                  <a:pt x="7074" y="7244"/>
                  <a:pt x="7074" y="6580"/>
                </a:cubicBezTo>
                <a:cubicBezTo>
                  <a:pt x="7074" y="5970"/>
                  <a:pt x="6854" y="5508"/>
                  <a:pt x="6453" y="5196"/>
                </a:cubicBezTo>
                <a:cubicBezTo>
                  <a:pt x="6052" y="4884"/>
                  <a:pt x="5511" y="4735"/>
                  <a:pt x="4850" y="4735"/>
                </a:cubicBezTo>
                <a:cubicBezTo>
                  <a:pt x="4028" y="4735"/>
                  <a:pt x="3307" y="4979"/>
                  <a:pt x="2645" y="5468"/>
                </a:cubicBezTo>
                <a:lnTo>
                  <a:pt x="341" y="5237"/>
                </a:lnTo>
                <a:lnTo>
                  <a:pt x="1804" y="0"/>
                </a:lnTo>
                <a:lnTo>
                  <a:pt x="9339" y="0"/>
                </a:lnTo>
                <a:lnTo>
                  <a:pt x="9339" y="1805"/>
                </a:lnTo>
                <a:lnTo>
                  <a:pt x="3968" y="1805"/>
                </a:lnTo>
                <a:cubicBezTo>
                  <a:pt x="3814" y="2374"/>
                  <a:pt x="3661" y="2944"/>
                  <a:pt x="3507" y="3514"/>
                </a:cubicBezTo>
                <a:cubicBezTo>
                  <a:pt x="4148" y="3297"/>
                  <a:pt x="4810" y="3202"/>
                  <a:pt x="5471" y="3202"/>
                </a:cubicBezTo>
                <a:cubicBezTo>
                  <a:pt x="6733" y="3202"/>
                  <a:pt x="7796" y="3501"/>
                  <a:pt x="8677" y="4124"/>
                </a:cubicBezTo>
                <a:cubicBezTo>
                  <a:pt x="9559" y="4748"/>
                  <a:pt x="10000" y="5563"/>
                  <a:pt x="10000" y="6553"/>
                </a:cubicBezTo>
                <a:cubicBezTo>
                  <a:pt x="10000" y="7381"/>
                  <a:pt x="9639" y="8113"/>
                  <a:pt x="8938" y="8765"/>
                </a:cubicBezTo>
                <a:cubicBezTo>
                  <a:pt x="8302" y="9394"/>
                  <a:pt x="7130" y="9869"/>
                  <a:pt x="6185" y="10000"/>
                </a:cubicBezTo>
              </a:path>
            </a:pathLst>
          </a:custGeom>
          <a:noFill/>
          <a:ln w="38100" cap="rnd">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37" name="Straight Connector 36"/>
          <p:cNvCxnSpPr/>
          <p:nvPr/>
        </p:nvCxnSpPr>
        <p:spPr>
          <a:xfrm flipV="1">
            <a:off x="1076815" y="6678132"/>
            <a:ext cx="8493357" cy="17445"/>
          </a:xfrm>
          <a:prstGeom prst="line">
            <a:avLst/>
          </a:prstGeom>
          <a:noFill/>
          <a:ln w="38100" cap="rnd">
            <a:solidFill>
              <a:schemeClr val="bg1"/>
            </a:solidFill>
            <a:prstDash val="solid"/>
            <a:round/>
            <a:headEnd/>
            <a:tailEnd/>
          </a:ln>
        </p:spPr>
      </p:cxnSp>
      <p:graphicFrame>
        <p:nvGraphicFramePr>
          <p:cNvPr id="2" name="Table 1"/>
          <p:cNvGraphicFramePr>
            <a:graphicFrameLocks noGrp="1"/>
          </p:cNvGraphicFramePr>
          <p:nvPr>
            <p:extLst>
              <p:ext uri="{D42A27DB-BD31-4B8C-83A1-F6EECF244321}">
                <p14:modId xmlns:p14="http://schemas.microsoft.com/office/powerpoint/2010/main" val="1408710931"/>
              </p:ext>
            </p:extLst>
          </p:nvPr>
        </p:nvGraphicFramePr>
        <p:xfrm>
          <a:off x="1635044" y="4767477"/>
          <a:ext cx="7921625" cy="944880"/>
        </p:xfrm>
        <a:graphic>
          <a:graphicData uri="http://schemas.openxmlformats.org/drawingml/2006/table">
            <a:tbl>
              <a:tblPr firstRow="1">
                <a:effectLst>
                  <a:outerShdw blurRad="50800" dist="38100" dir="2700000" algn="tl" rotWithShape="0">
                    <a:prstClr val="black">
                      <a:alpha val="40000"/>
                    </a:prstClr>
                  </a:outerShdw>
                </a:effectLst>
              </a:tblPr>
              <a:tblGrid>
                <a:gridCol w="7921625">
                  <a:extLst>
                    <a:ext uri="{9D8B030D-6E8A-4147-A177-3AD203B41FA5}">
                      <a16:colId xmlns:a16="http://schemas.microsoft.com/office/drawing/2014/main" val="20000"/>
                    </a:ext>
                  </a:extLst>
                </a:gridCol>
              </a:tblGrid>
              <a:tr h="709863">
                <a:tc>
                  <a:txBody>
                    <a:bodyPr/>
                    <a:lstStyle/>
                    <a:p>
                      <a:pPr marL="0" marR="0" indent="0" algn="just" defTabSz="914342" rtl="0" eaLnBrk="1" fontAlgn="auto" latinLnBrk="0" hangingPunct="1">
                        <a:lnSpc>
                          <a:spcPct val="100000"/>
                        </a:lnSpc>
                        <a:spcBef>
                          <a:spcPts val="0"/>
                        </a:spcBef>
                        <a:spcAft>
                          <a:spcPts val="0"/>
                        </a:spcAft>
                        <a:buClrTx/>
                        <a:buSzTx/>
                        <a:buFontTx/>
                        <a:buNone/>
                        <a:tabLst/>
                        <a:defRPr/>
                      </a:pPr>
                      <a:r>
                        <a:rPr lang="en-GB" sz="1400" b="1" i="1">
                          <a:effectLst/>
                          <a:latin typeface="+mn-lt"/>
                          <a:ea typeface="Times New Roman"/>
                        </a:rPr>
                        <a:t>Needs Improvement</a:t>
                      </a:r>
                      <a:endParaRPr lang="en-US" sz="1400" i="1">
                        <a:effectLst/>
                        <a:latin typeface="+mn-lt"/>
                        <a:ea typeface="Times New Roman"/>
                      </a:endParaRPr>
                    </a:p>
                    <a:p>
                      <a:pPr marL="0" marR="0" indent="0" algn="just">
                        <a:spcBef>
                          <a:spcPts val="0"/>
                        </a:spcBef>
                        <a:spcAft>
                          <a:spcPts val="0"/>
                        </a:spcAft>
                      </a:pPr>
                      <a:r>
                        <a:rPr lang="en-GB" sz="1200">
                          <a:effectLst/>
                          <a:latin typeface="+mn-lt"/>
                          <a:ea typeface="Times New Roman"/>
                        </a:rPr>
                        <a:t>Meets some but not all of the performance criteria established for the level. Results are usually achievable, although some areas need improvement. With proper training and guidance, an individual should be able to meet all expectations in a reasonable time frame - </a:t>
                      </a:r>
                      <a:r>
                        <a:rPr lang="en-GB" sz="1200" i="1">
                          <a:effectLst/>
                          <a:latin typeface="+mn-lt"/>
                          <a:ea typeface="Times New Roman"/>
                        </a:rPr>
                        <a:t>Provisional Performance and Contribution</a:t>
                      </a:r>
                      <a:r>
                        <a:rPr lang="en-GB" sz="1200">
                          <a:effectLst/>
                          <a:latin typeface="+mn-lt"/>
                          <a:ea typeface="Times New Roman"/>
                        </a:rPr>
                        <a:t>.</a:t>
                      </a:r>
                      <a:endParaRPr lang="en-US" sz="1200">
                        <a:effectLst/>
                        <a:latin typeface="+mn-lt"/>
                        <a:ea typeface="Times New Roman"/>
                      </a:endParaRPr>
                    </a:p>
                  </a:txBody>
                  <a:tcPr marL="45169" marR="4516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205182255"/>
              </p:ext>
            </p:extLst>
          </p:nvPr>
        </p:nvGraphicFramePr>
        <p:xfrm>
          <a:off x="1648547" y="5880689"/>
          <a:ext cx="7921625" cy="762000"/>
        </p:xfrm>
        <a:graphic>
          <a:graphicData uri="http://schemas.openxmlformats.org/drawingml/2006/table">
            <a:tbl>
              <a:tblPr firstRow="1">
                <a:effectLst>
                  <a:outerShdw blurRad="50800" dist="38100" dir="2700000" algn="tl" rotWithShape="0">
                    <a:prstClr val="black">
                      <a:alpha val="40000"/>
                    </a:prstClr>
                  </a:outerShdw>
                </a:effectLst>
              </a:tblPr>
              <a:tblGrid>
                <a:gridCol w="7921625">
                  <a:extLst>
                    <a:ext uri="{9D8B030D-6E8A-4147-A177-3AD203B41FA5}">
                      <a16:colId xmlns:a16="http://schemas.microsoft.com/office/drawing/2014/main" val="20000"/>
                    </a:ext>
                  </a:extLst>
                </a:gridCol>
              </a:tblGrid>
              <a:tr h="608454">
                <a:tc>
                  <a:txBody>
                    <a:bodyPr/>
                    <a:lstStyle/>
                    <a:p>
                      <a:pPr marL="0" marR="0" indent="0" algn="just" defTabSz="914342" rtl="0" eaLnBrk="1" fontAlgn="auto" latinLnBrk="0" hangingPunct="1">
                        <a:lnSpc>
                          <a:spcPct val="100000"/>
                        </a:lnSpc>
                        <a:spcBef>
                          <a:spcPts val="0"/>
                        </a:spcBef>
                        <a:spcAft>
                          <a:spcPts val="0"/>
                        </a:spcAft>
                        <a:buClrTx/>
                        <a:buSzTx/>
                        <a:buFontTx/>
                        <a:buNone/>
                        <a:tabLst/>
                        <a:defRPr/>
                      </a:pPr>
                      <a:r>
                        <a:rPr lang="en-GB" sz="1400" b="1" i="1">
                          <a:solidFill>
                            <a:schemeClr val="bg1"/>
                          </a:solidFill>
                          <a:effectLst/>
                          <a:latin typeface="+mn-lt"/>
                          <a:ea typeface="Times New Roman"/>
                        </a:rPr>
                        <a:t>Needs Significant Improvement</a:t>
                      </a:r>
                      <a:endParaRPr lang="en-US" sz="1400" i="1">
                        <a:solidFill>
                          <a:schemeClr val="bg1"/>
                        </a:solidFill>
                        <a:effectLst/>
                        <a:latin typeface="+mn-lt"/>
                        <a:ea typeface="Times New Roman"/>
                      </a:endParaRPr>
                    </a:p>
                    <a:p>
                      <a:pPr marL="0" marR="0" indent="0" algn="just">
                        <a:spcBef>
                          <a:spcPts val="0"/>
                        </a:spcBef>
                        <a:spcAft>
                          <a:spcPts val="0"/>
                        </a:spcAft>
                      </a:pPr>
                      <a:r>
                        <a:rPr lang="en-GB" sz="1200">
                          <a:solidFill>
                            <a:schemeClr val="bg1"/>
                          </a:solidFill>
                          <a:effectLst/>
                          <a:latin typeface="+mn-lt"/>
                          <a:ea typeface="Times New Roman"/>
                        </a:rPr>
                        <a:t>Fails to meet the minimum performance criteria established for the level. Unsatisfactory results. Immediate and substantial improvement needed to continue employment in current level - </a:t>
                      </a:r>
                      <a:r>
                        <a:rPr lang="en-GB" sz="1200" i="1">
                          <a:solidFill>
                            <a:schemeClr val="bg1"/>
                          </a:solidFill>
                          <a:effectLst/>
                          <a:latin typeface="+mn-lt"/>
                          <a:ea typeface="Times New Roman"/>
                        </a:rPr>
                        <a:t>Unacceptable Performance and Contribution</a:t>
                      </a:r>
                      <a:r>
                        <a:rPr lang="en-GB" sz="1200">
                          <a:solidFill>
                            <a:schemeClr val="bg1"/>
                          </a:solidFill>
                          <a:effectLst/>
                          <a:latin typeface="+mn-lt"/>
                          <a:ea typeface="Times New Roman"/>
                        </a:rPr>
                        <a:t>.</a:t>
                      </a:r>
                      <a:endParaRPr lang="en-US" sz="1200">
                        <a:solidFill>
                          <a:schemeClr val="bg1"/>
                        </a:solidFill>
                        <a:effectLst/>
                        <a:latin typeface="+mn-lt"/>
                        <a:ea typeface="Times New Roman"/>
                      </a:endParaRPr>
                    </a:p>
                  </a:txBody>
                  <a:tcPr marL="45169" marR="45169"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8" name="Rectangle 7"/>
          <p:cNvSpPr/>
          <p:nvPr/>
        </p:nvSpPr>
        <p:spPr>
          <a:xfrm rot="5400000">
            <a:off x="6347041" y="3211719"/>
            <a:ext cx="6847894" cy="42445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Rating Scale</a:t>
            </a:r>
            <a:endParaRPr lang="en-US" sz="2400">
              <a:solidFill>
                <a:schemeClr val="tx1"/>
              </a:solidFill>
              <a:ea typeface="Verdana"/>
              <a:cs typeface="Verdana"/>
            </a:endParaRPr>
          </a:p>
        </p:txBody>
      </p:sp>
    </p:spTree>
    <p:extLst>
      <p:ext uri="{BB962C8B-B14F-4D97-AF65-F5344CB8AC3E}">
        <p14:creationId xmlns:p14="http://schemas.microsoft.com/office/powerpoint/2010/main" val="812886453"/>
      </p:ext>
    </p:extLst>
  </p:cSld>
  <p:clrMapOvr>
    <a:masterClrMapping/>
  </p:clrMapOvr>
  <p:transition spd="slow">
    <p:randomBar dir="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5877" y="243350"/>
            <a:ext cx="9047142" cy="690099"/>
          </a:xfrm>
        </p:spPr>
        <p:txBody>
          <a:bodyPr/>
          <a:lstStyle/>
          <a:p>
            <a:r>
              <a:rPr lang="en-US"/>
              <a:t>Talent Management </a:t>
            </a:r>
            <a:br>
              <a:rPr lang="en-US"/>
            </a:br>
            <a:r>
              <a:rPr lang="en-US" sz="1400"/>
              <a:t>Our approach to talent management starts from performance management to developing talent further based on needs…</a:t>
            </a:r>
          </a:p>
        </p:txBody>
      </p:sp>
      <p:sp>
        <p:nvSpPr>
          <p:cNvPr id="49" name="Chevron 48"/>
          <p:cNvSpPr/>
          <p:nvPr/>
        </p:nvSpPr>
        <p:spPr bwMode="auto">
          <a:xfrm>
            <a:off x="3266091" y="1336577"/>
            <a:ext cx="229432" cy="229432"/>
          </a:xfrm>
          <a:prstGeom prst="chevron">
            <a:avLst/>
          </a:prstGeom>
          <a:solidFill>
            <a:schemeClr val="tx1">
              <a:lumMod val="65000"/>
              <a:lumOff val="3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a:ln>
                <a:noFill/>
              </a:ln>
              <a:solidFill>
                <a:schemeClr val="bg2">
                  <a:lumMod val="50000"/>
                </a:schemeClr>
              </a:solidFill>
              <a:effectLst/>
              <a:latin typeface="Arial" pitchFamily="34" charset="0"/>
              <a:cs typeface="Arial" pitchFamily="34" charset="0"/>
            </a:endParaRPr>
          </a:p>
        </p:txBody>
      </p:sp>
      <p:sp>
        <p:nvSpPr>
          <p:cNvPr id="50" name="Chevron 49"/>
          <p:cNvSpPr/>
          <p:nvPr/>
        </p:nvSpPr>
        <p:spPr bwMode="auto">
          <a:xfrm>
            <a:off x="6412650" y="1336577"/>
            <a:ext cx="229432" cy="229432"/>
          </a:xfrm>
          <a:prstGeom prst="chevron">
            <a:avLst/>
          </a:prstGeom>
          <a:solidFill>
            <a:schemeClr val="tx1">
              <a:lumMod val="65000"/>
              <a:lumOff val="3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a:ln>
                <a:noFill/>
              </a:ln>
              <a:solidFill>
                <a:schemeClr val="bg2">
                  <a:lumMod val="50000"/>
                </a:schemeClr>
              </a:solidFill>
              <a:effectLst/>
              <a:latin typeface="Arial" pitchFamily="34" charset="0"/>
              <a:cs typeface="Arial" pitchFamily="34" charset="0"/>
            </a:endParaRPr>
          </a:p>
        </p:txBody>
      </p:sp>
      <p:sp>
        <p:nvSpPr>
          <p:cNvPr id="46" name="Rounded Rectangle 45"/>
          <p:cNvSpPr/>
          <p:nvPr/>
        </p:nvSpPr>
        <p:spPr>
          <a:xfrm>
            <a:off x="344494" y="1268412"/>
            <a:ext cx="2926080" cy="365760"/>
          </a:xfrm>
          <a:prstGeom prst="roundRect">
            <a:avLst/>
          </a:prstGeom>
          <a:solidFill>
            <a:schemeClr val="accent5">
              <a:lumMod val="40000"/>
              <a:lumOff val="60000"/>
            </a:schemeClr>
          </a:solidFill>
          <a:ln>
            <a:noFill/>
          </a:ln>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200" b="1" kern="1200">
                <a:solidFill>
                  <a:schemeClr val="bg1"/>
                </a:solidFill>
                <a:latin typeface="Arial" pitchFamily="34" charset="0"/>
                <a:cs typeface="Arial" pitchFamily="34" charset="0"/>
              </a:rPr>
              <a:t>Diagnostic</a:t>
            </a:r>
          </a:p>
        </p:txBody>
      </p:sp>
      <p:sp>
        <p:nvSpPr>
          <p:cNvPr id="53" name="Round Same Side Corner Rectangle 52"/>
          <p:cNvSpPr/>
          <p:nvPr/>
        </p:nvSpPr>
        <p:spPr bwMode="auto">
          <a:xfrm>
            <a:off x="344494" y="1749004"/>
            <a:ext cx="2926080" cy="599879"/>
          </a:xfrm>
          <a:prstGeom prst="round2SameRect">
            <a:avLst/>
          </a:prstGeom>
          <a:solidFill>
            <a:schemeClr val="accent5">
              <a:lumMod val="60000"/>
              <a:lumOff val="40000"/>
            </a:schemeClr>
          </a:solidFill>
          <a:ln w="6350" cap="flat" cmpd="sng" algn="ctr">
            <a:solidFill>
              <a:schemeClr val="accent5">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914400" eaLnBrk="0" fontAlgn="base" hangingPunct="0">
              <a:lnSpc>
                <a:spcPct val="85000"/>
              </a:lnSpc>
              <a:spcBef>
                <a:spcPct val="0"/>
              </a:spcBef>
              <a:spcAft>
                <a:spcPct val="0"/>
              </a:spcAft>
            </a:pPr>
            <a:r>
              <a:rPr lang="en-US" sz="1200" b="1">
                <a:solidFill>
                  <a:schemeClr val="bg1"/>
                </a:solidFill>
                <a:latin typeface="Arial" pitchFamily="34" charset="0"/>
                <a:cs typeface="Arial" pitchFamily="34" charset="0"/>
              </a:rPr>
              <a:t>Performance Management</a:t>
            </a:r>
          </a:p>
        </p:txBody>
      </p:sp>
      <p:sp>
        <p:nvSpPr>
          <p:cNvPr id="48" name="Rounded Rectangle 47"/>
          <p:cNvSpPr/>
          <p:nvPr/>
        </p:nvSpPr>
        <p:spPr>
          <a:xfrm>
            <a:off x="6637599" y="1268412"/>
            <a:ext cx="2926080" cy="365760"/>
          </a:xfrm>
          <a:prstGeom prst="roundRect">
            <a:avLst/>
          </a:prstGeom>
          <a:solidFill>
            <a:srgbClr val="92D050"/>
          </a:solidFill>
          <a:ln>
            <a:noFill/>
          </a:ln>
        </p:spPr>
        <p:style>
          <a:lnRef idx="2">
            <a:schemeClr val="lt1">
              <a:hueOff val="0"/>
              <a:satOff val="0"/>
              <a:lumOff val="0"/>
              <a:alphaOff val="0"/>
            </a:schemeClr>
          </a:lnRef>
          <a:fillRef idx="1">
            <a:scrgbClr r="0" g="0" b="0"/>
          </a:fillRef>
          <a:effectRef idx="0">
            <a:schemeClr val="accent1">
              <a:shade val="80000"/>
              <a:hueOff val="306246"/>
              <a:satOff val="-4392"/>
              <a:lumOff val="25615"/>
              <a:alphaOff val="0"/>
            </a:schemeClr>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200" b="1" kern="1200">
                <a:solidFill>
                  <a:schemeClr val="bg1"/>
                </a:solidFill>
                <a:latin typeface="Arial" pitchFamily="34" charset="0"/>
                <a:cs typeface="Arial" pitchFamily="34" charset="0"/>
              </a:rPr>
              <a:t>Development &amp; Key Outcomes</a:t>
            </a:r>
          </a:p>
        </p:txBody>
      </p:sp>
      <p:sp>
        <p:nvSpPr>
          <p:cNvPr id="98" name="Round Same Side Corner Rectangle 97"/>
          <p:cNvSpPr/>
          <p:nvPr/>
        </p:nvSpPr>
        <p:spPr bwMode="auto">
          <a:xfrm>
            <a:off x="6637599" y="1749006"/>
            <a:ext cx="2926080" cy="552590"/>
          </a:xfrm>
          <a:prstGeom prst="round2SameRect">
            <a:avLst/>
          </a:prstGeom>
          <a:solidFill>
            <a:srgbClr val="00B050"/>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914400" eaLnBrk="0" fontAlgn="base" hangingPunct="0">
              <a:lnSpc>
                <a:spcPct val="85000"/>
              </a:lnSpc>
              <a:spcBef>
                <a:spcPct val="0"/>
              </a:spcBef>
              <a:spcAft>
                <a:spcPct val="0"/>
              </a:spcAft>
            </a:pPr>
            <a:r>
              <a:rPr lang="en-US" sz="1200" b="1">
                <a:solidFill>
                  <a:schemeClr val="bg1"/>
                </a:solidFill>
                <a:latin typeface="Arial" pitchFamily="34" charset="0"/>
                <a:cs typeface="Arial" pitchFamily="34" charset="0"/>
              </a:rPr>
              <a:t>Learning &amp; Development</a:t>
            </a:r>
          </a:p>
        </p:txBody>
      </p:sp>
      <p:sp>
        <p:nvSpPr>
          <p:cNvPr id="47" name="Rounded Rectangle 46"/>
          <p:cNvSpPr/>
          <p:nvPr/>
        </p:nvSpPr>
        <p:spPr>
          <a:xfrm>
            <a:off x="3491042" y="1268412"/>
            <a:ext cx="2926080" cy="365760"/>
          </a:xfrm>
          <a:prstGeom prst="roundRect">
            <a:avLst/>
          </a:prstGeom>
          <a:solidFill>
            <a:schemeClr val="accent5">
              <a:lumMod val="60000"/>
              <a:lumOff val="40000"/>
            </a:schemeClr>
          </a:solidFill>
          <a:ln>
            <a:noFill/>
          </a:ln>
        </p:spPr>
        <p:style>
          <a:lnRef idx="2">
            <a:schemeClr val="lt1">
              <a:hueOff val="0"/>
              <a:satOff val="0"/>
              <a:lumOff val="0"/>
              <a:alphaOff val="0"/>
            </a:schemeClr>
          </a:lnRef>
          <a:fillRef idx="1">
            <a:scrgbClr r="0" g="0" b="0"/>
          </a:fillRef>
          <a:effectRef idx="0">
            <a:schemeClr val="accent1">
              <a:shade val="80000"/>
              <a:hueOff val="153123"/>
              <a:satOff val="-2196"/>
              <a:lumOff val="12807"/>
              <a:alphaOff val="0"/>
            </a:schemeClr>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200" b="1" kern="1200">
                <a:solidFill>
                  <a:schemeClr val="bg1"/>
                </a:solidFill>
                <a:latin typeface="Arial" pitchFamily="34" charset="0"/>
                <a:cs typeface="Arial" pitchFamily="34" charset="0"/>
              </a:rPr>
              <a:t>Talent View</a:t>
            </a:r>
          </a:p>
        </p:txBody>
      </p:sp>
      <p:sp>
        <p:nvSpPr>
          <p:cNvPr id="79" name="Round Same Side Corner Rectangle 78"/>
          <p:cNvSpPr/>
          <p:nvPr/>
        </p:nvSpPr>
        <p:spPr bwMode="auto">
          <a:xfrm>
            <a:off x="3491042" y="1749004"/>
            <a:ext cx="2926080" cy="599879"/>
          </a:xfrm>
          <a:prstGeom prst="round2Same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914400" eaLnBrk="0" fontAlgn="base" hangingPunct="0">
              <a:lnSpc>
                <a:spcPct val="85000"/>
              </a:lnSpc>
              <a:spcBef>
                <a:spcPct val="0"/>
              </a:spcBef>
              <a:spcAft>
                <a:spcPct val="0"/>
              </a:spcAft>
            </a:pPr>
            <a:r>
              <a:rPr lang="en-US" sz="1200" b="1">
                <a:solidFill>
                  <a:schemeClr val="bg1"/>
                </a:solidFill>
                <a:latin typeface="Arial" pitchFamily="34" charset="0"/>
                <a:cs typeface="Arial" pitchFamily="34" charset="0"/>
              </a:rPr>
              <a:t>Talent Management</a:t>
            </a:r>
          </a:p>
        </p:txBody>
      </p:sp>
      <p:grpSp>
        <p:nvGrpSpPr>
          <p:cNvPr id="8" name="Groupe 656"/>
          <p:cNvGrpSpPr/>
          <p:nvPr/>
        </p:nvGrpSpPr>
        <p:grpSpPr>
          <a:xfrm>
            <a:off x="2679393" y="1871112"/>
            <a:ext cx="461101" cy="328545"/>
            <a:chOff x="4795838" y="2000250"/>
            <a:chExt cx="404813" cy="331788"/>
          </a:xfrm>
        </p:grpSpPr>
        <p:sp>
          <p:nvSpPr>
            <p:cNvPr id="106" name="Freeform 299"/>
            <p:cNvSpPr>
              <a:spLocks/>
            </p:cNvSpPr>
            <p:nvPr/>
          </p:nvSpPr>
          <p:spPr bwMode="auto">
            <a:xfrm>
              <a:off x="4795838" y="2057400"/>
              <a:ext cx="215900" cy="274638"/>
            </a:xfrm>
            <a:custGeom>
              <a:avLst/>
              <a:gdLst/>
              <a:ahLst/>
              <a:cxnLst>
                <a:cxn ang="0">
                  <a:pos x="84" y="142"/>
                </a:cxn>
                <a:cxn ang="0">
                  <a:pos x="4" y="142"/>
                </a:cxn>
                <a:cxn ang="0">
                  <a:pos x="0" y="138"/>
                </a:cxn>
                <a:cxn ang="0">
                  <a:pos x="0" y="4"/>
                </a:cxn>
                <a:cxn ang="0">
                  <a:pos x="4" y="0"/>
                </a:cxn>
                <a:cxn ang="0">
                  <a:pos x="107" y="0"/>
                </a:cxn>
                <a:cxn ang="0">
                  <a:pos x="111" y="4"/>
                </a:cxn>
                <a:cxn ang="0">
                  <a:pos x="111" y="112"/>
                </a:cxn>
                <a:cxn ang="0">
                  <a:pos x="84" y="142"/>
                </a:cxn>
              </a:cxnLst>
              <a:rect l="0" t="0" r="r" b="b"/>
              <a:pathLst>
                <a:path w="111" h="142">
                  <a:moveTo>
                    <a:pt x="84" y="142"/>
                  </a:moveTo>
                  <a:cubicBezTo>
                    <a:pt x="4" y="142"/>
                    <a:pt x="4" y="142"/>
                    <a:pt x="4" y="142"/>
                  </a:cubicBezTo>
                  <a:cubicBezTo>
                    <a:pt x="2" y="142"/>
                    <a:pt x="0" y="140"/>
                    <a:pt x="0" y="138"/>
                  </a:cubicBezTo>
                  <a:cubicBezTo>
                    <a:pt x="0" y="4"/>
                    <a:pt x="0" y="4"/>
                    <a:pt x="0" y="4"/>
                  </a:cubicBezTo>
                  <a:cubicBezTo>
                    <a:pt x="0" y="2"/>
                    <a:pt x="2" y="0"/>
                    <a:pt x="4" y="0"/>
                  </a:cubicBezTo>
                  <a:cubicBezTo>
                    <a:pt x="107" y="0"/>
                    <a:pt x="107" y="0"/>
                    <a:pt x="107" y="0"/>
                  </a:cubicBezTo>
                  <a:cubicBezTo>
                    <a:pt x="109" y="0"/>
                    <a:pt x="111" y="2"/>
                    <a:pt x="111" y="4"/>
                  </a:cubicBezTo>
                  <a:cubicBezTo>
                    <a:pt x="111" y="112"/>
                    <a:pt x="111" y="112"/>
                    <a:pt x="111" y="112"/>
                  </a:cubicBezTo>
                  <a:lnTo>
                    <a:pt x="84" y="142"/>
                  </a:lnTo>
                  <a:close/>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07" name="Freeform 300"/>
            <p:cNvSpPr>
              <a:spLocks/>
            </p:cNvSpPr>
            <p:nvPr/>
          </p:nvSpPr>
          <p:spPr bwMode="auto">
            <a:xfrm>
              <a:off x="4862513" y="2243138"/>
              <a:ext cx="80963" cy="49213"/>
            </a:xfrm>
            <a:custGeom>
              <a:avLst/>
              <a:gdLst/>
              <a:ahLst/>
              <a:cxnLst>
                <a:cxn ang="0">
                  <a:pos x="0" y="20"/>
                </a:cxn>
                <a:cxn ang="0">
                  <a:pos x="12" y="31"/>
                </a:cxn>
                <a:cxn ang="0">
                  <a:pos x="51" y="0"/>
                </a:cxn>
              </a:cxnLst>
              <a:rect l="0" t="0" r="r" b="b"/>
              <a:pathLst>
                <a:path w="51" h="31">
                  <a:moveTo>
                    <a:pt x="0" y="20"/>
                  </a:moveTo>
                  <a:lnTo>
                    <a:pt x="12" y="31"/>
                  </a:lnTo>
                  <a:lnTo>
                    <a:pt x="51" y="0"/>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08" name="Line 301"/>
            <p:cNvSpPr>
              <a:spLocks noChangeShapeType="1"/>
            </p:cNvSpPr>
            <p:nvPr/>
          </p:nvSpPr>
          <p:spPr bwMode="auto">
            <a:xfrm>
              <a:off x="4838701" y="2101850"/>
              <a:ext cx="1158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09" name="Line 302"/>
            <p:cNvSpPr>
              <a:spLocks noChangeShapeType="1"/>
            </p:cNvSpPr>
            <p:nvPr/>
          </p:nvSpPr>
          <p:spPr bwMode="auto">
            <a:xfrm>
              <a:off x="4838701" y="2136775"/>
              <a:ext cx="1158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10" name="Line 303"/>
            <p:cNvSpPr>
              <a:spLocks noChangeShapeType="1"/>
            </p:cNvSpPr>
            <p:nvPr/>
          </p:nvSpPr>
          <p:spPr bwMode="auto">
            <a:xfrm>
              <a:off x="4838701" y="2173288"/>
              <a:ext cx="1158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11" name="Line 304"/>
            <p:cNvSpPr>
              <a:spLocks noChangeShapeType="1"/>
            </p:cNvSpPr>
            <p:nvPr/>
          </p:nvSpPr>
          <p:spPr bwMode="auto">
            <a:xfrm>
              <a:off x="4838701" y="2214563"/>
              <a:ext cx="68263"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12" name="Freeform 305"/>
            <p:cNvSpPr>
              <a:spLocks/>
            </p:cNvSpPr>
            <p:nvPr/>
          </p:nvSpPr>
          <p:spPr bwMode="auto">
            <a:xfrm>
              <a:off x="4956176" y="2268538"/>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13" name="Line 306"/>
            <p:cNvSpPr>
              <a:spLocks noChangeShapeType="1"/>
            </p:cNvSpPr>
            <p:nvPr/>
          </p:nvSpPr>
          <p:spPr bwMode="auto">
            <a:xfrm>
              <a:off x="4851401" y="2057400"/>
              <a:ext cx="1031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114" name="Freeform 307"/>
            <p:cNvSpPr>
              <a:spLocks/>
            </p:cNvSpPr>
            <p:nvPr/>
          </p:nvSpPr>
          <p:spPr bwMode="auto">
            <a:xfrm>
              <a:off x="5013326" y="2000250"/>
              <a:ext cx="187325" cy="274638"/>
            </a:xfrm>
            <a:custGeom>
              <a:avLst/>
              <a:gdLst/>
              <a:ahLst/>
              <a:cxnLst>
                <a:cxn ang="0">
                  <a:pos x="97" y="141"/>
                </a:cxn>
                <a:cxn ang="0">
                  <a:pos x="56" y="60"/>
                </a:cxn>
                <a:cxn ang="0">
                  <a:pos x="70" y="32"/>
                </a:cxn>
                <a:cxn ang="0">
                  <a:pos x="45" y="0"/>
                </a:cxn>
                <a:cxn ang="0">
                  <a:pos x="19" y="32"/>
                </a:cxn>
                <a:cxn ang="0">
                  <a:pos x="33" y="60"/>
                </a:cxn>
                <a:cxn ang="0">
                  <a:pos x="0" y="93"/>
                </a:cxn>
              </a:cxnLst>
              <a:rect l="0" t="0" r="r" b="b"/>
              <a:pathLst>
                <a:path w="97" h="141">
                  <a:moveTo>
                    <a:pt x="97" y="141"/>
                  </a:moveTo>
                  <a:cubicBezTo>
                    <a:pt x="97" y="102"/>
                    <a:pt x="86" y="69"/>
                    <a:pt x="56" y="60"/>
                  </a:cubicBezTo>
                  <a:cubicBezTo>
                    <a:pt x="62" y="54"/>
                    <a:pt x="70" y="43"/>
                    <a:pt x="70" y="32"/>
                  </a:cubicBezTo>
                  <a:cubicBezTo>
                    <a:pt x="70" y="13"/>
                    <a:pt x="59" y="0"/>
                    <a:pt x="45" y="0"/>
                  </a:cubicBezTo>
                  <a:cubicBezTo>
                    <a:pt x="30" y="0"/>
                    <a:pt x="19" y="13"/>
                    <a:pt x="19" y="32"/>
                  </a:cubicBezTo>
                  <a:cubicBezTo>
                    <a:pt x="19" y="43"/>
                    <a:pt x="27" y="54"/>
                    <a:pt x="33" y="60"/>
                  </a:cubicBezTo>
                  <a:cubicBezTo>
                    <a:pt x="17" y="65"/>
                    <a:pt x="6" y="77"/>
                    <a:pt x="0" y="93"/>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grpSp>
      <p:grpSp>
        <p:nvGrpSpPr>
          <p:cNvPr id="12" name="Group 11"/>
          <p:cNvGrpSpPr/>
          <p:nvPr/>
        </p:nvGrpSpPr>
        <p:grpSpPr>
          <a:xfrm>
            <a:off x="1338885" y="2484832"/>
            <a:ext cx="8390887" cy="4012373"/>
            <a:chOff x="1233971" y="2356607"/>
            <a:chExt cx="8094164" cy="4012373"/>
          </a:xfrm>
        </p:grpSpPr>
        <p:grpSp>
          <p:nvGrpSpPr>
            <p:cNvPr id="11" name="Group 10"/>
            <p:cNvGrpSpPr/>
            <p:nvPr/>
          </p:nvGrpSpPr>
          <p:grpSpPr>
            <a:xfrm>
              <a:off x="1233971" y="2356607"/>
              <a:ext cx="8094164" cy="4012373"/>
              <a:chOff x="1999407" y="1677115"/>
              <a:chExt cx="8094164" cy="4012373"/>
            </a:xfrm>
          </p:grpSpPr>
          <p:grpSp>
            <p:nvGrpSpPr>
              <p:cNvPr id="179" name="Group 178"/>
              <p:cNvGrpSpPr/>
              <p:nvPr/>
            </p:nvGrpSpPr>
            <p:grpSpPr>
              <a:xfrm>
                <a:off x="1999407" y="1677115"/>
                <a:ext cx="8094164" cy="4012373"/>
                <a:chOff x="230813" y="1143000"/>
                <a:chExt cx="8956676" cy="5377693"/>
              </a:xfrm>
            </p:grpSpPr>
            <p:sp>
              <p:nvSpPr>
                <p:cNvPr id="180" name="Oval 179"/>
                <p:cNvSpPr/>
                <p:nvPr/>
              </p:nvSpPr>
              <p:spPr>
                <a:xfrm flipV="1">
                  <a:off x="230813" y="5618943"/>
                  <a:ext cx="8956676" cy="773088"/>
                </a:xfrm>
                <a:prstGeom prst="ellipse">
                  <a:avLst/>
                </a:prstGeom>
                <a:solidFill>
                  <a:srgbClr val="000000">
                    <a:lumMod val="50000"/>
                    <a:lumOff val="50000"/>
                  </a:srgbClr>
                </a:soli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cs typeface="Arial" pitchFamily="34" charset="0"/>
                  </a:endParaRPr>
                </a:p>
              </p:txBody>
            </p:sp>
            <p:sp>
              <p:nvSpPr>
                <p:cNvPr id="181" name="Oval 180"/>
                <p:cNvSpPr/>
                <p:nvPr/>
              </p:nvSpPr>
              <p:spPr>
                <a:xfrm flipV="1">
                  <a:off x="6856512" y="5867212"/>
                  <a:ext cx="1522029" cy="381375"/>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cs typeface="Arial" pitchFamily="34" charset="0"/>
                  </a:endParaRPr>
                </a:p>
              </p:txBody>
            </p:sp>
            <p:sp>
              <p:nvSpPr>
                <p:cNvPr id="182" name="Oval 181"/>
                <p:cNvSpPr/>
                <p:nvPr/>
              </p:nvSpPr>
              <p:spPr>
                <a:xfrm flipV="1">
                  <a:off x="1322110" y="5388814"/>
                  <a:ext cx="6729284" cy="1131879"/>
                </a:xfrm>
                <a:prstGeom prst="ellipse">
                  <a:avLst/>
                </a:prstGeom>
                <a:gradFill flip="none" rotWithShape="1">
                  <a:gsLst>
                    <a:gs pos="0">
                      <a:srgbClr val="000000">
                        <a:lumMod val="75000"/>
                        <a:lumOff val="25000"/>
                        <a:alpha val="80000"/>
                      </a:srgbClr>
                    </a:gs>
                    <a:gs pos="100000">
                      <a:srgbClr val="000000">
                        <a:lumMod val="50000"/>
                        <a:lumOff val="50000"/>
                        <a:alpha val="0"/>
                      </a:srgb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cs typeface="Arial" pitchFamily="34" charset="0"/>
                  </a:endParaRPr>
                </a:p>
              </p:txBody>
            </p:sp>
            <p:grpSp>
              <p:nvGrpSpPr>
                <p:cNvPr id="183" name="Group 182"/>
                <p:cNvGrpSpPr/>
                <p:nvPr/>
              </p:nvGrpSpPr>
              <p:grpSpPr>
                <a:xfrm>
                  <a:off x="1108775" y="1143000"/>
                  <a:ext cx="6848476" cy="5076826"/>
                  <a:chOff x="3074988" y="1068388"/>
                  <a:chExt cx="6848476" cy="5151438"/>
                </a:xfrm>
              </p:grpSpPr>
              <p:sp>
                <p:nvSpPr>
                  <p:cNvPr id="194" name="Rectangle 6"/>
                  <p:cNvSpPr>
                    <a:spLocks noChangeArrowheads="1"/>
                  </p:cNvSpPr>
                  <p:nvPr/>
                </p:nvSpPr>
                <p:spPr bwMode="auto">
                  <a:xfrm>
                    <a:off x="3074988" y="1381125"/>
                    <a:ext cx="4198938" cy="977900"/>
                  </a:xfrm>
                  <a:prstGeom prst="rect">
                    <a:avLst/>
                  </a:prstGeom>
                  <a:solidFill>
                    <a:srgbClr val="6BC2E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195" name="Rectangle 7"/>
                  <p:cNvSpPr>
                    <a:spLocks noChangeArrowheads="1"/>
                  </p:cNvSpPr>
                  <p:nvPr/>
                </p:nvSpPr>
                <p:spPr bwMode="auto">
                  <a:xfrm>
                    <a:off x="3074988" y="2433638"/>
                    <a:ext cx="4198938" cy="700088"/>
                  </a:xfrm>
                  <a:prstGeom prst="rect">
                    <a:avLst/>
                  </a:prstGeom>
                  <a:solidFill>
                    <a:srgbClr val="A7CCD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196" name="Rectangle 8"/>
                  <p:cNvSpPr>
                    <a:spLocks noChangeArrowheads="1"/>
                  </p:cNvSpPr>
                  <p:nvPr/>
                </p:nvSpPr>
                <p:spPr bwMode="auto">
                  <a:xfrm>
                    <a:off x="3074988" y="3192463"/>
                    <a:ext cx="4198938" cy="911225"/>
                  </a:xfrm>
                  <a:prstGeom prst="rect">
                    <a:avLst/>
                  </a:prstGeom>
                  <a:solidFill>
                    <a:srgbClr val="019AD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197" name="Rectangle 9"/>
                  <p:cNvSpPr>
                    <a:spLocks noChangeArrowheads="1"/>
                  </p:cNvSpPr>
                  <p:nvPr/>
                </p:nvSpPr>
                <p:spPr bwMode="auto">
                  <a:xfrm>
                    <a:off x="3074988" y="4184650"/>
                    <a:ext cx="4198938" cy="825500"/>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198" name="Rectangle 10"/>
                  <p:cNvSpPr>
                    <a:spLocks noChangeArrowheads="1"/>
                  </p:cNvSpPr>
                  <p:nvPr/>
                </p:nvSpPr>
                <p:spPr bwMode="auto">
                  <a:xfrm>
                    <a:off x="3074988" y="5091113"/>
                    <a:ext cx="4198938" cy="904875"/>
                  </a:xfrm>
                  <a:prstGeom prst="rect">
                    <a:avLst/>
                  </a:prstGeom>
                  <a:solidFill>
                    <a:srgbClr val="0779B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199" name="Freeform 11"/>
                  <p:cNvSpPr>
                    <a:spLocks/>
                  </p:cNvSpPr>
                  <p:nvPr/>
                </p:nvSpPr>
                <p:spPr bwMode="auto">
                  <a:xfrm>
                    <a:off x="7245351" y="5091113"/>
                    <a:ext cx="758825" cy="1128713"/>
                  </a:xfrm>
                  <a:custGeom>
                    <a:avLst/>
                    <a:gdLst>
                      <a:gd name="T0" fmla="*/ 0 w 478"/>
                      <a:gd name="T1" fmla="*/ 0 h 711"/>
                      <a:gd name="T2" fmla="*/ 478 w 478"/>
                      <a:gd name="T3" fmla="*/ 77 h 711"/>
                      <a:gd name="T4" fmla="*/ 478 w 478"/>
                      <a:gd name="T5" fmla="*/ 711 h 711"/>
                      <a:gd name="T6" fmla="*/ 0 w 478"/>
                      <a:gd name="T7" fmla="*/ 574 h 711"/>
                      <a:gd name="T8" fmla="*/ 0 w 478"/>
                      <a:gd name="T9" fmla="*/ 0 h 711"/>
                    </a:gdLst>
                    <a:ahLst/>
                    <a:cxnLst>
                      <a:cxn ang="0">
                        <a:pos x="T0" y="T1"/>
                      </a:cxn>
                      <a:cxn ang="0">
                        <a:pos x="T2" y="T3"/>
                      </a:cxn>
                      <a:cxn ang="0">
                        <a:pos x="T4" y="T5"/>
                      </a:cxn>
                      <a:cxn ang="0">
                        <a:pos x="T6" y="T7"/>
                      </a:cxn>
                      <a:cxn ang="0">
                        <a:pos x="T8" y="T9"/>
                      </a:cxn>
                    </a:cxnLst>
                    <a:rect l="0" t="0" r="r" b="b"/>
                    <a:pathLst>
                      <a:path w="478" h="711">
                        <a:moveTo>
                          <a:pt x="0" y="0"/>
                        </a:moveTo>
                        <a:lnTo>
                          <a:pt x="478" y="77"/>
                        </a:lnTo>
                        <a:lnTo>
                          <a:pt x="478" y="711"/>
                        </a:lnTo>
                        <a:lnTo>
                          <a:pt x="0" y="574"/>
                        </a:lnTo>
                        <a:lnTo>
                          <a:pt x="0" y="0"/>
                        </a:lnTo>
                        <a:close/>
                      </a:path>
                    </a:pathLst>
                  </a:custGeom>
                  <a:solidFill>
                    <a:srgbClr val="0779B7">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0" name="Freeform 12"/>
                  <p:cNvSpPr>
                    <a:spLocks/>
                  </p:cNvSpPr>
                  <p:nvPr/>
                </p:nvSpPr>
                <p:spPr bwMode="auto">
                  <a:xfrm>
                    <a:off x="8004176" y="4859338"/>
                    <a:ext cx="1676400" cy="1360488"/>
                  </a:xfrm>
                  <a:custGeom>
                    <a:avLst/>
                    <a:gdLst>
                      <a:gd name="T0" fmla="*/ 1056 w 1056"/>
                      <a:gd name="T1" fmla="*/ 0 h 857"/>
                      <a:gd name="T2" fmla="*/ 1056 w 1056"/>
                      <a:gd name="T3" fmla="*/ 429 h 857"/>
                      <a:gd name="T4" fmla="*/ 0 w 1056"/>
                      <a:gd name="T5" fmla="*/ 857 h 857"/>
                      <a:gd name="T6" fmla="*/ 0 w 1056"/>
                      <a:gd name="T7" fmla="*/ 223 h 857"/>
                      <a:gd name="T8" fmla="*/ 1056 w 1056"/>
                      <a:gd name="T9" fmla="*/ 0 h 857"/>
                    </a:gdLst>
                    <a:ahLst/>
                    <a:cxnLst>
                      <a:cxn ang="0">
                        <a:pos x="T0" y="T1"/>
                      </a:cxn>
                      <a:cxn ang="0">
                        <a:pos x="T2" y="T3"/>
                      </a:cxn>
                      <a:cxn ang="0">
                        <a:pos x="T4" y="T5"/>
                      </a:cxn>
                      <a:cxn ang="0">
                        <a:pos x="T6" y="T7"/>
                      </a:cxn>
                      <a:cxn ang="0">
                        <a:pos x="T8" y="T9"/>
                      </a:cxn>
                    </a:cxnLst>
                    <a:rect l="0" t="0" r="r" b="b"/>
                    <a:pathLst>
                      <a:path w="1056" h="857">
                        <a:moveTo>
                          <a:pt x="1056" y="0"/>
                        </a:moveTo>
                        <a:lnTo>
                          <a:pt x="1056" y="429"/>
                        </a:lnTo>
                        <a:lnTo>
                          <a:pt x="0" y="857"/>
                        </a:lnTo>
                        <a:lnTo>
                          <a:pt x="0" y="223"/>
                        </a:lnTo>
                        <a:lnTo>
                          <a:pt x="1056" y="0"/>
                        </a:lnTo>
                        <a:close/>
                      </a:path>
                    </a:pathLst>
                  </a:custGeom>
                  <a:solidFill>
                    <a:srgbClr val="0779B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1" name="Freeform 13"/>
                  <p:cNvSpPr>
                    <a:spLocks/>
                  </p:cNvSpPr>
                  <p:nvPr/>
                </p:nvSpPr>
                <p:spPr bwMode="auto">
                  <a:xfrm>
                    <a:off x="7245351" y="4806950"/>
                    <a:ext cx="2435225" cy="406400"/>
                  </a:xfrm>
                  <a:custGeom>
                    <a:avLst/>
                    <a:gdLst>
                      <a:gd name="T0" fmla="*/ 1007 w 1534"/>
                      <a:gd name="T1" fmla="*/ 0 h 256"/>
                      <a:gd name="T2" fmla="*/ 1534 w 1534"/>
                      <a:gd name="T3" fmla="*/ 33 h 256"/>
                      <a:gd name="T4" fmla="*/ 478 w 1534"/>
                      <a:gd name="T5" fmla="*/ 256 h 256"/>
                      <a:gd name="T6" fmla="*/ 0 w 1534"/>
                      <a:gd name="T7" fmla="*/ 179 h 256"/>
                      <a:gd name="T8" fmla="*/ 1007 w 1534"/>
                      <a:gd name="T9" fmla="*/ 0 h 256"/>
                    </a:gdLst>
                    <a:ahLst/>
                    <a:cxnLst>
                      <a:cxn ang="0">
                        <a:pos x="T0" y="T1"/>
                      </a:cxn>
                      <a:cxn ang="0">
                        <a:pos x="T2" y="T3"/>
                      </a:cxn>
                      <a:cxn ang="0">
                        <a:pos x="T4" y="T5"/>
                      </a:cxn>
                      <a:cxn ang="0">
                        <a:pos x="T6" y="T7"/>
                      </a:cxn>
                      <a:cxn ang="0">
                        <a:pos x="T8" y="T9"/>
                      </a:cxn>
                    </a:cxnLst>
                    <a:rect l="0" t="0" r="r" b="b"/>
                    <a:pathLst>
                      <a:path w="1534" h="256">
                        <a:moveTo>
                          <a:pt x="1007" y="0"/>
                        </a:moveTo>
                        <a:lnTo>
                          <a:pt x="1534" y="33"/>
                        </a:lnTo>
                        <a:lnTo>
                          <a:pt x="478" y="256"/>
                        </a:lnTo>
                        <a:lnTo>
                          <a:pt x="0" y="179"/>
                        </a:lnTo>
                        <a:lnTo>
                          <a:pt x="1007" y="0"/>
                        </a:lnTo>
                        <a:close/>
                      </a:path>
                    </a:pathLst>
                  </a:custGeom>
                  <a:solidFill>
                    <a:srgbClr val="0779B7">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2" name="Freeform 14"/>
                  <p:cNvSpPr>
                    <a:spLocks/>
                  </p:cNvSpPr>
                  <p:nvPr/>
                </p:nvSpPr>
                <p:spPr bwMode="auto">
                  <a:xfrm>
                    <a:off x="7245351" y="4184650"/>
                    <a:ext cx="758825" cy="920750"/>
                  </a:xfrm>
                  <a:custGeom>
                    <a:avLst/>
                    <a:gdLst>
                      <a:gd name="T0" fmla="*/ 0 w 478"/>
                      <a:gd name="T1" fmla="*/ 0 h 580"/>
                      <a:gd name="T2" fmla="*/ 478 w 478"/>
                      <a:gd name="T3" fmla="*/ 0 h 580"/>
                      <a:gd name="T4" fmla="*/ 478 w 478"/>
                      <a:gd name="T5" fmla="*/ 580 h 580"/>
                      <a:gd name="T6" fmla="*/ 0 w 478"/>
                      <a:gd name="T7" fmla="*/ 516 h 580"/>
                      <a:gd name="T8" fmla="*/ 0 w 478"/>
                      <a:gd name="T9" fmla="*/ 0 h 580"/>
                    </a:gdLst>
                    <a:ahLst/>
                    <a:cxnLst>
                      <a:cxn ang="0">
                        <a:pos x="T0" y="T1"/>
                      </a:cxn>
                      <a:cxn ang="0">
                        <a:pos x="T2" y="T3"/>
                      </a:cxn>
                      <a:cxn ang="0">
                        <a:pos x="T4" y="T5"/>
                      </a:cxn>
                      <a:cxn ang="0">
                        <a:pos x="T6" y="T7"/>
                      </a:cxn>
                      <a:cxn ang="0">
                        <a:pos x="T8" y="T9"/>
                      </a:cxn>
                    </a:cxnLst>
                    <a:rect l="0" t="0" r="r" b="b"/>
                    <a:pathLst>
                      <a:path w="478" h="580">
                        <a:moveTo>
                          <a:pt x="0" y="0"/>
                        </a:moveTo>
                        <a:lnTo>
                          <a:pt x="478" y="0"/>
                        </a:lnTo>
                        <a:lnTo>
                          <a:pt x="478" y="580"/>
                        </a:lnTo>
                        <a:lnTo>
                          <a:pt x="0" y="516"/>
                        </a:lnTo>
                        <a:lnTo>
                          <a:pt x="0" y="0"/>
                        </a:lnTo>
                        <a:close/>
                      </a:path>
                    </a:pathLst>
                  </a:custGeom>
                  <a:solidFill>
                    <a:srgbClr val="595959">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3" name="Freeform 15"/>
                  <p:cNvSpPr>
                    <a:spLocks/>
                  </p:cNvSpPr>
                  <p:nvPr/>
                </p:nvSpPr>
                <p:spPr bwMode="auto">
                  <a:xfrm>
                    <a:off x="8004176" y="4184650"/>
                    <a:ext cx="1676400" cy="920750"/>
                  </a:xfrm>
                  <a:custGeom>
                    <a:avLst/>
                    <a:gdLst>
                      <a:gd name="T0" fmla="*/ 0 w 1056"/>
                      <a:gd name="T1" fmla="*/ 0 h 580"/>
                      <a:gd name="T2" fmla="*/ 1056 w 1056"/>
                      <a:gd name="T3" fmla="*/ 0 h 580"/>
                      <a:gd name="T4" fmla="*/ 1056 w 1056"/>
                      <a:gd name="T5" fmla="*/ 389 h 580"/>
                      <a:gd name="T6" fmla="*/ 0 w 1056"/>
                      <a:gd name="T7" fmla="*/ 580 h 580"/>
                      <a:gd name="T8" fmla="*/ 0 w 1056"/>
                      <a:gd name="T9" fmla="*/ 0 h 580"/>
                    </a:gdLst>
                    <a:ahLst/>
                    <a:cxnLst>
                      <a:cxn ang="0">
                        <a:pos x="T0" y="T1"/>
                      </a:cxn>
                      <a:cxn ang="0">
                        <a:pos x="T2" y="T3"/>
                      </a:cxn>
                      <a:cxn ang="0">
                        <a:pos x="T4" y="T5"/>
                      </a:cxn>
                      <a:cxn ang="0">
                        <a:pos x="T6" y="T7"/>
                      </a:cxn>
                      <a:cxn ang="0">
                        <a:pos x="T8" y="T9"/>
                      </a:cxn>
                    </a:cxnLst>
                    <a:rect l="0" t="0" r="r" b="b"/>
                    <a:pathLst>
                      <a:path w="1056" h="580">
                        <a:moveTo>
                          <a:pt x="0" y="0"/>
                        </a:moveTo>
                        <a:lnTo>
                          <a:pt x="1056" y="0"/>
                        </a:lnTo>
                        <a:lnTo>
                          <a:pt x="1056" y="389"/>
                        </a:lnTo>
                        <a:lnTo>
                          <a:pt x="0" y="580"/>
                        </a:lnTo>
                        <a:lnTo>
                          <a:pt x="0" y="0"/>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4" name="Freeform 16"/>
                  <p:cNvSpPr>
                    <a:spLocks/>
                  </p:cNvSpPr>
                  <p:nvPr/>
                </p:nvSpPr>
                <p:spPr bwMode="auto">
                  <a:xfrm>
                    <a:off x="7245351" y="1068388"/>
                    <a:ext cx="758825" cy="1290638"/>
                  </a:xfrm>
                  <a:custGeom>
                    <a:avLst/>
                    <a:gdLst>
                      <a:gd name="T0" fmla="*/ 478 w 478"/>
                      <a:gd name="T1" fmla="*/ 0 h 813"/>
                      <a:gd name="T2" fmla="*/ 478 w 478"/>
                      <a:gd name="T3" fmla="*/ 667 h 813"/>
                      <a:gd name="T4" fmla="*/ 0 w 478"/>
                      <a:gd name="T5" fmla="*/ 813 h 813"/>
                      <a:gd name="T6" fmla="*/ 0 w 478"/>
                      <a:gd name="T7" fmla="*/ 197 h 813"/>
                      <a:gd name="T8" fmla="*/ 478 w 478"/>
                      <a:gd name="T9" fmla="*/ 0 h 813"/>
                    </a:gdLst>
                    <a:ahLst/>
                    <a:cxnLst>
                      <a:cxn ang="0">
                        <a:pos x="T0" y="T1"/>
                      </a:cxn>
                      <a:cxn ang="0">
                        <a:pos x="T2" y="T3"/>
                      </a:cxn>
                      <a:cxn ang="0">
                        <a:pos x="T4" y="T5"/>
                      </a:cxn>
                      <a:cxn ang="0">
                        <a:pos x="T6" y="T7"/>
                      </a:cxn>
                      <a:cxn ang="0">
                        <a:pos x="T8" y="T9"/>
                      </a:cxn>
                    </a:cxnLst>
                    <a:rect l="0" t="0" r="r" b="b"/>
                    <a:pathLst>
                      <a:path w="478" h="813">
                        <a:moveTo>
                          <a:pt x="478" y="0"/>
                        </a:moveTo>
                        <a:lnTo>
                          <a:pt x="478" y="667"/>
                        </a:lnTo>
                        <a:lnTo>
                          <a:pt x="0" y="813"/>
                        </a:lnTo>
                        <a:lnTo>
                          <a:pt x="0" y="197"/>
                        </a:lnTo>
                        <a:lnTo>
                          <a:pt x="478" y="0"/>
                        </a:lnTo>
                        <a:close/>
                      </a:path>
                    </a:pathLst>
                  </a:custGeom>
                  <a:solidFill>
                    <a:srgbClr val="6BC2ED">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5" name="Freeform 17"/>
                  <p:cNvSpPr>
                    <a:spLocks/>
                  </p:cNvSpPr>
                  <p:nvPr/>
                </p:nvSpPr>
                <p:spPr bwMode="auto">
                  <a:xfrm>
                    <a:off x="8004176" y="1068388"/>
                    <a:ext cx="1676400" cy="1774825"/>
                  </a:xfrm>
                  <a:custGeom>
                    <a:avLst/>
                    <a:gdLst>
                      <a:gd name="T0" fmla="*/ 0 w 1056"/>
                      <a:gd name="T1" fmla="*/ 0 h 1118"/>
                      <a:gd name="T2" fmla="*/ 1056 w 1056"/>
                      <a:gd name="T3" fmla="*/ 682 h 1118"/>
                      <a:gd name="T4" fmla="*/ 1056 w 1056"/>
                      <a:gd name="T5" fmla="*/ 1118 h 1118"/>
                      <a:gd name="T6" fmla="*/ 0 w 1056"/>
                      <a:gd name="T7" fmla="*/ 667 h 1118"/>
                      <a:gd name="T8" fmla="*/ 0 w 1056"/>
                      <a:gd name="T9" fmla="*/ 0 h 1118"/>
                    </a:gdLst>
                    <a:ahLst/>
                    <a:cxnLst>
                      <a:cxn ang="0">
                        <a:pos x="T0" y="T1"/>
                      </a:cxn>
                      <a:cxn ang="0">
                        <a:pos x="T2" y="T3"/>
                      </a:cxn>
                      <a:cxn ang="0">
                        <a:pos x="T4" y="T5"/>
                      </a:cxn>
                      <a:cxn ang="0">
                        <a:pos x="T6" y="T7"/>
                      </a:cxn>
                      <a:cxn ang="0">
                        <a:pos x="T8" y="T9"/>
                      </a:cxn>
                    </a:cxnLst>
                    <a:rect l="0" t="0" r="r" b="b"/>
                    <a:pathLst>
                      <a:path w="1056" h="1118">
                        <a:moveTo>
                          <a:pt x="0" y="0"/>
                        </a:moveTo>
                        <a:lnTo>
                          <a:pt x="1056" y="682"/>
                        </a:lnTo>
                        <a:lnTo>
                          <a:pt x="1056" y="1118"/>
                        </a:lnTo>
                        <a:lnTo>
                          <a:pt x="0" y="667"/>
                        </a:lnTo>
                        <a:lnTo>
                          <a:pt x="0" y="0"/>
                        </a:lnTo>
                        <a:close/>
                      </a:path>
                    </a:pathLst>
                  </a:custGeom>
                  <a:solidFill>
                    <a:srgbClr val="6BC2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6" name="Freeform 18"/>
                  <p:cNvSpPr>
                    <a:spLocks/>
                  </p:cNvSpPr>
                  <p:nvPr/>
                </p:nvSpPr>
                <p:spPr bwMode="auto">
                  <a:xfrm>
                    <a:off x="7245351" y="2127250"/>
                    <a:ext cx="2435225" cy="715963"/>
                  </a:xfrm>
                  <a:custGeom>
                    <a:avLst/>
                    <a:gdLst>
                      <a:gd name="T0" fmla="*/ 478 w 1534"/>
                      <a:gd name="T1" fmla="*/ 0 h 451"/>
                      <a:gd name="T2" fmla="*/ 1534 w 1534"/>
                      <a:gd name="T3" fmla="*/ 451 h 451"/>
                      <a:gd name="T4" fmla="*/ 1048 w 1534"/>
                      <a:gd name="T5" fmla="*/ 451 h 451"/>
                      <a:gd name="T6" fmla="*/ 0 w 1534"/>
                      <a:gd name="T7" fmla="*/ 146 h 451"/>
                      <a:gd name="T8" fmla="*/ 478 w 1534"/>
                      <a:gd name="T9" fmla="*/ 0 h 451"/>
                    </a:gdLst>
                    <a:ahLst/>
                    <a:cxnLst>
                      <a:cxn ang="0">
                        <a:pos x="T0" y="T1"/>
                      </a:cxn>
                      <a:cxn ang="0">
                        <a:pos x="T2" y="T3"/>
                      </a:cxn>
                      <a:cxn ang="0">
                        <a:pos x="T4" y="T5"/>
                      </a:cxn>
                      <a:cxn ang="0">
                        <a:pos x="T6" y="T7"/>
                      </a:cxn>
                      <a:cxn ang="0">
                        <a:pos x="T8" y="T9"/>
                      </a:cxn>
                    </a:cxnLst>
                    <a:rect l="0" t="0" r="r" b="b"/>
                    <a:pathLst>
                      <a:path w="1534" h="451">
                        <a:moveTo>
                          <a:pt x="478" y="0"/>
                        </a:moveTo>
                        <a:lnTo>
                          <a:pt x="1534" y="451"/>
                        </a:lnTo>
                        <a:lnTo>
                          <a:pt x="1048" y="451"/>
                        </a:lnTo>
                        <a:lnTo>
                          <a:pt x="0" y="146"/>
                        </a:lnTo>
                        <a:lnTo>
                          <a:pt x="478" y="0"/>
                        </a:lnTo>
                        <a:close/>
                      </a:path>
                    </a:pathLst>
                  </a:custGeom>
                  <a:solidFill>
                    <a:srgbClr val="6BC2ED">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7" name="Freeform 19"/>
                  <p:cNvSpPr>
                    <a:spLocks/>
                  </p:cNvSpPr>
                  <p:nvPr/>
                </p:nvSpPr>
                <p:spPr bwMode="auto">
                  <a:xfrm>
                    <a:off x="7245351" y="2974975"/>
                    <a:ext cx="2435225" cy="434975"/>
                  </a:xfrm>
                  <a:custGeom>
                    <a:avLst/>
                    <a:gdLst>
                      <a:gd name="T0" fmla="*/ 478 w 1534"/>
                      <a:gd name="T1" fmla="*/ 0 h 274"/>
                      <a:gd name="T2" fmla="*/ 1534 w 1534"/>
                      <a:gd name="T3" fmla="*/ 269 h 274"/>
                      <a:gd name="T4" fmla="*/ 1065 w 1534"/>
                      <a:gd name="T5" fmla="*/ 274 h 274"/>
                      <a:gd name="T6" fmla="*/ 0 w 1534"/>
                      <a:gd name="T7" fmla="*/ 100 h 274"/>
                      <a:gd name="T8" fmla="*/ 478 w 1534"/>
                      <a:gd name="T9" fmla="*/ 0 h 274"/>
                    </a:gdLst>
                    <a:ahLst/>
                    <a:cxnLst>
                      <a:cxn ang="0">
                        <a:pos x="T0" y="T1"/>
                      </a:cxn>
                      <a:cxn ang="0">
                        <a:pos x="T2" y="T3"/>
                      </a:cxn>
                      <a:cxn ang="0">
                        <a:pos x="T4" y="T5"/>
                      </a:cxn>
                      <a:cxn ang="0">
                        <a:pos x="T6" y="T7"/>
                      </a:cxn>
                      <a:cxn ang="0">
                        <a:pos x="T8" y="T9"/>
                      </a:cxn>
                    </a:cxnLst>
                    <a:rect l="0" t="0" r="r" b="b"/>
                    <a:pathLst>
                      <a:path w="1534" h="274">
                        <a:moveTo>
                          <a:pt x="478" y="0"/>
                        </a:moveTo>
                        <a:lnTo>
                          <a:pt x="1534" y="269"/>
                        </a:lnTo>
                        <a:lnTo>
                          <a:pt x="1065" y="274"/>
                        </a:lnTo>
                        <a:lnTo>
                          <a:pt x="0" y="100"/>
                        </a:lnTo>
                        <a:lnTo>
                          <a:pt x="478" y="0"/>
                        </a:lnTo>
                        <a:close/>
                      </a:path>
                    </a:pathLst>
                  </a:custGeom>
                  <a:solidFill>
                    <a:srgbClr val="A7CCD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8" name="Freeform 20"/>
                  <p:cNvSpPr>
                    <a:spLocks/>
                  </p:cNvSpPr>
                  <p:nvPr/>
                </p:nvSpPr>
                <p:spPr bwMode="auto">
                  <a:xfrm>
                    <a:off x="7245351" y="2228850"/>
                    <a:ext cx="758825" cy="904875"/>
                  </a:xfrm>
                  <a:custGeom>
                    <a:avLst/>
                    <a:gdLst>
                      <a:gd name="T0" fmla="*/ 478 w 478"/>
                      <a:gd name="T1" fmla="*/ 0 h 570"/>
                      <a:gd name="T2" fmla="*/ 478 w 478"/>
                      <a:gd name="T3" fmla="*/ 470 h 570"/>
                      <a:gd name="T4" fmla="*/ 0 w 478"/>
                      <a:gd name="T5" fmla="*/ 570 h 570"/>
                      <a:gd name="T6" fmla="*/ 0 w 478"/>
                      <a:gd name="T7" fmla="*/ 129 h 570"/>
                      <a:gd name="T8" fmla="*/ 478 w 478"/>
                      <a:gd name="T9" fmla="*/ 0 h 570"/>
                    </a:gdLst>
                    <a:ahLst/>
                    <a:cxnLst>
                      <a:cxn ang="0">
                        <a:pos x="T0" y="T1"/>
                      </a:cxn>
                      <a:cxn ang="0">
                        <a:pos x="T2" y="T3"/>
                      </a:cxn>
                      <a:cxn ang="0">
                        <a:pos x="T4" y="T5"/>
                      </a:cxn>
                      <a:cxn ang="0">
                        <a:pos x="T6" y="T7"/>
                      </a:cxn>
                      <a:cxn ang="0">
                        <a:pos x="T8" y="T9"/>
                      </a:cxn>
                    </a:cxnLst>
                    <a:rect l="0" t="0" r="r" b="b"/>
                    <a:pathLst>
                      <a:path w="478" h="570">
                        <a:moveTo>
                          <a:pt x="478" y="0"/>
                        </a:moveTo>
                        <a:lnTo>
                          <a:pt x="478" y="470"/>
                        </a:lnTo>
                        <a:lnTo>
                          <a:pt x="0" y="570"/>
                        </a:lnTo>
                        <a:lnTo>
                          <a:pt x="0" y="129"/>
                        </a:lnTo>
                        <a:lnTo>
                          <a:pt x="478" y="0"/>
                        </a:lnTo>
                        <a:close/>
                      </a:path>
                    </a:pathLst>
                  </a:custGeom>
                  <a:solidFill>
                    <a:srgbClr val="A7CCDF">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09" name="Freeform 21"/>
                  <p:cNvSpPr>
                    <a:spLocks/>
                  </p:cNvSpPr>
                  <p:nvPr/>
                </p:nvSpPr>
                <p:spPr bwMode="auto">
                  <a:xfrm>
                    <a:off x="8004176" y="2228850"/>
                    <a:ext cx="1676400" cy="1173163"/>
                  </a:xfrm>
                  <a:custGeom>
                    <a:avLst/>
                    <a:gdLst>
                      <a:gd name="T0" fmla="*/ 0 w 1056"/>
                      <a:gd name="T1" fmla="*/ 0 h 739"/>
                      <a:gd name="T2" fmla="*/ 1056 w 1056"/>
                      <a:gd name="T3" fmla="*/ 430 h 739"/>
                      <a:gd name="T4" fmla="*/ 1056 w 1056"/>
                      <a:gd name="T5" fmla="*/ 739 h 739"/>
                      <a:gd name="T6" fmla="*/ 0 w 1056"/>
                      <a:gd name="T7" fmla="*/ 470 h 739"/>
                      <a:gd name="T8" fmla="*/ 0 w 1056"/>
                      <a:gd name="T9" fmla="*/ 0 h 739"/>
                    </a:gdLst>
                    <a:ahLst/>
                    <a:cxnLst>
                      <a:cxn ang="0">
                        <a:pos x="T0" y="T1"/>
                      </a:cxn>
                      <a:cxn ang="0">
                        <a:pos x="T2" y="T3"/>
                      </a:cxn>
                      <a:cxn ang="0">
                        <a:pos x="T4" y="T5"/>
                      </a:cxn>
                      <a:cxn ang="0">
                        <a:pos x="T6" y="T7"/>
                      </a:cxn>
                      <a:cxn ang="0">
                        <a:pos x="T8" y="T9"/>
                      </a:cxn>
                    </a:cxnLst>
                    <a:rect l="0" t="0" r="r" b="b"/>
                    <a:pathLst>
                      <a:path w="1056" h="739">
                        <a:moveTo>
                          <a:pt x="0" y="0"/>
                        </a:moveTo>
                        <a:lnTo>
                          <a:pt x="1056" y="430"/>
                        </a:lnTo>
                        <a:lnTo>
                          <a:pt x="1056" y="739"/>
                        </a:lnTo>
                        <a:lnTo>
                          <a:pt x="0" y="470"/>
                        </a:lnTo>
                        <a:lnTo>
                          <a:pt x="0" y="0"/>
                        </a:lnTo>
                        <a:close/>
                      </a:path>
                    </a:pathLst>
                  </a:custGeom>
                  <a:solidFill>
                    <a:srgbClr val="A7CCD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10" name="Freeform 22"/>
                  <p:cNvSpPr>
                    <a:spLocks/>
                  </p:cNvSpPr>
                  <p:nvPr/>
                </p:nvSpPr>
                <p:spPr bwMode="auto">
                  <a:xfrm>
                    <a:off x="7245351" y="3081338"/>
                    <a:ext cx="758825" cy="1022350"/>
                  </a:xfrm>
                  <a:custGeom>
                    <a:avLst/>
                    <a:gdLst>
                      <a:gd name="T0" fmla="*/ 478 w 478"/>
                      <a:gd name="T1" fmla="*/ 0 h 644"/>
                      <a:gd name="T2" fmla="*/ 478 w 478"/>
                      <a:gd name="T3" fmla="*/ 634 h 644"/>
                      <a:gd name="T4" fmla="*/ 0 w 478"/>
                      <a:gd name="T5" fmla="*/ 644 h 644"/>
                      <a:gd name="T6" fmla="*/ 0 w 478"/>
                      <a:gd name="T7" fmla="*/ 70 h 644"/>
                      <a:gd name="T8" fmla="*/ 478 w 478"/>
                      <a:gd name="T9" fmla="*/ 0 h 644"/>
                    </a:gdLst>
                    <a:ahLst/>
                    <a:cxnLst>
                      <a:cxn ang="0">
                        <a:pos x="T0" y="T1"/>
                      </a:cxn>
                      <a:cxn ang="0">
                        <a:pos x="T2" y="T3"/>
                      </a:cxn>
                      <a:cxn ang="0">
                        <a:pos x="T4" y="T5"/>
                      </a:cxn>
                      <a:cxn ang="0">
                        <a:pos x="T6" y="T7"/>
                      </a:cxn>
                      <a:cxn ang="0">
                        <a:pos x="T8" y="T9"/>
                      </a:cxn>
                    </a:cxnLst>
                    <a:rect l="0" t="0" r="r" b="b"/>
                    <a:pathLst>
                      <a:path w="478" h="644">
                        <a:moveTo>
                          <a:pt x="478" y="0"/>
                        </a:moveTo>
                        <a:lnTo>
                          <a:pt x="478" y="634"/>
                        </a:lnTo>
                        <a:lnTo>
                          <a:pt x="0" y="644"/>
                        </a:lnTo>
                        <a:lnTo>
                          <a:pt x="0" y="70"/>
                        </a:lnTo>
                        <a:lnTo>
                          <a:pt x="478" y="0"/>
                        </a:lnTo>
                        <a:close/>
                      </a:path>
                    </a:pathLst>
                  </a:custGeom>
                  <a:solidFill>
                    <a:srgbClr val="019ADD">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11" name="Freeform 23"/>
                  <p:cNvSpPr>
                    <a:spLocks/>
                  </p:cNvSpPr>
                  <p:nvPr/>
                </p:nvSpPr>
                <p:spPr bwMode="auto">
                  <a:xfrm>
                    <a:off x="8004176" y="3081338"/>
                    <a:ext cx="1676400" cy="1071563"/>
                  </a:xfrm>
                  <a:custGeom>
                    <a:avLst/>
                    <a:gdLst>
                      <a:gd name="T0" fmla="*/ 0 w 1056"/>
                      <a:gd name="T1" fmla="*/ 0 h 675"/>
                      <a:gd name="T2" fmla="*/ 1056 w 1056"/>
                      <a:gd name="T3" fmla="*/ 235 h 675"/>
                      <a:gd name="T4" fmla="*/ 1056 w 1056"/>
                      <a:gd name="T5" fmla="*/ 675 h 675"/>
                      <a:gd name="T6" fmla="*/ 0 w 1056"/>
                      <a:gd name="T7" fmla="*/ 634 h 675"/>
                      <a:gd name="T8" fmla="*/ 0 w 1056"/>
                      <a:gd name="T9" fmla="*/ 0 h 675"/>
                    </a:gdLst>
                    <a:ahLst/>
                    <a:cxnLst>
                      <a:cxn ang="0">
                        <a:pos x="T0" y="T1"/>
                      </a:cxn>
                      <a:cxn ang="0">
                        <a:pos x="T2" y="T3"/>
                      </a:cxn>
                      <a:cxn ang="0">
                        <a:pos x="T4" y="T5"/>
                      </a:cxn>
                      <a:cxn ang="0">
                        <a:pos x="T6" y="T7"/>
                      </a:cxn>
                      <a:cxn ang="0">
                        <a:pos x="T8" y="T9"/>
                      </a:cxn>
                    </a:cxnLst>
                    <a:rect l="0" t="0" r="r" b="b"/>
                    <a:pathLst>
                      <a:path w="1056" h="675">
                        <a:moveTo>
                          <a:pt x="0" y="0"/>
                        </a:moveTo>
                        <a:lnTo>
                          <a:pt x="1056" y="235"/>
                        </a:lnTo>
                        <a:lnTo>
                          <a:pt x="1056" y="675"/>
                        </a:lnTo>
                        <a:lnTo>
                          <a:pt x="0" y="634"/>
                        </a:lnTo>
                        <a:lnTo>
                          <a:pt x="0" y="0"/>
                        </a:lnTo>
                        <a:close/>
                      </a:path>
                    </a:pathLst>
                  </a:custGeom>
                  <a:solidFill>
                    <a:srgbClr val="019AD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12" name="Freeform 24"/>
                  <p:cNvSpPr>
                    <a:spLocks/>
                  </p:cNvSpPr>
                  <p:nvPr/>
                </p:nvSpPr>
                <p:spPr bwMode="auto">
                  <a:xfrm>
                    <a:off x="7245351" y="4070350"/>
                    <a:ext cx="2435225" cy="82550"/>
                  </a:xfrm>
                  <a:custGeom>
                    <a:avLst/>
                    <a:gdLst>
                      <a:gd name="T0" fmla="*/ 478 w 1534"/>
                      <a:gd name="T1" fmla="*/ 0 h 52"/>
                      <a:gd name="T2" fmla="*/ 1534 w 1534"/>
                      <a:gd name="T3" fmla="*/ 52 h 52"/>
                      <a:gd name="T4" fmla="*/ 1228 w 1534"/>
                      <a:gd name="T5" fmla="*/ 52 h 52"/>
                      <a:gd name="T6" fmla="*/ 0 w 1534"/>
                      <a:gd name="T7" fmla="*/ 21 h 52"/>
                      <a:gd name="T8" fmla="*/ 478 w 1534"/>
                      <a:gd name="T9" fmla="*/ 0 h 52"/>
                    </a:gdLst>
                    <a:ahLst/>
                    <a:cxnLst>
                      <a:cxn ang="0">
                        <a:pos x="T0" y="T1"/>
                      </a:cxn>
                      <a:cxn ang="0">
                        <a:pos x="T2" y="T3"/>
                      </a:cxn>
                      <a:cxn ang="0">
                        <a:pos x="T4" y="T5"/>
                      </a:cxn>
                      <a:cxn ang="0">
                        <a:pos x="T6" y="T7"/>
                      </a:cxn>
                      <a:cxn ang="0">
                        <a:pos x="T8" y="T9"/>
                      </a:cxn>
                    </a:cxnLst>
                    <a:rect l="0" t="0" r="r" b="b"/>
                    <a:pathLst>
                      <a:path w="1534" h="52">
                        <a:moveTo>
                          <a:pt x="478" y="0"/>
                        </a:moveTo>
                        <a:lnTo>
                          <a:pt x="1534" y="52"/>
                        </a:lnTo>
                        <a:lnTo>
                          <a:pt x="1228" y="52"/>
                        </a:lnTo>
                        <a:lnTo>
                          <a:pt x="0" y="21"/>
                        </a:lnTo>
                        <a:lnTo>
                          <a:pt x="478" y="0"/>
                        </a:lnTo>
                        <a:close/>
                      </a:path>
                    </a:pathLst>
                  </a:custGeom>
                  <a:solidFill>
                    <a:srgbClr val="019ADD">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nvGrpSpPr>
                  <p:cNvPr id="213" name="Group 212"/>
                  <p:cNvGrpSpPr/>
                  <p:nvPr/>
                </p:nvGrpSpPr>
                <p:grpSpPr>
                  <a:xfrm>
                    <a:off x="7389812" y="5405438"/>
                    <a:ext cx="368300" cy="523875"/>
                    <a:chOff x="2132013" y="5405438"/>
                    <a:chExt cx="368300" cy="523875"/>
                  </a:xfrm>
                </p:grpSpPr>
                <p:sp>
                  <p:nvSpPr>
                    <p:cNvPr id="235" name="Freeform 27"/>
                    <p:cNvSpPr>
                      <a:spLocks noEditPoints="1"/>
                    </p:cNvSpPr>
                    <p:nvPr/>
                  </p:nvSpPr>
                  <p:spPr bwMode="auto">
                    <a:xfrm>
                      <a:off x="2132013" y="5405438"/>
                      <a:ext cx="368300" cy="523875"/>
                    </a:xfrm>
                    <a:custGeom>
                      <a:avLst/>
                      <a:gdLst>
                        <a:gd name="T0" fmla="*/ 134 w 232"/>
                        <a:gd name="T1" fmla="*/ 22 h 330"/>
                        <a:gd name="T2" fmla="*/ 103 w 232"/>
                        <a:gd name="T3" fmla="*/ 47 h 330"/>
                        <a:gd name="T4" fmla="*/ 85 w 232"/>
                        <a:gd name="T5" fmla="*/ 92 h 330"/>
                        <a:gd name="T6" fmla="*/ 85 w 232"/>
                        <a:gd name="T7" fmla="*/ 141 h 330"/>
                        <a:gd name="T8" fmla="*/ 103 w 232"/>
                        <a:gd name="T9" fmla="*/ 184 h 330"/>
                        <a:gd name="T10" fmla="*/ 134 w 232"/>
                        <a:gd name="T11" fmla="*/ 210 h 330"/>
                        <a:gd name="T12" fmla="*/ 168 w 232"/>
                        <a:gd name="T13" fmla="*/ 210 h 330"/>
                        <a:gd name="T14" fmla="*/ 198 w 232"/>
                        <a:gd name="T15" fmla="*/ 184 h 330"/>
                        <a:gd name="T16" fmla="*/ 216 w 232"/>
                        <a:gd name="T17" fmla="*/ 141 h 330"/>
                        <a:gd name="T18" fmla="*/ 216 w 232"/>
                        <a:gd name="T19" fmla="*/ 92 h 330"/>
                        <a:gd name="T20" fmla="*/ 198 w 232"/>
                        <a:gd name="T21" fmla="*/ 47 h 330"/>
                        <a:gd name="T22" fmla="*/ 168 w 232"/>
                        <a:gd name="T23" fmla="*/ 22 h 330"/>
                        <a:gd name="T24" fmla="*/ 150 w 232"/>
                        <a:gd name="T25" fmla="*/ 0 h 330"/>
                        <a:gd name="T26" fmla="*/ 191 w 232"/>
                        <a:gd name="T27" fmla="*/ 15 h 330"/>
                        <a:gd name="T28" fmla="*/ 222 w 232"/>
                        <a:gd name="T29" fmla="*/ 58 h 330"/>
                        <a:gd name="T30" fmla="*/ 232 w 232"/>
                        <a:gd name="T31" fmla="*/ 116 h 330"/>
                        <a:gd name="T32" fmla="*/ 222 w 232"/>
                        <a:gd name="T33" fmla="*/ 174 h 330"/>
                        <a:gd name="T34" fmla="*/ 192 w 232"/>
                        <a:gd name="T35" fmla="*/ 215 h 330"/>
                        <a:gd name="T36" fmla="*/ 156 w 232"/>
                        <a:gd name="T37" fmla="*/ 232 h 330"/>
                        <a:gd name="T38" fmla="*/ 119 w 232"/>
                        <a:gd name="T39" fmla="*/ 223 h 330"/>
                        <a:gd name="T40" fmla="*/ 86 w 232"/>
                        <a:gd name="T41" fmla="*/ 232 h 330"/>
                        <a:gd name="T42" fmla="*/ 85 w 232"/>
                        <a:gd name="T43" fmla="*/ 244 h 330"/>
                        <a:gd name="T44" fmla="*/ 80 w 232"/>
                        <a:gd name="T45" fmla="*/ 254 h 330"/>
                        <a:gd name="T46" fmla="*/ 24 w 232"/>
                        <a:gd name="T47" fmla="*/ 330 h 330"/>
                        <a:gd name="T48" fmla="*/ 6 w 232"/>
                        <a:gd name="T49" fmla="*/ 323 h 330"/>
                        <a:gd name="T50" fmla="*/ 0 w 232"/>
                        <a:gd name="T51" fmla="*/ 297 h 330"/>
                        <a:gd name="T52" fmla="*/ 54 w 232"/>
                        <a:gd name="T53" fmla="*/ 215 h 330"/>
                        <a:gd name="T54" fmla="*/ 61 w 232"/>
                        <a:gd name="T55" fmla="*/ 210 h 330"/>
                        <a:gd name="T56" fmla="*/ 70 w 232"/>
                        <a:gd name="T57" fmla="*/ 208 h 330"/>
                        <a:gd name="T58" fmla="*/ 76 w 232"/>
                        <a:gd name="T59" fmla="*/ 162 h 330"/>
                        <a:gd name="T60" fmla="*/ 70 w 232"/>
                        <a:gd name="T61" fmla="*/ 108 h 330"/>
                        <a:gd name="T62" fmla="*/ 80 w 232"/>
                        <a:gd name="T63" fmla="*/ 56 h 330"/>
                        <a:gd name="T64" fmla="*/ 110 w 232"/>
                        <a:gd name="T65" fmla="*/ 15 h 330"/>
                        <a:gd name="T66" fmla="*/ 150 w 232"/>
                        <a:gd name="T6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330">
                          <a:moveTo>
                            <a:pt x="150" y="19"/>
                          </a:moveTo>
                          <a:lnTo>
                            <a:pt x="134" y="22"/>
                          </a:lnTo>
                          <a:lnTo>
                            <a:pt x="118" y="31"/>
                          </a:lnTo>
                          <a:lnTo>
                            <a:pt x="103" y="47"/>
                          </a:lnTo>
                          <a:lnTo>
                            <a:pt x="91" y="68"/>
                          </a:lnTo>
                          <a:lnTo>
                            <a:pt x="85" y="92"/>
                          </a:lnTo>
                          <a:lnTo>
                            <a:pt x="83" y="116"/>
                          </a:lnTo>
                          <a:lnTo>
                            <a:pt x="85" y="141"/>
                          </a:lnTo>
                          <a:lnTo>
                            <a:pt x="91" y="163"/>
                          </a:lnTo>
                          <a:lnTo>
                            <a:pt x="103" y="184"/>
                          </a:lnTo>
                          <a:lnTo>
                            <a:pt x="118" y="201"/>
                          </a:lnTo>
                          <a:lnTo>
                            <a:pt x="134" y="210"/>
                          </a:lnTo>
                          <a:lnTo>
                            <a:pt x="150" y="212"/>
                          </a:lnTo>
                          <a:lnTo>
                            <a:pt x="168" y="210"/>
                          </a:lnTo>
                          <a:lnTo>
                            <a:pt x="185" y="201"/>
                          </a:lnTo>
                          <a:lnTo>
                            <a:pt x="198" y="184"/>
                          </a:lnTo>
                          <a:lnTo>
                            <a:pt x="210" y="163"/>
                          </a:lnTo>
                          <a:lnTo>
                            <a:pt x="216" y="141"/>
                          </a:lnTo>
                          <a:lnTo>
                            <a:pt x="219" y="116"/>
                          </a:lnTo>
                          <a:lnTo>
                            <a:pt x="216" y="92"/>
                          </a:lnTo>
                          <a:lnTo>
                            <a:pt x="210" y="68"/>
                          </a:lnTo>
                          <a:lnTo>
                            <a:pt x="198" y="47"/>
                          </a:lnTo>
                          <a:lnTo>
                            <a:pt x="185" y="31"/>
                          </a:lnTo>
                          <a:lnTo>
                            <a:pt x="168" y="22"/>
                          </a:lnTo>
                          <a:lnTo>
                            <a:pt x="150" y="19"/>
                          </a:lnTo>
                          <a:close/>
                          <a:moveTo>
                            <a:pt x="150" y="0"/>
                          </a:moveTo>
                          <a:lnTo>
                            <a:pt x="171" y="3"/>
                          </a:lnTo>
                          <a:lnTo>
                            <a:pt x="191" y="15"/>
                          </a:lnTo>
                          <a:lnTo>
                            <a:pt x="208" y="34"/>
                          </a:lnTo>
                          <a:lnTo>
                            <a:pt x="222" y="58"/>
                          </a:lnTo>
                          <a:lnTo>
                            <a:pt x="229" y="86"/>
                          </a:lnTo>
                          <a:lnTo>
                            <a:pt x="232" y="116"/>
                          </a:lnTo>
                          <a:lnTo>
                            <a:pt x="229" y="146"/>
                          </a:lnTo>
                          <a:lnTo>
                            <a:pt x="222" y="174"/>
                          </a:lnTo>
                          <a:lnTo>
                            <a:pt x="208" y="198"/>
                          </a:lnTo>
                          <a:lnTo>
                            <a:pt x="192" y="215"/>
                          </a:lnTo>
                          <a:lnTo>
                            <a:pt x="174" y="227"/>
                          </a:lnTo>
                          <a:lnTo>
                            <a:pt x="156" y="232"/>
                          </a:lnTo>
                          <a:lnTo>
                            <a:pt x="137" y="230"/>
                          </a:lnTo>
                          <a:lnTo>
                            <a:pt x="119" y="223"/>
                          </a:lnTo>
                          <a:lnTo>
                            <a:pt x="101" y="210"/>
                          </a:lnTo>
                          <a:lnTo>
                            <a:pt x="86" y="232"/>
                          </a:lnTo>
                          <a:lnTo>
                            <a:pt x="86" y="238"/>
                          </a:lnTo>
                          <a:lnTo>
                            <a:pt x="85" y="244"/>
                          </a:lnTo>
                          <a:lnTo>
                            <a:pt x="83" y="250"/>
                          </a:lnTo>
                          <a:lnTo>
                            <a:pt x="80" y="254"/>
                          </a:lnTo>
                          <a:lnTo>
                            <a:pt x="33" y="323"/>
                          </a:lnTo>
                          <a:lnTo>
                            <a:pt x="24" y="330"/>
                          </a:lnTo>
                          <a:lnTo>
                            <a:pt x="15" y="330"/>
                          </a:lnTo>
                          <a:lnTo>
                            <a:pt x="6" y="323"/>
                          </a:lnTo>
                          <a:lnTo>
                            <a:pt x="0" y="311"/>
                          </a:lnTo>
                          <a:lnTo>
                            <a:pt x="0" y="297"/>
                          </a:lnTo>
                          <a:lnTo>
                            <a:pt x="6" y="284"/>
                          </a:lnTo>
                          <a:lnTo>
                            <a:pt x="54" y="215"/>
                          </a:lnTo>
                          <a:lnTo>
                            <a:pt x="57" y="211"/>
                          </a:lnTo>
                          <a:lnTo>
                            <a:pt x="61" y="210"/>
                          </a:lnTo>
                          <a:lnTo>
                            <a:pt x="66" y="208"/>
                          </a:lnTo>
                          <a:lnTo>
                            <a:pt x="70" y="208"/>
                          </a:lnTo>
                          <a:lnTo>
                            <a:pt x="85" y="186"/>
                          </a:lnTo>
                          <a:lnTo>
                            <a:pt x="76" y="162"/>
                          </a:lnTo>
                          <a:lnTo>
                            <a:pt x="70" y="135"/>
                          </a:lnTo>
                          <a:lnTo>
                            <a:pt x="70" y="108"/>
                          </a:lnTo>
                          <a:lnTo>
                            <a:pt x="73" y="82"/>
                          </a:lnTo>
                          <a:lnTo>
                            <a:pt x="80" y="56"/>
                          </a:lnTo>
                          <a:lnTo>
                            <a:pt x="92" y="34"/>
                          </a:lnTo>
                          <a:lnTo>
                            <a:pt x="110" y="15"/>
                          </a:lnTo>
                          <a:lnTo>
                            <a:pt x="130" y="3"/>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6" name="Freeform 28"/>
                    <p:cNvSpPr>
                      <a:spLocks/>
                    </p:cNvSpPr>
                    <p:nvPr/>
                  </p:nvSpPr>
                  <p:spPr bwMode="auto">
                    <a:xfrm>
                      <a:off x="2425701" y="5545138"/>
                      <a:ext cx="31750" cy="131763"/>
                    </a:xfrm>
                    <a:custGeom>
                      <a:avLst/>
                      <a:gdLst>
                        <a:gd name="T0" fmla="*/ 15 w 20"/>
                        <a:gd name="T1" fmla="*/ 0 h 83"/>
                        <a:gd name="T2" fmla="*/ 16 w 20"/>
                        <a:gd name="T3" fmla="*/ 1 h 83"/>
                        <a:gd name="T4" fmla="*/ 18 w 20"/>
                        <a:gd name="T5" fmla="*/ 3 h 83"/>
                        <a:gd name="T6" fmla="*/ 19 w 20"/>
                        <a:gd name="T7" fmla="*/ 13 h 83"/>
                        <a:gd name="T8" fmla="*/ 20 w 20"/>
                        <a:gd name="T9" fmla="*/ 28 h 83"/>
                        <a:gd name="T10" fmla="*/ 20 w 20"/>
                        <a:gd name="T11" fmla="*/ 46 h 83"/>
                        <a:gd name="T12" fmla="*/ 16 w 20"/>
                        <a:gd name="T13" fmla="*/ 64 h 83"/>
                        <a:gd name="T14" fmla="*/ 9 w 20"/>
                        <a:gd name="T15" fmla="*/ 83 h 83"/>
                        <a:gd name="T16" fmla="*/ 7 w 20"/>
                        <a:gd name="T17" fmla="*/ 83 h 83"/>
                        <a:gd name="T18" fmla="*/ 6 w 20"/>
                        <a:gd name="T19" fmla="*/ 83 h 83"/>
                        <a:gd name="T20" fmla="*/ 4 w 20"/>
                        <a:gd name="T21" fmla="*/ 83 h 83"/>
                        <a:gd name="T22" fmla="*/ 1 w 20"/>
                        <a:gd name="T23" fmla="*/ 78 h 83"/>
                        <a:gd name="T24" fmla="*/ 0 w 20"/>
                        <a:gd name="T25" fmla="*/ 77 h 83"/>
                        <a:gd name="T26" fmla="*/ 0 w 20"/>
                        <a:gd name="T27" fmla="*/ 74 h 83"/>
                        <a:gd name="T28" fmla="*/ 1 w 20"/>
                        <a:gd name="T29" fmla="*/ 72 h 83"/>
                        <a:gd name="T30" fmla="*/ 9 w 20"/>
                        <a:gd name="T31" fmla="*/ 55 h 83"/>
                        <a:gd name="T32" fmla="*/ 10 w 20"/>
                        <a:gd name="T33" fmla="*/ 35 h 83"/>
                        <a:gd name="T34" fmla="*/ 10 w 20"/>
                        <a:gd name="T35" fmla="*/ 19 h 83"/>
                        <a:gd name="T36" fmla="*/ 7 w 20"/>
                        <a:gd name="T37" fmla="*/ 8 h 83"/>
                        <a:gd name="T38" fmla="*/ 7 w 20"/>
                        <a:gd name="T39" fmla="*/ 5 h 83"/>
                        <a:gd name="T40" fmla="*/ 9 w 20"/>
                        <a:gd name="T41" fmla="*/ 3 h 83"/>
                        <a:gd name="T42" fmla="*/ 10 w 20"/>
                        <a:gd name="T43" fmla="*/ 1 h 83"/>
                        <a:gd name="T44" fmla="*/ 13 w 20"/>
                        <a:gd name="T45" fmla="*/ 0 h 83"/>
                        <a:gd name="T46" fmla="*/ 15 w 20"/>
                        <a:gd name="T4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83">
                          <a:moveTo>
                            <a:pt x="15" y="0"/>
                          </a:moveTo>
                          <a:lnTo>
                            <a:pt x="16" y="1"/>
                          </a:lnTo>
                          <a:lnTo>
                            <a:pt x="18" y="3"/>
                          </a:lnTo>
                          <a:lnTo>
                            <a:pt x="19" y="13"/>
                          </a:lnTo>
                          <a:lnTo>
                            <a:pt x="20" y="28"/>
                          </a:lnTo>
                          <a:lnTo>
                            <a:pt x="20" y="46"/>
                          </a:lnTo>
                          <a:lnTo>
                            <a:pt x="16" y="64"/>
                          </a:lnTo>
                          <a:lnTo>
                            <a:pt x="9" y="83"/>
                          </a:lnTo>
                          <a:lnTo>
                            <a:pt x="7" y="83"/>
                          </a:lnTo>
                          <a:lnTo>
                            <a:pt x="6" y="83"/>
                          </a:lnTo>
                          <a:lnTo>
                            <a:pt x="4" y="83"/>
                          </a:lnTo>
                          <a:lnTo>
                            <a:pt x="1" y="78"/>
                          </a:lnTo>
                          <a:lnTo>
                            <a:pt x="0" y="77"/>
                          </a:lnTo>
                          <a:lnTo>
                            <a:pt x="0" y="74"/>
                          </a:lnTo>
                          <a:lnTo>
                            <a:pt x="1" y="72"/>
                          </a:lnTo>
                          <a:lnTo>
                            <a:pt x="9" y="55"/>
                          </a:lnTo>
                          <a:lnTo>
                            <a:pt x="10" y="35"/>
                          </a:lnTo>
                          <a:lnTo>
                            <a:pt x="10" y="19"/>
                          </a:lnTo>
                          <a:lnTo>
                            <a:pt x="7" y="8"/>
                          </a:lnTo>
                          <a:lnTo>
                            <a:pt x="7" y="5"/>
                          </a:lnTo>
                          <a:lnTo>
                            <a:pt x="9" y="3"/>
                          </a:lnTo>
                          <a:lnTo>
                            <a:pt x="10" y="1"/>
                          </a:lnTo>
                          <a:lnTo>
                            <a:pt x="13" y="0"/>
                          </a:lnTo>
                          <a:lnTo>
                            <a:pt x="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grpSp>
                <p:nvGrpSpPr>
                  <p:cNvPr id="214" name="Group 213"/>
                  <p:cNvGrpSpPr/>
                  <p:nvPr/>
                </p:nvGrpSpPr>
                <p:grpSpPr>
                  <a:xfrm>
                    <a:off x="7439025" y="4387850"/>
                    <a:ext cx="323850" cy="496888"/>
                    <a:chOff x="2181226" y="4387850"/>
                    <a:chExt cx="323850" cy="496888"/>
                  </a:xfrm>
                </p:grpSpPr>
                <p:sp>
                  <p:nvSpPr>
                    <p:cNvPr id="229" name="Freeform 29"/>
                    <p:cNvSpPr>
                      <a:spLocks/>
                    </p:cNvSpPr>
                    <p:nvPr/>
                  </p:nvSpPr>
                  <p:spPr bwMode="auto">
                    <a:xfrm>
                      <a:off x="2401888" y="4462463"/>
                      <a:ext cx="20638" cy="231775"/>
                    </a:xfrm>
                    <a:custGeom>
                      <a:avLst/>
                      <a:gdLst>
                        <a:gd name="T0" fmla="*/ 6 w 13"/>
                        <a:gd name="T1" fmla="*/ 0 h 146"/>
                        <a:gd name="T2" fmla="*/ 9 w 13"/>
                        <a:gd name="T3" fmla="*/ 0 h 146"/>
                        <a:gd name="T4" fmla="*/ 12 w 13"/>
                        <a:gd name="T5" fmla="*/ 3 h 146"/>
                        <a:gd name="T6" fmla="*/ 13 w 13"/>
                        <a:gd name="T7" fmla="*/ 6 h 146"/>
                        <a:gd name="T8" fmla="*/ 13 w 13"/>
                        <a:gd name="T9" fmla="*/ 11 h 146"/>
                        <a:gd name="T10" fmla="*/ 13 w 13"/>
                        <a:gd name="T11" fmla="*/ 136 h 146"/>
                        <a:gd name="T12" fmla="*/ 13 w 13"/>
                        <a:gd name="T13" fmla="*/ 140 h 146"/>
                        <a:gd name="T14" fmla="*/ 12 w 13"/>
                        <a:gd name="T15" fmla="*/ 143 h 146"/>
                        <a:gd name="T16" fmla="*/ 9 w 13"/>
                        <a:gd name="T17" fmla="*/ 146 h 146"/>
                        <a:gd name="T18" fmla="*/ 6 w 13"/>
                        <a:gd name="T19" fmla="*/ 146 h 146"/>
                        <a:gd name="T20" fmla="*/ 4 w 13"/>
                        <a:gd name="T21" fmla="*/ 146 h 146"/>
                        <a:gd name="T22" fmla="*/ 1 w 13"/>
                        <a:gd name="T23" fmla="*/ 143 h 146"/>
                        <a:gd name="T24" fmla="*/ 0 w 13"/>
                        <a:gd name="T25" fmla="*/ 140 h 146"/>
                        <a:gd name="T26" fmla="*/ 0 w 13"/>
                        <a:gd name="T27" fmla="*/ 136 h 146"/>
                        <a:gd name="T28" fmla="*/ 0 w 13"/>
                        <a:gd name="T29" fmla="*/ 11 h 146"/>
                        <a:gd name="T30" fmla="*/ 0 w 13"/>
                        <a:gd name="T31" fmla="*/ 6 h 146"/>
                        <a:gd name="T32" fmla="*/ 1 w 13"/>
                        <a:gd name="T33" fmla="*/ 3 h 146"/>
                        <a:gd name="T34" fmla="*/ 4 w 13"/>
                        <a:gd name="T35" fmla="*/ 0 h 146"/>
                        <a:gd name="T36" fmla="*/ 6 w 13"/>
                        <a:gd name="T3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46">
                          <a:moveTo>
                            <a:pt x="6" y="0"/>
                          </a:moveTo>
                          <a:lnTo>
                            <a:pt x="9" y="0"/>
                          </a:lnTo>
                          <a:lnTo>
                            <a:pt x="12" y="3"/>
                          </a:lnTo>
                          <a:lnTo>
                            <a:pt x="13" y="6"/>
                          </a:lnTo>
                          <a:lnTo>
                            <a:pt x="13" y="11"/>
                          </a:lnTo>
                          <a:lnTo>
                            <a:pt x="13" y="136"/>
                          </a:lnTo>
                          <a:lnTo>
                            <a:pt x="13" y="140"/>
                          </a:lnTo>
                          <a:lnTo>
                            <a:pt x="12" y="143"/>
                          </a:lnTo>
                          <a:lnTo>
                            <a:pt x="9" y="146"/>
                          </a:lnTo>
                          <a:lnTo>
                            <a:pt x="6" y="146"/>
                          </a:lnTo>
                          <a:lnTo>
                            <a:pt x="4" y="146"/>
                          </a:lnTo>
                          <a:lnTo>
                            <a:pt x="1" y="143"/>
                          </a:lnTo>
                          <a:lnTo>
                            <a:pt x="0" y="140"/>
                          </a:lnTo>
                          <a:lnTo>
                            <a:pt x="0" y="136"/>
                          </a:lnTo>
                          <a:lnTo>
                            <a:pt x="0" y="11"/>
                          </a:lnTo>
                          <a:lnTo>
                            <a:pt x="0" y="6"/>
                          </a:lnTo>
                          <a:lnTo>
                            <a:pt x="1" y="3"/>
                          </a:lnTo>
                          <a:lnTo>
                            <a:pt x="4" y="0"/>
                          </a:lnTo>
                          <a:lnTo>
                            <a:pt x="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0" name="Freeform 30"/>
                    <p:cNvSpPr>
                      <a:spLocks/>
                    </p:cNvSpPr>
                    <p:nvPr/>
                  </p:nvSpPr>
                  <p:spPr bwMode="auto">
                    <a:xfrm>
                      <a:off x="2439988" y="4514850"/>
                      <a:ext cx="20638" cy="179388"/>
                    </a:xfrm>
                    <a:custGeom>
                      <a:avLst/>
                      <a:gdLst>
                        <a:gd name="T0" fmla="*/ 7 w 13"/>
                        <a:gd name="T1" fmla="*/ 0 h 113"/>
                        <a:gd name="T2" fmla="*/ 9 w 13"/>
                        <a:gd name="T3" fmla="*/ 0 h 113"/>
                        <a:gd name="T4" fmla="*/ 11 w 13"/>
                        <a:gd name="T5" fmla="*/ 3 h 113"/>
                        <a:gd name="T6" fmla="*/ 13 w 13"/>
                        <a:gd name="T7" fmla="*/ 6 h 113"/>
                        <a:gd name="T8" fmla="*/ 13 w 13"/>
                        <a:gd name="T9" fmla="*/ 10 h 113"/>
                        <a:gd name="T10" fmla="*/ 13 w 13"/>
                        <a:gd name="T11" fmla="*/ 103 h 113"/>
                        <a:gd name="T12" fmla="*/ 13 w 13"/>
                        <a:gd name="T13" fmla="*/ 107 h 113"/>
                        <a:gd name="T14" fmla="*/ 11 w 13"/>
                        <a:gd name="T15" fmla="*/ 110 h 113"/>
                        <a:gd name="T16" fmla="*/ 9 w 13"/>
                        <a:gd name="T17" fmla="*/ 113 h 113"/>
                        <a:gd name="T18" fmla="*/ 7 w 13"/>
                        <a:gd name="T19" fmla="*/ 113 h 113"/>
                        <a:gd name="T20" fmla="*/ 4 w 13"/>
                        <a:gd name="T21" fmla="*/ 113 h 113"/>
                        <a:gd name="T22" fmla="*/ 3 w 13"/>
                        <a:gd name="T23" fmla="*/ 110 h 113"/>
                        <a:gd name="T24" fmla="*/ 1 w 13"/>
                        <a:gd name="T25" fmla="*/ 107 h 113"/>
                        <a:gd name="T26" fmla="*/ 0 w 13"/>
                        <a:gd name="T27" fmla="*/ 103 h 113"/>
                        <a:gd name="T28" fmla="*/ 0 w 13"/>
                        <a:gd name="T29" fmla="*/ 10 h 113"/>
                        <a:gd name="T30" fmla="*/ 1 w 13"/>
                        <a:gd name="T31" fmla="*/ 6 h 113"/>
                        <a:gd name="T32" fmla="*/ 3 w 13"/>
                        <a:gd name="T33" fmla="*/ 3 h 113"/>
                        <a:gd name="T34" fmla="*/ 4 w 13"/>
                        <a:gd name="T35" fmla="*/ 0 h 113"/>
                        <a:gd name="T36" fmla="*/ 7 w 13"/>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13">
                          <a:moveTo>
                            <a:pt x="7" y="0"/>
                          </a:moveTo>
                          <a:lnTo>
                            <a:pt x="9" y="0"/>
                          </a:lnTo>
                          <a:lnTo>
                            <a:pt x="11" y="3"/>
                          </a:lnTo>
                          <a:lnTo>
                            <a:pt x="13" y="6"/>
                          </a:lnTo>
                          <a:lnTo>
                            <a:pt x="13" y="10"/>
                          </a:lnTo>
                          <a:lnTo>
                            <a:pt x="13" y="103"/>
                          </a:lnTo>
                          <a:lnTo>
                            <a:pt x="13" y="107"/>
                          </a:lnTo>
                          <a:lnTo>
                            <a:pt x="11" y="110"/>
                          </a:lnTo>
                          <a:lnTo>
                            <a:pt x="9" y="113"/>
                          </a:lnTo>
                          <a:lnTo>
                            <a:pt x="7" y="113"/>
                          </a:lnTo>
                          <a:lnTo>
                            <a:pt x="4" y="113"/>
                          </a:lnTo>
                          <a:lnTo>
                            <a:pt x="3" y="110"/>
                          </a:lnTo>
                          <a:lnTo>
                            <a:pt x="1" y="107"/>
                          </a:lnTo>
                          <a:lnTo>
                            <a:pt x="0" y="103"/>
                          </a:lnTo>
                          <a:lnTo>
                            <a:pt x="0" y="10"/>
                          </a:lnTo>
                          <a:lnTo>
                            <a:pt x="1" y="6"/>
                          </a:lnTo>
                          <a:lnTo>
                            <a:pt x="3" y="3"/>
                          </a:lnTo>
                          <a:lnTo>
                            <a:pt x="4" y="0"/>
                          </a:lnTo>
                          <a:lnTo>
                            <a:pt x="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1" name="Freeform 31"/>
                    <p:cNvSpPr>
                      <a:spLocks/>
                    </p:cNvSpPr>
                    <p:nvPr/>
                  </p:nvSpPr>
                  <p:spPr bwMode="auto">
                    <a:xfrm>
                      <a:off x="2232026" y="4519613"/>
                      <a:ext cx="98425" cy="160338"/>
                    </a:xfrm>
                    <a:custGeom>
                      <a:avLst/>
                      <a:gdLst>
                        <a:gd name="T0" fmla="*/ 31 w 62"/>
                        <a:gd name="T1" fmla="*/ 0 h 101"/>
                        <a:gd name="T2" fmla="*/ 43 w 62"/>
                        <a:gd name="T3" fmla="*/ 4 h 101"/>
                        <a:gd name="T4" fmla="*/ 53 w 62"/>
                        <a:gd name="T5" fmla="*/ 15 h 101"/>
                        <a:gd name="T6" fmla="*/ 59 w 62"/>
                        <a:gd name="T7" fmla="*/ 31 h 101"/>
                        <a:gd name="T8" fmla="*/ 62 w 62"/>
                        <a:gd name="T9" fmla="*/ 50 h 101"/>
                        <a:gd name="T10" fmla="*/ 59 w 62"/>
                        <a:gd name="T11" fmla="*/ 70 h 101"/>
                        <a:gd name="T12" fmla="*/ 53 w 62"/>
                        <a:gd name="T13" fmla="*/ 86 h 101"/>
                        <a:gd name="T14" fmla="*/ 43 w 62"/>
                        <a:gd name="T15" fmla="*/ 97 h 101"/>
                        <a:gd name="T16" fmla="*/ 31 w 62"/>
                        <a:gd name="T17" fmla="*/ 101 h 101"/>
                        <a:gd name="T18" fmla="*/ 19 w 62"/>
                        <a:gd name="T19" fmla="*/ 97 h 101"/>
                        <a:gd name="T20" fmla="*/ 8 w 62"/>
                        <a:gd name="T21" fmla="*/ 86 h 101"/>
                        <a:gd name="T22" fmla="*/ 3 w 62"/>
                        <a:gd name="T23" fmla="*/ 70 h 101"/>
                        <a:gd name="T24" fmla="*/ 0 w 62"/>
                        <a:gd name="T25" fmla="*/ 50 h 101"/>
                        <a:gd name="T26" fmla="*/ 3 w 62"/>
                        <a:gd name="T27" fmla="*/ 31 h 101"/>
                        <a:gd name="T28" fmla="*/ 8 w 62"/>
                        <a:gd name="T29" fmla="*/ 15 h 101"/>
                        <a:gd name="T30" fmla="*/ 19 w 62"/>
                        <a:gd name="T31" fmla="*/ 4 h 101"/>
                        <a:gd name="T32" fmla="*/ 31 w 62"/>
                        <a:gd name="T3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101">
                          <a:moveTo>
                            <a:pt x="31" y="0"/>
                          </a:moveTo>
                          <a:lnTo>
                            <a:pt x="43" y="4"/>
                          </a:lnTo>
                          <a:lnTo>
                            <a:pt x="53" y="15"/>
                          </a:lnTo>
                          <a:lnTo>
                            <a:pt x="59" y="31"/>
                          </a:lnTo>
                          <a:lnTo>
                            <a:pt x="62" y="50"/>
                          </a:lnTo>
                          <a:lnTo>
                            <a:pt x="59" y="70"/>
                          </a:lnTo>
                          <a:lnTo>
                            <a:pt x="53" y="86"/>
                          </a:lnTo>
                          <a:lnTo>
                            <a:pt x="43" y="97"/>
                          </a:lnTo>
                          <a:lnTo>
                            <a:pt x="31" y="101"/>
                          </a:lnTo>
                          <a:lnTo>
                            <a:pt x="19" y="97"/>
                          </a:lnTo>
                          <a:lnTo>
                            <a:pt x="8" y="86"/>
                          </a:lnTo>
                          <a:lnTo>
                            <a:pt x="3" y="70"/>
                          </a:lnTo>
                          <a:lnTo>
                            <a:pt x="0" y="50"/>
                          </a:lnTo>
                          <a:lnTo>
                            <a:pt x="3" y="31"/>
                          </a:lnTo>
                          <a:lnTo>
                            <a:pt x="8" y="15"/>
                          </a:lnTo>
                          <a:lnTo>
                            <a:pt x="19" y="4"/>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2" name="Freeform 32"/>
                    <p:cNvSpPr>
                      <a:spLocks/>
                    </p:cNvSpPr>
                    <p:nvPr/>
                  </p:nvSpPr>
                  <p:spPr bwMode="auto">
                    <a:xfrm>
                      <a:off x="2316163" y="4387850"/>
                      <a:ext cx="188913" cy="19050"/>
                    </a:xfrm>
                    <a:custGeom>
                      <a:avLst/>
                      <a:gdLst>
                        <a:gd name="T0" fmla="*/ 3 w 119"/>
                        <a:gd name="T1" fmla="*/ 0 h 12"/>
                        <a:gd name="T2" fmla="*/ 115 w 119"/>
                        <a:gd name="T3" fmla="*/ 0 h 12"/>
                        <a:gd name="T4" fmla="*/ 116 w 119"/>
                        <a:gd name="T5" fmla="*/ 1 h 12"/>
                        <a:gd name="T6" fmla="*/ 118 w 119"/>
                        <a:gd name="T7" fmla="*/ 3 h 12"/>
                        <a:gd name="T8" fmla="*/ 119 w 119"/>
                        <a:gd name="T9" fmla="*/ 6 h 12"/>
                        <a:gd name="T10" fmla="*/ 118 w 119"/>
                        <a:gd name="T11" fmla="*/ 9 h 12"/>
                        <a:gd name="T12" fmla="*/ 116 w 119"/>
                        <a:gd name="T13" fmla="*/ 12 h 12"/>
                        <a:gd name="T14" fmla="*/ 115 w 119"/>
                        <a:gd name="T15" fmla="*/ 12 h 12"/>
                        <a:gd name="T16" fmla="*/ 3 w 119"/>
                        <a:gd name="T17" fmla="*/ 12 h 12"/>
                        <a:gd name="T18" fmla="*/ 2 w 119"/>
                        <a:gd name="T19" fmla="*/ 12 h 12"/>
                        <a:gd name="T20" fmla="*/ 0 w 119"/>
                        <a:gd name="T21" fmla="*/ 9 h 12"/>
                        <a:gd name="T22" fmla="*/ 0 w 119"/>
                        <a:gd name="T23" fmla="*/ 6 h 12"/>
                        <a:gd name="T24" fmla="*/ 0 w 119"/>
                        <a:gd name="T25" fmla="*/ 3 h 12"/>
                        <a:gd name="T26" fmla="*/ 2 w 119"/>
                        <a:gd name="T27" fmla="*/ 1 h 12"/>
                        <a:gd name="T28" fmla="*/ 3 w 119"/>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2">
                          <a:moveTo>
                            <a:pt x="3" y="0"/>
                          </a:moveTo>
                          <a:lnTo>
                            <a:pt x="115" y="0"/>
                          </a:lnTo>
                          <a:lnTo>
                            <a:pt x="116" y="1"/>
                          </a:lnTo>
                          <a:lnTo>
                            <a:pt x="118" y="3"/>
                          </a:lnTo>
                          <a:lnTo>
                            <a:pt x="119" y="6"/>
                          </a:lnTo>
                          <a:lnTo>
                            <a:pt x="118" y="9"/>
                          </a:lnTo>
                          <a:lnTo>
                            <a:pt x="116" y="12"/>
                          </a:lnTo>
                          <a:lnTo>
                            <a:pt x="115" y="12"/>
                          </a:lnTo>
                          <a:lnTo>
                            <a:pt x="3" y="12"/>
                          </a:lnTo>
                          <a:lnTo>
                            <a:pt x="2" y="12"/>
                          </a:lnTo>
                          <a:lnTo>
                            <a:pt x="0" y="9"/>
                          </a:lnTo>
                          <a:lnTo>
                            <a:pt x="0" y="6"/>
                          </a:lnTo>
                          <a:lnTo>
                            <a:pt x="0" y="3"/>
                          </a:lnTo>
                          <a:lnTo>
                            <a:pt x="2" y="1"/>
                          </a:lnTo>
                          <a:lnTo>
                            <a:pt x="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3" name="Freeform 33"/>
                    <p:cNvSpPr>
                      <a:spLocks/>
                    </p:cNvSpPr>
                    <p:nvPr/>
                  </p:nvSpPr>
                  <p:spPr bwMode="auto">
                    <a:xfrm>
                      <a:off x="2181226" y="4724400"/>
                      <a:ext cx="323850" cy="160338"/>
                    </a:xfrm>
                    <a:custGeom>
                      <a:avLst/>
                      <a:gdLst>
                        <a:gd name="T0" fmla="*/ 63 w 204"/>
                        <a:gd name="T1" fmla="*/ 0 h 101"/>
                        <a:gd name="T2" fmla="*/ 78 w 204"/>
                        <a:gd name="T3" fmla="*/ 3 h 101"/>
                        <a:gd name="T4" fmla="*/ 93 w 204"/>
                        <a:gd name="T5" fmla="*/ 12 h 101"/>
                        <a:gd name="T6" fmla="*/ 105 w 204"/>
                        <a:gd name="T7" fmla="*/ 26 h 101"/>
                        <a:gd name="T8" fmla="*/ 200 w 204"/>
                        <a:gd name="T9" fmla="*/ 26 h 101"/>
                        <a:gd name="T10" fmla="*/ 201 w 204"/>
                        <a:gd name="T11" fmla="*/ 26 h 101"/>
                        <a:gd name="T12" fmla="*/ 203 w 204"/>
                        <a:gd name="T13" fmla="*/ 29 h 101"/>
                        <a:gd name="T14" fmla="*/ 204 w 204"/>
                        <a:gd name="T15" fmla="*/ 32 h 101"/>
                        <a:gd name="T16" fmla="*/ 203 w 204"/>
                        <a:gd name="T17" fmla="*/ 35 h 101"/>
                        <a:gd name="T18" fmla="*/ 201 w 204"/>
                        <a:gd name="T19" fmla="*/ 36 h 101"/>
                        <a:gd name="T20" fmla="*/ 200 w 204"/>
                        <a:gd name="T21" fmla="*/ 38 h 101"/>
                        <a:gd name="T22" fmla="*/ 110 w 204"/>
                        <a:gd name="T23" fmla="*/ 38 h 101"/>
                        <a:gd name="T24" fmla="*/ 119 w 204"/>
                        <a:gd name="T25" fmla="*/ 55 h 101"/>
                        <a:gd name="T26" fmla="*/ 124 w 204"/>
                        <a:gd name="T27" fmla="*/ 78 h 101"/>
                        <a:gd name="T28" fmla="*/ 125 w 204"/>
                        <a:gd name="T29" fmla="*/ 101 h 101"/>
                        <a:gd name="T30" fmla="*/ 0 w 204"/>
                        <a:gd name="T31" fmla="*/ 93 h 101"/>
                        <a:gd name="T32" fmla="*/ 3 w 204"/>
                        <a:gd name="T33" fmla="*/ 61 h 101"/>
                        <a:gd name="T34" fmla="*/ 12 w 204"/>
                        <a:gd name="T35" fmla="*/ 36 h 101"/>
                        <a:gd name="T36" fmla="*/ 26 w 204"/>
                        <a:gd name="T37" fmla="*/ 17 h 101"/>
                        <a:gd name="T38" fmla="*/ 43 w 204"/>
                        <a:gd name="T39" fmla="*/ 5 h 101"/>
                        <a:gd name="T40" fmla="*/ 63 w 204"/>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01">
                          <a:moveTo>
                            <a:pt x="63" y="0"/>
                          </a:moveTo>
                          <a:lnTo>
                            <a:pt x="78" y="3"/>
                          </a:lnTo>
                          <a:lnTo>
                            <a:pt x="93" y="12"/>
                          </a:lnTo>
                          <a:lnTo>
                            <a:pt x="105" y="26"/>
                          </a:lnTo>
                          <a:lnTo>
                            <a:pt x="200" y="26"/>
                          </a:lnTo>
                          <a:lnTo>
                            <a:pt x="201" y="26"/>
                          </a:lnTo>
                          <a:lnTo>
                            <a:pt x="203" y="29"/>
                          </a:lnTo>
                          <a:lnTo>
                            <a:pt x="204" y="32"/>
                          </a:lnTo>
                          <a:lnTo>
                            <a:pt x="203" y="35"/>
                          </a:lnTo>
                          <a:lnTo>
                            <a:pt x="201" y="36"/>
                          </a:lnTo>
                          <a:lnTo>
                            <a:pt x="200" y="38"/>
                          </a:lnTo>
                          <a:lnTo>
                            <a:pt x="110" y="38"/>
                          </a:lnTo>
                          <a:lnTo>
                            <a:pt x="119" y="55"/>
                          </a:lnTo>
                          <a:lnTo>
                            <a:pt x="124" y="78"/>
                          </a:lnTo>
                          <a:lnTo>
                            <a:pt x="125" y="101"/>
                          </a:lnTo>
                          <a:lnTo>
                            <a:pt x="0" y="93"/>
                          </a:lnTo>
                          <a:lnTo>
                            <a:pt x="3" y="61"/>
                          </a:lnTo>
                          <a:lnTo>
                            <a:pt x="12" y="36"/>
                          </a:lnTo>
                          <a:lnTo>
                            <a:pt x="26" y="17"/>
                          </a:lnTo>
                          <a:lnTo>
                            <a:pt x="43" y="5"/>
                          </a:lnTo>
                          <a:lnTo>
                            <a:pt x="6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34" name="Freeform 34"/>
                    <p:cNvSpPr>
                      <a:spLocks/>
                    </p:cNvSpPr>
                    <p:nvPr/>
                  </p:nvSpPr>
                  <p:spPr bwMode="auto">
                    <a:xfrm>
                      <a:off x="2359026" y="4598988"/>
                      <a:ext cx="20638" cy="95250"/>
                    </a:xfrm>
                    <a:custGeom>
                      <a:avLst/>
                      <a:gdLst>
                        <a:gd name="T0" fmla="*/ 7 w 13"/>
                        <a:gd name="T1" fmla="*/ 0 h 60"/>
                        <a:gd name="T2" fmla="*/ 9 w 13"/>
                        <a:gd name="T3" fmla="*/ 2 h 60"/>
                        <a:gd name="T4" fmla="*/ 12 w 13"/>
                        <a:gd name="T5" fmla="*/ 3 h 60"/>
                        <a:gd name="T6" fmla="*/ 13 w 13"/>
                        <a:gd name="T7" fmla="*/ 6 h 60"/>
                        <a:gd name="T8" fmla="*/ 13 w 13"/>
                        <a:gd name="T9" fmla="*/ 11 h 60"/>
                        <a:gd name="T10" fmla="*/ 13 w 13"/>
                        <a:gd name="T11" fmla="*/ 50 h 60"/>
                        <a:gd name="T12" fmla="*/ 13 w 13"/>
                        <a:gd name="T13" fmla="*/ 54 h 60"/>
                        <a:gd name="T14" fmla="*/ 12 w 13"/>
                        <a:gd name="T15" fmla="*/ 57 h 60"/>
                        <a:gd name="T16" fmla="*/ 9 w 13"/>
                        <a:gd name="T17" fmla="*/ 60 h 60"/>
                        <a:gd name="T18" fmla="*/ 7 w 13"/>
                        <a:gd name="T19" fmla="*/ 60 h 60"/>
                        <a:gd name="T20" fmla="*/ 4 w 13"/>
                        <a:gd name="T21" fmla="*/ 60 h 60"/>
                        <a:gd name="T22" fmla="*/ 1 w 13"/>
                        <a:gd name="T23" fmla="*/ 57 h 60"/>
                        <a:gd name="T24" fmla="*/ 1 w 13"/>
                        <a:gd name="T25" fmla="*/ 54 h 60"/>
                        <a:gd name="T26" fmla="*/ 0 w 13"/>
                        <a:gd name="T27" fmla="*/ 50 h 60"/>
                        <a:gd name="T28" fmla="*/ 0 w 13"/>
                        <a:gd name="T29" fmla="*/ 11 h 60"/>
                        <a:gd name="T30" fmla="*/ 1 w 13"/>
                        <a:gd name="T31" fmla="*/ 6 h 60"/>
                        <a:gd name="T32" fmla="*/ 1 w 13"/>
                        <a:gd name="T33" fmla="*/ 3 h 60"/>
                        <a:gd name="T34" fmla="*/ 4 w 13"/>
                        <a:gd name="T35" fmla="*/ 2 h 60"/>
                        <a:gd name="T36" fmla="*/ 7 w 13"/>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60">
                          <a:moveTo>
                            <a:pt x="7" y="0"/>
                          </a:moveTo>
                          <a:lnTo>
                            <a:pt x="9" y="2"/>
                          </a:lnTo>
                          <a:lnTo>
                            <a:pt x="12" y="3"/>
                          </a:lnTo>
                          <a:lnTo>
                            <a:pt x="13" y="6"/>
                          </a:lnTo>
                          <a:lnTo>
                            <a:pt x="13" y="11"/>
                          </a:lnTo>
                          <a:lnTo>
                            <a:pt x="13" y="50"/>
                          </a:lnTo>
                          <a:lnTo>
                            <a:pt x="13" y="54"/>
                          </a:lnTo>
                          <a:lnTo>
                            <a:pt x="12" y="57"/>
                          </a:lnTo>
                          <a:lnTo>
                            <a:pt x="9" y="60"/>
                          </a:lnTo>
                          <a:lnTo>
                            <a:pt x="7" y="60"/>
                          </a:lnTo>
                          <a:lnTo>
                            <a:pt x="4" y="60"/>
                          </a:lnTo>
                          <a:lnTo>
                            <a:pt x="1" y="57"/>
                          </a:lnTo>
                          <a:lnTo>
                            <a:pt x="1" y="54"/>
                          </a:lnTo>
                          <a:lnTo>
                            <a:pt x="0" y="50"/>
                          </a:lnTo>
                          <a:lnTo>
                            <a:pt x="0" y="11"/>
                          </a:lnTo>
                          <a:lnTo>
                            <a:pt x="1" y="6"/>
                          </a:lnTo>
                          <a:lnTo>
                            <a:pt x="1" y="3"/>
                          </a:lnTo>
                          <a:lnTo>
                            <a:pt x="4" y="2"/>
                          </a:lnTo>
                          <a:lnTo>
                            <a:pt x="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sp>
                <p:nvSpPr>
                  <p:cNvPr id="215" name="Freeform 35"/>
                  <p:cNvSpPr>
                    <a:spLocks noEditPoints="1"/>
                  </p:cNvSpPr>
                  <p:nvPr/>
                </p:nvSpPr>
                <p:spPr bwMode="auto">
                  <a:xfrm>
                    <a:off x="7477125" y="1527175"/>
                    <a:ext cx="255588" cy="446088"/>
                  </a:xfrm>
                  <a:custGeom>
                    <a:avLst/>
                    <a:gdLst>
                      <a:gd name="T0" fmla="*/ 12 w 161"/>
                      <a:gd name="T1" fmla="*/ 85 h 281"/>
                      <a:gd name="T2" fmla="*/ 18 w 161"/>
                      <a:gd name="T3" fmla="*/ 130 h 281"/>
                      <a:gd name="T4" fmla="*/ 30 w 161"/>
                      <a:gd name="T5" fmla="*/ 149 h 281"/>
                      <a:gd name="T6" fmla="*/ 42 w 161"/>
                      <a:gd name="T7" fmla="*/ 153 h 281"/>
                      <a:gd name="T8" fmla="*/ 30 w 161"/>
                      <a:gd name="T9" fmla="*/ 79 h 281"/>
                      <a:gd name="T10" fmla="*/ 130 w 161"/>
                      <a:gd name="T11" fmla="*/ 36 h 281"/>
                      <a:gd name="T12" fmla="*/ 121 w 161"/>
                      <a:gd name="T13" fmla="*/ 121 h 281"/>
                      <a:gd name="T14" fmla="*/ 131 w 161"/>
                      <a:gd name="T15" fmla="*/ 107 h 281"/>
                      <a:gd name="T16" fmla="*/ 143 w 161"/>
                      <a:gd name="T17" fmla="*/ 79 h 281"/>
                      <a:gd name="T18" fmla="*/ 149 w 161"/>
                      <a:gd name="T19" fmla="*/ 28 h 281"/>
                      <a:gd name="T20" fmla="*/ 161 w 161"/>
                      <a:gd name="T21" fmla="*/ 5 h 281"/>
                      <a:gd name="T22" fmla="*/ 161 w 161"/>
                      <a:gd name="T23" fmla="*/ 28 h 281"/>
                      <a:gd name="T24" fmla="*/ 158 w 161"/>
                      <a:gd name="T25" fmla="*/ 67 h 281"/>
                      <a:gd name="T26" fmla="*/ 148 w 161"/>
                      <a:gd name="T27" fmla="*/ 109 h 281"/>
                      <a:gd name="T28" fmla="*/ 127 w 161"/>
                      <a:gd name="T29" fmla="*/ 141 h 281"/>
                      <a:gd name="T30" fmla="*/ 110 w 161"/>
                      <a:gd name="T31" fmla="*/ 153 h 281"/>
                      <a:gd name="T32" fmla="*/ 94 w 161"/>
                      <a:gd name="T33" fmla="*/ 186 h 281"/>
                      <a:gd name="T34" fmla="*/ 103 w 161"/>
                      <a:gd name="T35" fmla="*/ 234 h 281"/>
                      <a:gd name="T36" fmla="*/ 109 w 161"/>
                      <a:gd name="T37" fmla="*/ 237 h 281"/>
                      <a:gd name="T38" fmla="*/ 110 w 161"/>
                      <a:gd name="T39" fmla="*/ 246 h 281"/>
                      <a:gd name="T40" fmla="*/ 109 w 161"/>
                      <a:gd name="T41" fmla="*/ 256 h 281"/>
                      <a:gd name="T42" fmla="*/ 103 w 161"/>
                      <a:gd name="T43" fmla="*/ 263 h 281"/>
                      <a:gd name="T44" fmla="*/ 58 w 161"/>
                      <a:gd name="T45" fmla="*/ 281 h 281"/>
                      <a:gd name="T46" fmla="*/ 54 w 161"/>
                      <a:gd name="T47" fmla="*/ 275 h 281"/>
                      <a:gd name="T48" fmla="*/ 54 w 161"/>
                      <a:gd name="T49" fmla="*/ 263 h 281"/>
                      <a:gd name="T50" fmla="*/ 58 w 161"/>
                      <a:gd name="T51" fmla="*/ 254 h 281"/>
                      <a:gd name="T52" fmla="*/ 70 w 161"/>
                      <a:gd name="T53" fmla="*/ 249 h 281"/>
                      <a:gd name="T54" fmla="*/ 66 w 161"/>
                      <a:gd name="T55" fmla="*/ 193 h 281"/>
                      <a:gd name="T56" fmla="*/ 57 w 161"/>
                      <a:gd name="T57" fmla="*/ 185 h 281"/>
                      <a:gd name="T58" fmla="*/ 37 w 161"/>
                      <a:gd name="T59" fmla="*/ 180 h 281"/>
                      <a:gd name="T60" fmla="*/ 16 w 161"/>
                      <a:gd name="T61" fmla="*/ 168 h 281"/>
                      <a:gd name="T62" fmla="*/ 6 w 161"/>
                      <a:gd name="T63" fmla="*/ 140 h 281"/>
                      <a:gd name="T64" fmla="*/ 2 w 161"/>
                      <a:gd name="T65" fmla="*/ 107 h 281"/>
                      <a:gd name="T66" fmla="*/ 0 w 161"/>
                      <a:gd name="T67" fmla="*/ 79 h 281"/>
                      <a:gd name="T68" fmla="*/ 0 w 161"/>
                      <a:gd name="T69" fmla="*/ 69 h 281"/>
                      <a:gd name="T70" fmla="*/ 40 w 161"/>
                      <a:gd name="T71" fmla="*/ 52 h 281"/>
                      <a:gd name="T72" fmla="*/ 131 w 161"/>
                      <a:gd name="T73" fmla="*/ 1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 h="281">
                        <a:moveTo>
                          <a:pt x="30" y="79"/>
                        </a:moveTo>
                        <a:lnTo>
                          <a:pt x="12" y="85"/>
                        </a:lnTo>
                        <a:lnTo>
                          <a:pt x="15" y="112"/>
                        </a:lnTo>
                        <a:lnTo>
                          <a:pt x="18" y="130"/>
                        </a:lnTo>
                        <a:lnTo>
                          <a:pt x="24" y="143"/>
                        </a:lnTo>
                        <a:lnTo>
                          <a:pt x="30" y="149"/>
                        </a:lnTo>
                        <a:lnTo>
                          <a:pt x="36" y="153"/>
                        </a:lnTo>
                        <a:lnTo>
                          <a:pt x="42" y="153"/>
                        </a:lnTo>
                        <a:lnTo>
                          <a:pt x="34" y="119"/>
                        </a:lnTo>
                        <a:lnTo>
                          <a:pt x="30" y="79"/>
                        </a:lnTo>
                        <a:close/>
                        <a:moveTo>
                          <a:pt x="149" y="28"/>
                        </a:moveTo>
                        <a:lnTo>
                          <a:pt x="130" y="36"/>
                        </a:lnTo>
                        <a:lnTo>
                          <a:pt x="127" y="80"/>
                        </a:lnTo>
                        <a:lnTo>
                          <a:pt x="121" y="121"/>
                        </a:lnTo>
                        <a:lnTo>
                          <a:pt x="125" y="116"/>
                        </a:lnTo>
                        <a:lnTo>
                          <a:pt x="131" y="107"/>
                        </a:lnTo>
                        <a:lnTo>
                          <a:pt x="139" y="95"/>
                        </a:lnTo>
                        <a:lnTo>
                          <a:pt x="143" y="79"/>
                        </a:lnTo>
                        <a:lnTo>
                          <a:pt x="148" y="57"/>
                        </a:lnTo>
                        <a:lnTo>
                          <a:pt x="149" y="28"/>
                        </a:lnTo>
                        <a:close/>
                        <a:moveTo>
                          <a:pt x="159" y="0"/>
                        </a:moveTo>
                        <a:lnTo>
                          <a:pt x="161" y="5"/>
                        </a:lnTo>
                        <a:lnTo>
                          <a:pt x="161" y="13"/>
                        </a:lnTo>
                        <a:lnTo>
                          <a:pt x="161" y="28"/>
                        </a:lnTo>
                        <a:lnTo>
                          <a:pt x="159" y="46"/>
                        </a:lnTo>
                        <a:lnTo>
                          <a:pt x="158" y="67"/>
                        </a:lnTo>
                        <a:lnTo>
                          <a:pt x="153" y="88"/>
                        </a:lnTo>
                        <a:lnTo>
                          <a:pt x="148" y="109"/>
                        </a:lnTo>
                        <a:lnTo>
                          <a:pt x="139" y="127"/>
                        </a:lnTo>
                        <a:lnTo>
                          <a:pt x="127" y="141"/>
                        </a:lnTo>
                        <a:lnTo>
                          <a:pt x="112" y="152"/>
                        </a:lnTo>
                        <a:lnTo>
                          <a:pt x="110" y="153"/>
                        </a:lnTo>
                        <a:lnTo>
                          <a:pt x="103" y="171"/>
                        </a:lnTo>
                        <a:lnTo>
                          <a:pt x="94" y="186"/>
                        </a:lnTo>
                        <a:lnTo>
                          <a:pt x="94" y="238"/>
                        </a:lnTo>
                        <a:lnTo>
                          <a:pt x="103" y="234"/>
                        </a:lnTo>
                        <a:lnTo>
                          <a:pt x="106" y="234"/>
                        </a:lnTo>
                        <a:lnTo>
                          <a:pt x="109" y="237"/>
                        </a:lnTo>
                        <a:lnTo>
                          <a:pt x="110" y="240"/>
                        </a:lnTo>
                        <a:lnTo>
                          <a:pt x="110" y="246"/>
                        </a:lnTo>
                        <a:lnTo>
                          <a:pt x="110" y="251"/>
                        </a:lnTo>
                        <a:lnTo>
                          <a:pt x="109" y="256"/>
                        </a:lnTo>
                        <a:lnTo>
                          <a:pt x="106" y="260"/>
                        </a:lnTo>
                        <a:lnTo>
                          <a:pt x="103" y="263"/>
                        </a:lnTo>
                        <a:lnTo>
                          <a:pt x="61" y="281"/>
                        </a:lnTo>
                        <a:lnTo>
                          <a:pt x="58" y="281"/>
                        </a:lnTo>
                        <a:lnTo>
                          <a:pt x="55" y="278"/>
                        </a:lnTo>
                        <a:lnTo>
                          <a:pt x="54" y="275"/>
                        </a:lnTo>
                        <a:lnTo>
                          <a:pt x="54" y="269"/>
                        </a:lnTo>
                        <a:lnTo>
                          <a:pt x="54" y="263"/>
                        </a:lnTo>
                        <a:lnTo>
                          <a:pt x="55" y="259"/>
                        </a:lnTo>
                        <a:lnTo>
                          <a:pt x="58" y="254"/>
                        </a:lnTo>
                        <a:lnTo>
                          <a:pt x="61" y="253"/>
                        </a:lnTo>
                        <a:lnTo>
                          <a:pt x="70" y="249"/>
                        </a:lnTo>
                        <a:lnTo>
                          <a:pt x="70" y="196"/>
                        </a:lnTo>
                        <a:lnTo>
                          <a:pt x="66" y="193"/>
                        </a:lnTo>
                        <a:lnTo>
                          <a:pt x="61" y="191"/>
                        </a:lnTo>
                        <a:lnTo>
                          <a:pt x="57" y="185"/>
                        </a:lnTo>
                        <a:lnTo>
                          <a:pt x="52" y="177"/>
                        </a:lnTo>
                        <a:lnTo>
                          <a:pt x="37" y="180"/>
                        </a:lnTo>
                        <a:lnTo>
                          <a:pt x="25" y="177"/>
                        </a:lnTo>
                        <a:lnTo>
                          <a:pt x="16" y="168"/>
                        </a:lnTo>
                        <a:lnTo>
                          <a:pt x="11" y="155"/>
                        </a:lnTo>
                        <a:lnTo>
                          <a:pt x="6" y="140"/>
                        </a:lnTo>
                        <a:lnTo>
                          <a:pt x="3" y="124"/>
                        </a:lnTo>
                        <a:lnTo>
                          <a:pt x="2" y="107"/>
                        </a:lnTo>
                        <a:lnTo>
                          <a:pt x="0" y="92"/>
                        </a:lnTo>
                        <a:lnTo>
                          <a:pt x="0" y="79"/>
                        </a:lnTo>
                        <a:lnTo>
                          <a:pt x="0" y="71"/>
                        </a:lnTo>
                        <a:lnTo>
                          <a:pt x="0" y="69"/>
                        </a:lnTo>
                        <a:lnTo>
                          <a:pt x="30" y="57"/>
                        </a:lnTo>
                        <a:lnTo>
                          <a:pt x="40" y="52"/>
                        </a:lnTo>
                        <a:lnTo>
                          <a:pt x="121" y="16"/>
                        </a:lnTo>
                        <a:lnTo>
                          <a:pt x="131" y="13"/>
                        </a:lnTo>
                        <a:lnTo>
                          <a:pt x="15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nvGrpSpPr>
                  <p:cNvPr id="216" name="Group 215"/>
                  <p:cNvGrpSpPr/>
                  <p:nvPr/>
                </p:nvGrpSpPr>
                <p:grpSpPr>
                  <a:xfrm>
                    <a:off x="7419975" y="2432050"/>
                    <a:ext cx="388938" cy="538163"/>
                    <a:chOff x="2162176" y="2432050"/>
                    <a:chExt cx="388938" cy="538163"/>
                  </a:xfrm>
                </p:grpSpPr>
                <p:sp>
                  <p:nvSpPr>
                    <p:cNvPr id="227" name="Freeform 36"/>
                    <p:cNvSpPr>
                      <a:spLocks/>
                    </p:cNvSpPr>
                    <p:nvPr/>
                  </p:nvSpPr>
                  <p:spPr bwMode="auto">
                    <a:xfrm>
                      <a:off x="2171701" y="2432050"/>
                      <a:ext cx="379413" cy="358775"/>
                    </a:xfrm>
                    <a:custGeom>
                      <a:avLst/>
                      <a:gdLst>
                        <a:gd name="T0" fmla="*/ 239 w 239"/>
                        <a:gd name="T1" fmla="*/ 0 h 226"/>
                        <a:gd name="T2" fmla="*/ 227 w 239"/>
                        <a:gd name="T3" fmla="*/ 27 h 226"/>
                        <a:gd name="T4" fmla="*/ 224 w 239"/>
                        <a:gd name="T5" fmla="*/ 24 h 226"/>
                        <a:gd name="T6" fmla="*/ 143 w 239"/>
                        <a:gd name="T7" fmla="*/ 108 h 226"/>
                        <a:gd name="T8" fmla="*/ 121 w 239"/>
                        <a:gd name="T9" fmla="*/ 94 h 226"/>
                        <a:gd name="T10" fmla="*/ 6 w 239"/>
                        <a:gd name="T11" fmla="*/ 226 h 226"/>
                        <a:gd name="T12" fmla="*/ 0 w 239"/>
                        <a:gd name="T13" fmla="*/ 219 h 226"/>
                        <a:gd name="T14" fmla="*/ 122 w 239"/>
                        <a:gd name="T15" fmla="*/ 79 h 226"/>
                        <a:gd name="T16" fmla="*/ 145 w 239"/>
                        <a:gd name="T17" fmla="*/ 94 h 226"/>
                        <a:gd name="T18" fmla="*/ 216 w 239"/>
                        <a:gd name="T19" fmla="*/ 16 h 226"/>
                        <a:gd name="T20" fmla="*/ 213 w 239"/>
                        <a:gd name="T21" fmla="*/ 12 h 226"/>
                        <a:gd name="T22" fmla="*/ 239 w 239"/>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226">
                          <a:moveTo>
                            <a:pt x="239" y="0"/>
                          </a:moveTo>
                          <a:lnTo>
                            <a:pt x="227" y="27"/>
                          </a:lnTo>
                          <a:lnTo>
                            <a:pt x="224" y="24"/>
                          </a:lnTo>
                          <a:lnTo>
                            <a:pt x="143" y="108"/>
                          </a:lnTo>
                          <a:lnTo>
                            <a:pt x="121" y="94"/>
                          </a:lnTo>
                          <a:lnTo>
                            <a:pt x="6" y="226"/>
                          </a:lnTo>
                          <a:lnTo>
                            <a:pt x="0" y="219"/>
                          </a:lnTo>
                          <a:lnTo>
                            <a:pt x="122" y="79"/>
                          </a:lnTo>
                          <a:lnTo>
                            <a:pt x="145" y="94"/>
                          </a:lnTo>
                          <a:lnTo>
                            <a:pt x="216" y="16"/>
                          </a:lnTo>
                          <a:lnTo>
                            <a:pt x="213" y="12"/>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8" name="Freeform 37"/>
                    <p:cNvSpPr>
                      <a:spLocks/>
                    </p:cNvSpPr>
                    <p:nvPr/>
                  </p:nvSpPr>
                  <p:spPr bwMode="auto">
                    <a:xfrm>
                      <a:off x="2162176" y="2616200"/>
                      <a:ext cx="360363" cy="354013"/>
                    </a:xfrm>
                    <a:custGeom>
                      <a:avLst/>
                      <a:gdLst>
                        <a:gd name="T0" fmla="*/ 198 w 227"/>
                        <a:gd name="T1" fmla="*/ 0 h 223"/>
                        <a:gd name="T2" fmla="*/ 201 w 227"/>
                        <a:gd name="T3" fmla="*/ 1 h 223"/>
                        <a:gd name="T4" fmla="*/ 203 w 227"/>
                        <a:gd name="T5" fmla="*/ 4 h 223"/>
                        <a:gd name="T6" fmla="*/ 203 w 227"/>
                        <a:gd name="T7" fmla="*/ 7 h 223"/>
                        <a:gd name="T8" fmla="*/ 194 w 227"/>
                        <a:gd name="T9" fmla="*/ 126 h 223"/>
                        <a:gd name="T10" fmla="*/ 194 w 227"/>
                        <a:gd name="T11" fmla="*/ 131 h 223"/>
                        <a:gd name="T12" fmla="*/ 227 w 227"/>
                        <a:gd name="T13" fmla="*/ 119 h 223"/>
                        <a:gd name="T14" fmla="*/ 224 w 227"/>
                        <a:gd name="T15" fmla="*/ 162 h 223"/>
                        <a:gd name="T16" fmla="*/ 0 w 227"/>
                        <a:gd name="T17" fmla="*/ 223 h 223"/>
                        <a:gd name="T18" fmla="*/ 3 w 227"/>
                        <a:gd name="T19" fmla="*/ 190 h 223"/>
                        <a:gd name="T20" fmla="*/ 38 w 227"/>
                        <a:gd name="T21" fmla="*/ 178 h 223"/>
                        <a:gd name="T22" fmla="*/ 38 w 227"/>
                        <a:gd name="T23" fmla="*/ 175 h 223"/>
                        <a:gd name="T24" fmla="*/ 41 w 227"/>
                        <a:gd name="T25" fmla="*/ 140 h 223"/>
                        <a:gd name="T26" fmla="*/ 42 w 227"/>
                        <a:gd name="T27" fmla="*/ 135 h 223"/>
                        <a:gd name="T28" fmla="*/ 44 w 227"/>
                        <a:gd name="T29" fmla="*/ 131 h 223"/>
                        <a:gd name="T30" fmla="*/ 47 w 227"/>
                        <a:gd name="T31" fmla="*/ 128 h 223"/>
                        <a:gd name="T32" fmla="*/ 51 w 227"/>
                        <a:gd name="T33" fmla="*/ 126 h 223"/>
                        <a:gd name="T34" fmla="*/ 54 w 227"/>
                        <a:gd name="T35" fmla="*/ 126 h 223"/>
                        <a:gd name="T36" fmla="*/ 57 w 227"/>
                        <a:gd name="T37" fmla="*/ 126 h 223"/>
                        <a:gd name="T38" fmla="*/ 60 w 227"/>
                        <a:gd name="T39" fmla="*/ 129 h 223"/>
                        <a:gd name="T40" fmla="*/ 60 w 227"/>
                        <a:gd name="T41" fmla="*/ 134 h 223"/>
                        <a:gd name="T42" fmla="*/ 57 w 227"/>
                        <a:gd name="T43" fmla="*/ 169 h 223"/>
                        <a:gd name="T44" fmla="*/ 55 w 227"/>
                        <a:gd name="T45" fmla="*/ 174 h 223"/>
                        <a:gd name="T46" fmla="*/ 109 w 227"/>
                        <a:gd name="T47" fmla="*/ 158 h 223"/>
                        <a:gd name="T48" fmla="*/ 108 w 227"/>
                        <a:gd name="T49" fmla="*/ 155 h 223"/>
                        <a:gd name="T50" fmla="*/ 115 w 227"/>
                        <a:gd name="T51" fmla="*/ 65 h 223"/>
                        <a:gd name="T52" fmla="*/ 117 w 227"/>
                        <a:gd name="T53" fmla="*/ 62 h 223"/>
                        <a:gd name="T54" fmla="*/ 118 w 227"/>
                        <a:gd name="T55" fmla="*/ 58 h 223"/>
                        <a:gd name="T56" fmla="*/ 121 w 227"/>
                        <a:gd name="T57" fmla="*/ 55 h 223"/>
                        <a:gd name="T58" fmla="*/ 125 w 227"/>
                        <a:gd name="T59" fmla="*/ 53 h 223"/>
                        <a:gd name="T60" fmla="*/ 128 w 227"/>
                        <a:gd name="T61" fmla="*/ 52 h 223"/>
                        <a:gd name="T62" fmla="*/ 131 w 227"/>
                        <a:gd name="T63" fmla="*/ 53 h 223"/>
                        <a:gd name="T64" fmla="*/ 134 w 227"/>
                        <a:gd name="T65" fmla="*/ 56 h 223"/>
                        <a:gd name="T66" fmla="*/ 134 w 227"/>
                        <a:gd name="T67" fmla="*/ 59 h 223"/>
                        <a:gd name="T68" fmla="*/ 127 w 227"/>
                        <a:gd name="T69" fmla="*/ 147 h 223"/>
                        <a:gd name="T70" fmla="*/ 127 w 227"/>
                        <a:gd name="T71" fmla="*/ 152 h 223"/>
                        <a:gd name="T72" fmla="*/ 176 w 227"/>
                        <a:gd name="T73" fmla="*/ 135 h 223"/>
                        <a:gd name="T74" fmla="*/ 175 w 227"/>
                        <a:gd name="T75" fmla="*/ 132 h 223"/>
                        <a:gd name="T76" fmla="*/ 185 w 227"/>
                        <a:gd name="T77" fmla="*/ 13 h 223"/>
                        <a:gd name="T78" fmla="*/ 185 w 227"/>
                        <a:gd name="T79" fmla="*/ 9 h 223"/>
                        <a:gd name="T80" fmla="*/ 188 w 227"/>
                        <a:gd name="T81" fmla="*/ 6 h 223"/>
                        <a:gd name="T82" fmla="*/ 191 w 227"/>
                        <a:gd name="T83" fmla="*/ 3 h 223"/>
                        <a:gd name="T84" fmla="*/ 195 w 227"/>
                        <a:gd name="T85" fmla="*/ 0 h 223"/>
                        <a:gd name="T86" fmla="*/ 198 w 227"/>
                        <a:gd name="T8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7" h="223">
                          <a:moveTo>
                            <a:pt x="198" y="0"/>
                          </a:moveTo>
                          <a:lnTo>
                            <a:pt x="201" y="1"/>
                          </a:lnTo>
                          <a:lnTo>
                            <a:pt x="203" y="4"/>
                          </a:lnTo>
                          <a:lnTo>
                            <a:pt x="203" y="7"/>
                          </a:lnTo>
                          <a:lnTo>
                            <a:pt x="194" y="126"/>
                          </a:lnTo>
                          <a:lnTo>
                            <a:pt x="194" y="131"/>
                          </a:lnTo>
                          <a:lnTo>
                            <a:pt x="227" y="119"/>
                          </a:lnTo>
                          <a:lnTo>
                            <a:pt x="224" y="162"/>
                          </a:lnTo>
                          <a:lnTo>
                            <a:pt x="0" y="223"/>
                          </a:lnTo>
                          <a:lnTo>
                            <a:pt x="3" y="190"/>
                          </a:lnTo>
                          <a:lnTo>
                            <a:pt x="38" y="178"/>
                          </a:lnTo>
                          <a:lnTo>
                            <a:pt x="38" y="175"/>
                          </a:lnTo>
                          <a:lnTo>
                            <a:pt x="41" y="140"/>
                          </a:lnTo>
                          <a:lnTo>
                            <a:pt x="42" y="135"/>
                          </a:lnTo>
                          <a:lnTo>
                            <a:pt x="44" y="131"/>
                          </a:lnTo>
                          <a:lnTo>
                            <a:pt x="47" y="128"/>
                          </a:lnTo>
                          <a:lnTo>
                            <a:pt x="51" y="126"/>
                          </a:lnTo>
                          <a:lnTo>
                            <a:pt x="54" y="126"/>
                          </a:lnTo>
                          <a:lnTo>
                            <a:pt x="57" y="126"/>
                          </a:lnTo>
                          <a:lnTo>
                            <a:pt x="60" y="129"/>
                          </a:lnTo>
                          <a:lnTo>
                            <a:pt x="60" y="134"/>
                          </a:lnTo>
                          <a:lnTo>
                            <a:pt x="57" y="169"/>
                          </a:lnTo>
                          <a:lnTo>
                            <a:pt x="55" y="174"/>
                          </a:lnTo>
                          <a:lnTo>
                            <a:pt x="109" y="158"/>
                          </a:lnTo>
                          <a:lnTo>
                            <a:pt x="108" y="155"/>
                          </a:lnTo>
                          <a:lnTo>
                            <a:pt x="115" y="65"/>
                          </a:lnTo>
                          <a:lnTo>
                            <a:pt x="117" y="62"/>
                          </a:lnTo>
                          <a:lnTo>
                            <a:pt x="118" y="58"/>
                          </a:lnTo>
                          <a:lnTo>
                            <a:pt x="121" y="55"/>
                          </a:lnTo>
                          <a:lnTo>
                            <a:pt x="125" y="53"/>
                          </a:lnTo>
                          <a:lnTo>
                            <a:pt x="128" y="52"/>
                          </a:lnTo>
                          <a:lnTo>
                            <a:pt x="131" y="53"/>
                          </a:lnTo>
                          <a:lnTo>
                            <a:pt x="134" y="56"/>
                          </a:lnTo>
                          <a:lnTo>
                            <a:pt x="134" y="59"/>
                          </a:lnTo>
                          <a:lnTo>
                            <a:pt x="127" y="147"/>
                          </a:lnTo>
                          <a:lnTo>
                            <a:pt x="127" y="152"/>
                          </a:lnTo>
                          <a:lnTo>
                            <a:pt x="176" y="135"/>
                          </a:lnTo>
                          <a:lnTo>
                            <a:pt x="175" y="132"/>
                          </a:lnTo>
                          <a:lnTo>
                            <a:pt x="185" y="13"/>
                          </a:lnTo>
                          <a:lnTo>
                            <a:pt x="185" y="9"/>
                          </a:lnTo>
                          <a:lnTo>
                            <a:pt x="188" y="6"/>
                          </a:lnTo>
                          <a:lnTo>
                            <a:pt x="191" y="3"/>
                          </a:lnTo>
                          <a:lnTo>
                            <a:pt x="195" y="0"/>
                          </a:lnTo>
                          <a:lnTo>
                            <a:pt x="19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grpSp>
                <p:nvGrpSpPr>
                  <p:cNvPr id="218" name="Group 217"/>
                  <p:cNvGrpSpPr/>
                  <p:nvPr/>
                </p:nvGrpSpPr>
                <p:grpSpPr>
                  <a:xfrm>
                    <a:off x="8416926" y="1336675"/>
                    <a:ext cx="1506538" cy="4883151"/>
                    <a:chOff x="8416926" y="1336675"/>
                    <a:chExt cx="1506538" cy="4883151"/>
                  </a:xfrm>
                </p:grpSpPr>
                <p:sp>
                  <p:nvSpPr>
                    <p:cNvPr id="219" name="Freeform 25"/>
                    <p:cNvSpPr>
                      <a:spLocks/>
                    </p:cNvSpPr>
                    <p:nvPr/>
                  </p:nvSpPr>
                  <p:spPr bwMode="auto">
                    <a:xfrm>
                      <a:off x="8416926" y="1336675"/>
                      <a:ext cx="1069975" cy="4883150"/>
                    </a:xfrm>
                    <a:custGeom>
                      <a:avLst/>
                      <a:gdLst>
                        <a:gd name="T0" fmla="*/ 21 w 674"/>
                        <a:gd name="T1" fmla="*/ 0 h 3076"/>
                        <a:gd name="T2" fmla="*/ 38 w 674"/>
                        <a:gd name="T3" fmla="*/ 0 h 3076"/>
                        <a:gd name="T4" fmla="*/ 53 w 674"/>
                        <a:gd name="T5" fmla="*/ 0 h 3076"/>
                        <a:gd name="T6" fmla="*/ 68 w 674"/>
                        <a:gd name="T7" fmla="*/ 1 h 3076"/>
                        <a:gd name="T8" fmla="*/ 78 w 674"/>
                        <a:gd name="T9" fmla="*/ 1 h 3076"/>
                        <a:gd name="T10" fmla="*/ 82 w 674"/>
                        <a:gd name="T11" fmla="*/ 1 h 3076"/>
                        <a:gd name="T12" fmla="*/ 674 w 674"/>
                        <a:gd name="T13" fmla="*/ 3076 h 3076"/>
                        <a:gd name="T14" fmla="*/ 544 w 674"/>
                        <a:gd name="T15" fmla="*/ 3052 h 3076"/>
                        <a:gd name="T16" fmla="*/ 0 w 674"/>
                        <a:gd name="T17" fmla="*/ 1 h 3076"/>
                        <a:gd name="T18" fmla="*/ 8 w 674"/>
                        <a:gd name="T19" fmla="*/ 0 h 3076"/>
                        <a:gd name="T20" fmla="*/ 21 w 674"/>
                        <a:gd name="T21" fmla="*/ 0 h 3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4" h="3076">
                          <a:moveTo>
                            <a:pt x="21" y="0"/>
                          </a:moveTo>
                          <a:lnTo>
                            <a:pt x="38" y="0"/>
                          </a:lnTo>
                          <a:lnTo>
                            <a:pt x="53" y="0"/>
                          </a:lnTo>
                          <a:lnTo>
                            <a:pt x="68" y="1"/>
                          </a:lnTo>
                          <a:lnTo>
                            <a:pt x="78" y="1"/>
                          </a:lnTo>
                          <a:lnTo>
                            <a:pt x="82" y="1"/>
                          </a:lnTo>
                          <a:lnTo>
                            <a:pt x="674" y="3076"/>
                          </a:lnTo>
                          <a:lnTo>
                            <a:pt x="544" y="3052"/>
                          </a:lnTo>
                          <a:lnTo>
                            <a:pt x="0" y="1"/>
                          </a:lnTo>
                          <a:lnTo>
                            <a:pt x="8" y="0"/>
                          </a:lnTo>
                          <a:lnTo>
                            <a:pt x="21"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0" name="Freeform 26"/>
                    <p:cNvSpPr>
                      <a:spLocks/>
                    </p:cNvSpPr>
                    <p:nvPr/>
                  </p:nvSpPr>
                  <p:spPr bwMode="auto">
                    <a:xfrm>
                      <a:off x="8878888" y="1633538"/>
                      <a:ext cx="1000125" cy="4325938"/>
                    </a:xfrm>
                    <a:custGeom>
                      <a:avLst/>
                      <a:gdLst>
                        <a:gd name="T0" fmla="*/ 0 w 630"/>
                        <a:gd name="T1" fmla="*/ 0 h 2725"/>
                        <a:gd name="T2" fmla="*/ 30 w 630"/>
                        <a:gd name="T3" fmla="*/ 2 h 2725"/>
                        <a:gd name="T4" fmla="*/ 50 w 630"/>
                        <a:gd name="T5" fmla="*/ 2 h 2725"/>
                        <a:gd name="T6" fmla="*/ 65 w 630"/>
                        <a:gd name="T7" fmla="*/ 2 h 2725"/>
                        <a:gd name="T8" fmla="*/ 70 w 630"/>
                        <a:gd name="T9" fmla="*/ 2 h 2725"/>
                        <a:gd name="T10" fmla="*/ 630 w 630"/>
                        <a:gd name="T11" fmla="*/ 2725 h 2725"/>
                        <a:gd name="T12" fmla="*/ 524 w 630"/>
                        <a:gd name="T13" fmla="*/ 2716 h 2725"/>
                        <a:gd name="T14" fmla="*/ 0 w 630"/>
                        <a:gd name="T15" fmla="*/ 0 h 27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0" h="2725">
                          <a:moveTo>
                            <a:pt x="0" y="0"/>
                          </a:moveTo>
                          <a:lnTo>
                            <a:pt x="30" y="2"/>
                          </a:lnTo>
                          <a:lnTo>
                            <a:pt x="50" y="2"/>
                          </a:lnTo>
                          <a:lnTo>
                            <a:pt x="65" y="2"/>
                          </a:lnTo>
                          <a:lnTo>
                            <a:pt x="70" y="2"/>
                          </a:lnTo>
                          <a:lnTo>
                            <a:pt x="630" y="2725"/>
                          </a:lnTo>
                          <a:lnTo>
                            <a:pt x="524" y="2716"/>
                          </a:lnTo>
                          <a:lnTo>
                            <a:pt x="0"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1" name="Freeform 39"/>
                    <p:cNvSpPr>
                      <a:spLocks noEditPoints="1"/>
                    </p:cNvSpPr>
                    <p:nvPr/>
                  </p:nvSpPr>
                  <p:spPr bwMode="auto">
                    <a:xfrm>
                      <a:off x="8547101" y="1338262"/>
                      <a:ext cx="1376363" cy="4881564"/>
                    </a:xfrm>
                    <a:custGeom>
                      <a:avLst/>
                      <a:gdLst>
                        <a:gd name="T0" fmla="*/ 653 w 867"/>
                        <a:gd name="T1" fmla="*/ 2005 h 3075"/>
                        <a:gd name="T2" fmla="*/ 428 w 867"/>
                        <a:gd name="T3" fmla="*/ 2014 h 3075"/>
                        <a:gd name="T4" fmla="*/ 516 w 867"/>
                        <a:gd name="T5" fmla="*/ 2465 h 3075"/>
                        <a:gd name="T6" fmla="*/ 733 w 867"/>
                        <a:gd name="T7" fmla="*/ 2398 h 3075"/>
                        <a:gd name="T8" fmla="*/ 653 w 867"/>
                        <a:gd name="T9" fmla="*/ 2005 h 3075"/>
                        <a:gd name="T10" fmla="*/ 328 w 867"/>
                        <a:gd name="T11" fmla="*/ 1506 h 3075"/>
                        <a:gd name="T12" fmla="*/ 416 w 867"/>
                        <a:gd name="T13" fmla="*/ 1958 h 3075"/>
                        <a:gd name="T14" fmla="*/ 642 w 867"/>
                        <a:gd name="T15" fmla="*/ 1958 h 3075"/>
                        <a:gd name="T16" fmla="*/ 557 w 867"/>
                        <a:gd name="T17" fmla="*/ 1544 h 3075"/>
                        <a:gd name="T18" fmla="*/ 328 w 867"/>
                        <a:gd name="T19" fmla="*/ 1506 h 3075"/>
                        <a:gd name="T20" fmla="*/ 230 w 867"/>
                        <a:gd name="T21" fmla="*/ 1004 h 3075"/>
                        <a:gd name="T22" fmla="*/ 318 w 867"/>
                        <a:gd name="T23" fmla="*/ 1449 h 3075"/>
                        <a:gd name="T24" fmla="*/ 548 w 867"/>
                        <a:gd name="T25" fmla="*/ 1495 h 3075"/>
                        <a:gd name="T26" fmla="*/ 464 w 867"/>
                        <a:gd name="T27" fmla="*/ 1086 h 3075"/>
                        <a:gd name="T28" fmla="*/ 230 w 867"/>
                        <a:gd name="T29" fmla="*/ 1004 h 3075"/>
                        <a:gd name="T30" fmla="*/ 131 w 867"/>
                        <a:gd name="T31" fmla="*/ 495 h 3075"/>
                        <a:gd name="T32" fmla="*/ 219 w 867"/>
                        <a:gd name="T33" fmla="*/ 948 h 3075"/>
                        <a:gd name="T34" fmla="*/ 453 w 867"/>
                        <a:gd name="T35" fmla="*/ 1038 h 3075"/>
                        <a:gd name="T36" fmla="*/ 364 w 867"/>
                        <a:gd name="T37" fmla="*/ 603 h 3075"/>
                        <a:gd name="T38" fmla="*/ 131 w 867"/>
                        <a:gd name="T39" fmla="*/ 495 h 3075"/>
                        <a:gd name="T40" fmla="*/ 0 w 867"/>
                        <a:gd name="T41" fmla="*/ 0 h 3075"/>
                        <a:gd name="T42" fmla="*/ 39 w 867"/>
                        <a:gd name="T43" fmla="*/ 21 h 3075"/>
                        <a:gd name="T44" fmla="*/ 120 w 867"/>
                        <a:gd name="T45" fmla="*/ 439 h 3075"/>
                        <a:gd name="T46" fmla="*/ 355 w 867"/>
                        <a:gd name="T47" fmla="*/ 555 h 3075"/>
                        <a:gd name="T48" fmla="*/ 279 w 867"/>
                        <a:gd name="T49" fmla="*/ 188 h 3075"/>
                        <a:gd name="T50" fmla="*/ 315 w 867"/>
                        <a:gd name="T51" fmla="*/ 205 h 3075"/>
                        <a:gd name="T52" fmla="*/ 389 w 867"/>
                        <a:gd name="T53" fmla="*/ 571 h 3075"/>
                        <a:gd name="T54" fmla="*/ 389 w 867"/>
                        <a:gd name="T55" fmla="*/ 571 h 3075"/>
                        <a:gd name="T56" fmla="*/ 398 w 867"/>
                        <a:gd name="T57" fmla="*/ 611 h 3075"/>
                        <a:gd name="T58" fmla="*/ 581 w 867"/>
                        <a:gd name="T59" fmla="*/ 1503 h 3075"/>
                        <a:gd name="T60" fmla="*/ 583 w 867"/>
                        <a:gd name="T61" fmla="*/ 1503 h 3075"/>
                        <a:gd name="T62" fmla="*/ 592 w 867"/>
                        <a:gd name="T63" fmla="*/ 1550 h 3075"/>
                        <a:gd name="T64" fmla="*/ 592 w 867"/>
                        <a:gd name="T65" fmla="*/ 1550 h 3075"/>
                        <a:gd name="T66" fmla="*/ 867 w 867"/>
                        <a:gd name="T67" fmla="*/ 2889 h 3075"/>
                        <a:gd name="T68" fmla="*/ 839 w 867"/>
                        <a:gd name="T69" fmla="*/ 2911 h 3075"/>
                        <a:gd name="T70" fmla="*/ 743 w 867"/>
                        <a:gd name="T71" fmla="*/ 2446 h 3075"/>
                        <a:gd name="T72" fmla="*/ 526 w 867"/>
                        <a:gd name="T73" fmla="*/ 2523 h 3075"/>
                        <a:gd name="T74" fmla="*/ 627 w 867"/>
                        <a:gd name="T75" fmla="*/ 3042 h 3075"/>
                        <a:gd name="T76" fmla="*/ 592 w 867"/>
                        <a:gd name="T77" fmla="*/ 3075 h 3075"/>
                        <a:gd name="T78" fmla="*/ 91 w 867"/>
                        <a:gd name="T79" fmla="*/ 476 h 3075"/>
                        <a:gd name="T80" fmla="*/ 81 w 867"/>
                        <a:gd name="T81" fmla="*/ 420 h 3075"/>
                        <a:gd name="T82" fmla="*/ 81 w 867"/>
                        <a:gd name="T83" fmla="*/ 420 h 3075"/>
                        <a:gd name="T84" fmla="*/ 0 w 867"/>
                        <a:gd name="T85" fmla="*/ 0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7" h="3075">
                          <a:moveTo>
                            <a:pt x="653" y="2005"/>
                          </a:moveTo>
                          <a:lnTo>
                            <a:pt x="428" y="2014"/>
                          </a:lnTo>
                          <a:lnTo>
                            <a:pt x="516" y="2465"/>
                          </a:lnTo>
                          <a:lnTo>
                            <a:pt x="733" y="2398"/>
                          </a:lnTo>
                          <a:lnTo>
                            <a:pt x="653" y="2005"/>
                          </a:lnTo>
                          <a:close/>
                          <a:moveTo>
                            <a:pt x="328" y="1506"/>
                          </a:moveTo>
                          <a:lnTo>
                            <a:pt x="416" y="1958"/>
                          </a:lnTo>
                          <a:lnTo>
                            <a:pt x="642" y="1958"/>
                          </a:lnTo>
                          <a:lnTo>
                            <a:pt x="557" y="1544"/>
                          </a:lnTo>
                          <a:lnTo>
                            <a:pt x="328" y="1506"/>
                          </a:lnTo>
                          <a:close/>
                          <a:moveTo>
                            <a:pt x="230" y="1004"/>
                          </a:moveTo>
                          <a:lnTo>
                            <a:pt x="318" y="1449"/>
                          </a:lnTo>
                          <a:lnTo>
                            <a:pt x="548" y="1495"/>
                          </a:lnTo>
                          <a:lnTo>
                            <a:pt x="464" y="1086"/>
                          </a:lnTo>
                          <a:lnTo>
                            <a:pt x="230" y="1004"/>
                          </a:lnTo>
                          <a:close/>
                          <a:moveTo>
                            <a:pt x="131" y="495"/>
                          </a:moveTo>
                          <a:lnTo>
                            <a:pt x="219" y="948"/>
                          </a:lnTo>
                          <a:lnTo>
                            <a:pt x="453" y="1038"/>
                          </a:lnTo>
                          <a:lnTo>
                            <a:pt x="364" y="603"/>
                          </a:lnTo>
                          <a:lnTo>
                            <a:pt x="131" y="495"/>
                          </a:lnTo>
                          <a:close/>
                          <a:moveTo>
                            <a:pt x="0" y="0"/>
                          </a:moveTo>
                          <a:lnTo>
                            <a:pt x="39" y="21"/>
                          </a:lnTo>
                          <a:lnTo>
                            <a:pt x="120" y="439"/>
                          </a:lnTo>
                          <a:lnTo>
                            <a:pt x="355" y="555"/>
                          </a:lnTo>
                          <a:lnTo>
                            <a:pt x="279" y="188"/>
                          </a:lnTo>
                          <a:lnTo>
                            <a:pt x="315" y="205"/>
                          </a:lnTo>
                          <a:lnTo>
                            <a:pt x="389" y="571"/>
                          </a:lnTo>
                          <a:lnTo>
                            <a:pt x="389" y="571"/>
                          </a:lnTo>
                          <a:lnTo>
                            <a:pt x="398" y="611"/>
                          </a:lnTo>
                          <a:lnTo>
                            <a:pt x="581" y="1503"/>
                          </a:lnTo>
                          <a:lnTo>
                            <a:pt x="583" y="1503"/>
                          </a:lnTo>
                          <a:lnTo>
                            <a:pt x="592" y="1550"/>
                          </a:lnTo>
                          <a:lnTo>
                            <a:pt x="592" y="1550"/>
                          </a:lnTo>
                          <a:lnTo>
                            <a:pt x="867" y="2889"/>
                          </a:lnTo>
                          <a:lnTo>
                            <a:pt x="839" y="2911"/>
                          </a:lnTo>
                          <a:lnTo>
                            <a:pt x="743" y="2446"/>
                          </a:lnTo>
                          <a:lnTo>
                            <a:pt x="526" y="2523"/>
                          </a:lnTo>
                          <a:lnTo>
                            <a:pt x="627" y="3042"/>
                          </a:lnTo>
                          <a:lnTo>
                            <a:pt x="592" y="3075"/>
                          </a:lnTo>
                          <a:lnTo>
                            <a:pt x="91" y="476"/>
                          </a:lnTo>
                          <a:lnTo>
                            <a:pt x="81" y="420"/>
                          </a:lnTo>
                          <a:lnTo>
                            <a:pt x="81" y="420"/>
                          </a:lnTo>
                          <a:lnTo>
                            <a:pt x="0" y="0"/>
                          </a:lnTo>
                          <a:close/>
                        </a:path>
                      </a:pathLst>
                    </a:custGeom>
                    <a:solidFill>
                      <a:srgbClr val="FFFFFF">
                        <a:lumMod val="9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2" name="Freeform 40"/>
                    <p:cNvSpPr>
                      <a:spLocks/>
                    </p:cNvSpPr>
                    <p:nvPr/>
                  </p:nvSpPr>
                  <p:spPr bwMode="auto">
                    <a:xfrm>
                      <a:off x="8755063" y="2124075"/>
                      <a:ext cx="369888" cy="182563"/>
                    </a:xfrm>
                    <a:custGeom>
                      <a:avLst/>
                      <a:gdLst>
                        <a:gd name="T0" fmla="*/ 0 w 233"/>
                        <a:gd name="T1" fmla="*/ 0 h 115"/>
                        <a:gd name="T2" fmla="*/ 233 w 233"/>
                        <a:gd name="T3" fmla="*/ 108 h 115"/>
                        <a:gd name="T4" fmla="*/ 161 w 233"/>
                        <a:gd name="T5" fmla="*/ 115 h 115"/>
                        <a:gd name="T6" fmla="*/ 9 w 233"/>
                        <a:gd name="T7" fmla="*/ 47 h 115"/>
                        <a:gd name="T8" fmla="*/ 0 w 233"/>
                        <a:gd name="T9" fmla="*/ 0 h 115"/>
                      </a:gdLst>
                      <a:ahLst/>
                      <a:cxnLst>
                        <a:cxn ang="0">
                          <a:pos x="T0" y="T1"/>
                        </a:cxn>
                        <a:cxn ang="0">
                          <a:pos x="T2" y="T3"/>
                        </a:cxn>
                        <a:cxn ang="0">
                          <a:pos x="T4" y="T5"/>
                        </a:cxn>
                        <a:cxn ang="0">
                          <a:pos x="T6" y="T7"/>
                        </a:cxn>
                        <a:cxn ang="0">
                          <a:pos x="T8" y="T9"/>
                        </a:cxn>
                      </a:cxnLst>
                      <a:rect l="0" t="0" r="r" b="b"/>
                      <a:pathLst>
                        <a:path w="233" h="115">
                          <a:moveTo>
                            <a:pt x="0" y="0"/>
                          </a:moveTo>
                          <a:lnTo>
                            <a:pt x="233" y="108"/>
                          </a:lnTo>
                          <a:lnTo>
                            <a:pt x="161" y="115"/>
                          </a:lnTo>
                          <a:lnTo>
                            <a:pt x="9" y="47"/>
                          </a:lnTo>
                          <a:lnTo>
                            <a:pt x="0"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3" name="Freeform 41"/>
                    <p:cNvSpPr>
                      <a:spLocks/>
                    </p:cNvSpPr>
                    <p:nvPr/>
                  </p:nvSpPr>
                  <p:spPr bwMode="auto">
                    <a:xfrm>
                      <a:off x="8912226" y="2932113"/>
                      <a:ext cx="371475" cy="149225"/>
                    </a:xfrm>
                    <a:custGeom>
                      <a:avLst/>
                      <a:gdLst>
                        <a:gd name="T0" fmla="*/ 0 w 234"/>
                        <a:gd name="T1" fmla="*/ 0 h 94"/>
                        <a:gd name="T2" fmla="*/ 234 w 234"/>
                        <a:gd name="T3" fmla="*/ 82 h 94"/>
                        <a:gd name="T4" fmla="*/ 158 w 234"/>
                        <a:gd name="T5" fmla="*/ 94 h 94"/>
                        <a:gd name="T6" fmla="*/ 10 w 234"/>
                        <a:gd name="T7" fmla="*/ 46 h 94"/>
                        <a:gd name="T8" fmla="*/ 0 w 234"/>
                        <a:gd name="T9" fmla="*/ 0 h 94"/>
                      </a:gdLst>
                      <a:ahLst/>
                      <a:cxnLst>
                        <a:cxn ang="0">
                          <a:pos x="T0" y="T1"/>
                        </a:cxn>
                        <a:cxn ang="0">
                          <a:pos x="T2" y="T3"/>
                        </a:cxn>
                        <a:cxn ang="0">
                          <a:pos x="T4" y="T5"/>
                        </a:cxn>
                        <a:cxn ang="0">
                          <a:pos x="T6" y="T7"/>
                        </a:cxn>
                        <a:cxn ang="0">
                          <a:pos x="T8" y="T9"/>
                        </a:cxn>
                      </a:cxnLst>
                      <a:rect l="0" t="0" r="r" b="b"/>
                      <a:pathLst>
                        <a:path w="234" h="94">
                          <a:moveTo>
                            <a:pt x="0" y="0"/>
                          </a:moveTo>
                          <a:lnTo>
                            <a:pt x="234" y="82"/>
                          </a:lnTo>
                          <a:lnTo>
                            <a:pt x="158" y="94"/>
                          </a:lnTo>
                          <a:lnTo>
                            <a:pt x="10" y="46"/>
                          </a:lnTo>
                          <a:lnTo>
                            <a:pt x="0"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4" name="Freeform 42"/>
                    <p:cNvSpPr>
                      <a:spLocks/>
                    </p:cNvSpPr>
                    <p:nvPr/>
                  </p:nvSpPr>
                  <p:spPr bwMode="auto">
                    <a:xfrm>
                      <a:off x="9067801" y="3729038"/>
                      <a:ext cx="368300" cy="69850"/>
                    </a:xfrm>
                    <a:custGeom>
                      <a:avLst/>
                      <a:gdLst>
                        <a:gd name="T0" fmla="*/ 0 w 232"/>
                        <a:gd name="T1" fmla="*/ 0 h 44"/>
                        <a:gd name="T2" fmla="*/ 232 w 232"/>
                        <a:gd name="T3" fmla="*/ 38 h 44"/>
                        <a:gd name="T4" fmla="*/ 144 w 232"/>
                        <a:gd name="T5" fmla="*/ 44 h 44"/>
                        <a:gd name="T6" fmla="*/ 4 w 232"/>
                        <a:gd name="T7" fmla="*/ 22 h 44"/>
                        <a:gd name="T8" fmla="*/ 0 w 232"/>
                        <a:gd name="T9" fmla="*/ 0 h 44"/>
                      </a:gdLst>
                      <a:ahLst/>
                      <a:cxnLst>
                        <a:cxn ang="0">
                          <a:pos x="T0" y="T1"/>
                        </a:cxn>
                        <a:cxn ang="0">
                          <a:pos x="T2" y="T3"/>
                        </a:cxn>
                        <a:cxn ang="0">
                          <a:pos x="T4" y="T5"/>
                        </a:cxn>
                        <a:cxn ang="0">
                          <a:pos x="T6" y="T7"/>
                        </a:cxn>
                        <a:cxn ang="0">
                          <a:pos x="T8" y="T9"/>
                        </a:cxn>
                      </a:cxnLst>
                      <a:rect l="0" t="0" r="r" b="b"/>
                      <a:pathLst>
                        <a:path w="232" h="44">
                          <a:moveTo>
                            <a:pt x="0" y="0"/>
                          </a:moveTo>
                          <a:lnTo>
                            <a:pt x="232" y="38"/>
                          </a:lnTo>
                          <a:lnTo>
                            <a:pt x="144" y="44"/>
                          </a:lnTo>
                          <a:lnTo>
                            <a:pt x="4" y="22"/>
                          </a:lnTo>
                          <a:lnTo>
                            <a:pt x="0"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5" name="Freeform 43"/>
                    <p:cNvSpPr>
                      <a:spLocks/>
                    </p:cNvSpPr>
                    <p:nvPr/>
                  </p:nvSpPr>
                  <p:spPr bwMode="auto">
                    <a:xfrm>
                      <a:off x="9226551" y="4521200"/>
                      <a:ext cx="357188" cy="26988"/>
                    </a:xfrm>
                    <a:custGeom>
                      <a:avLst/>
                      <a:gdLst>
                        <a:gd name="T0" fmla="*/ 225 w 225"/>
                        <a:gd name="T1" fmla="*/ 0 h 17"/>
                        <a:gd name="T2" fmla="*/ 138 w 225"/>
                        <a:gd name="T3" fmla="*/ 12 h 17"/>
                        <a:gd name="T4" fmla="*/ 1 w 225"/>
                        <a:gd name="T5" fmla="*/ 17 h 17"/>
                        <a:gd name="T6" fmla="*/ 0 w 225"/>
                        <a:gd name="T7" fmla="*/ 9 h 17"/>
                        <a:gd name="T8" fmla="*/ 225 w 225"/>
                        <a:gd name="T9" fmla="*/ 0 h 17"/>
                      </a:gdLst>
                      <a:ahLst/>
                      <a:cxnLst>
                        <a:cxn ang="0">
                          <a:pos x="T0" y="T1"/>
                        </a:cxn>
                        <a:cxn ang="0">
                          <a:pos x="T2" y="T3"/>
                        </a:cxn>
                        <a:cxn ang="0">
                          <a:pos x="T4" y="T5"/>
                        </a:cxn>
                        <a:cxn ang="0">
                          <a:pos x="T6" y="T7"/>
                        </a:cxn>
                        <a:cxn ang="0">
                          <a:pos x="T8" y="T9"/>
                        </a:cxn>
                      </a:cxnLst>
                      <a:rect l="0" t="0" r="r" b="b"/>
                      <a:pathLst>
                        <a:path w="225" h="17">
                          <a:moveTo>
                            <a:pt x="225" y="0"/>
                          </a:moveTo>
                          <a:lnTo>
                            <a:pt x="138" y="12"/>
                          </a:lnTo>
                          <a:lnTo>
                            <a:pt x="1" y="17"/>
                          </a:lnTo>
                          <a:lnTo>
                            <a:pt x="0" y="9"/>
                          </a:lnTo>
                          <a:lnTo>
                            <a:pt x="225"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26" name="Freeform 44"/>
                    <p:cNvSpPr>
                      <a:spLocks/>
                    </p:cNvSpPr>
                    <p:nvPr/>
                  </p:nvSpPr>
                  <p:spPr bwMode="auto">
                    <a:xfrm>
                      <a:off x="9358313" y="5145088"/>
                      <a:ext cx="352425" cy="106363"/>
                    </a:xfrm>
                    <a:custGeom>
                      <a:avLst/>
                      <a:gdLst>
                        <a:gd name="T0" fmla="*/ 222 w 222"/>
                        <a:gd name="T1" fmla="*/ 0 h 67"/>
                        <a:gd name="T2" fmla="*/ 5 w 222"/>
                        <a:gd name="T3" fmla="*/ 67 h 67"/>
                        <a:gd name="T4" fmla="*/ 0 w 222"/>
                        <a:gd name="T5" fmla="*/ 48 h 67"/>
                        <a:gd name="T6" fmla="*/ 131 w 222"/>
                        <a:gd name="T7" fmla="*/ 9 h 67"/>
                        <a:gd name="T8" fmla="*/ 222 w 222"/>
                        <a:gd name="T9" fmla="*/ 0 h 67"/>
                      </a:gdLst>
                      <a:ahLst/>
                      <a:cxnLst>
                        <a:cxn ang="0">
                          <a:pos x="T0" y="T1"/>
                        </a:cxn>
                        <a:cxn ang="0">
                          <a:pos x="T2" y="T3"/>
                        </a:cxn>
                        <a:cxn ang="0">
                          <a:pos x="T4" y="T5"/>
                        </a:cxn>
                        <a:cxn ang="0">
                          <a:pos x="T6" y="T7"/>
                        </a:cxn>
                        <a:cxn ang="0">
                          <a:pos x="T8" y="T9"/>
                        </a:cxn>
                      </a:cxnLst>
                      <a:rect l="0" t="0" r="r" b="b"/>
                      <a:pathLst>
                        <a:path w="222" h="67">
                          <a:moveTo>
                            <a:pt x="222" y="0"/>
                          </a:moveTo>
                          <a:lnTo>
                            <a:pt x="5" y="67"/>
                          </a:lnTo>
                          <a:lnTo>
                            <a:pt x="0" y="48"/>
                          </a:lnTo>
                          <a:lnTo>
                            <a:pt x="131" y="9"/>
                          </a:lnTo>
                          <a:lnTo>
                            <a:pt x="222"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grpSp>
            <p:sp>
              <p:nvSpPr>
                <p:cNvPr id="184" name="TextBox 183"/>
                <p:cNvSpPr txBox="1"/>
                <p:nvPr/>
              </p:nvSpPr>
              <p:spPr>
                <a:xfrm>
                  <a:off x="1273667" y="1607389"/>
                  <a:ext cx="771966" cy="86626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prstClr val="white"/>
                      </a:solidFill>
                      <a:effectLst/>
                      <a:uLnTx/>
                      <a:uFillTx/>
                      <a:latin typeface="Arial" pitchFamily="34" charset="0"/>
                      <a:cs typeface="Arial" panose="020B0604020202020204" pitchFamily="34" charset="0"/>
                    </a:rPr>
                    <a:t>05</a:t>
                  </a:r>
                </a:p>
              </p:txBody>
            </p:sp>
            <p:sp>
              <p:nvSpPr>
                <p:cNvPr id="185" name="TextBox 184"/>
                <p:cNvSpPr txBox="1"/>
                <p:nvPr/>
              </p:nvSpPr>
              <p:spPr>
                <a:xfrm>
                  <a:off x="1273667" y="2487284"/>
                  <a:ext cx="771966" cy="86626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prstClr val="white"/>
                      </a:solidFill>
                      <a:effectLst/>
                      <a:uLnTx/>
                      <a:uFillTx/>
                      <a:latin typeface="Arial" pitchFamily="34" charset="0"/>
                      <a:cs typeface="Arial" panose="020B0604020202020204" pitchFamily="34" charset="0"/>
                    </a:rPr>
                    <a:t>04</a:t>
                  </a:r>
                </a:p>
              </p:txBody>
            </p:sp>
            <p:sp>
              <p:nvSpPr>
                <p:cNvPr id="186" name="TextBox 185"/>
                <p:cNvSpPr txBox="1"/>
                <p:nvPr/>
              </p:nvSpPr>
              <p:spPr>
                <a:xfrm>
                  <a:off x="1273667" y="3349926"/>
                  <a:ext cx="771966" cy="86626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prstClr val="white"/>
                      </a:solidFill>
                      <a:effectLst/>
                      <a:uLnTx/>
                      <a:uFillTx/>
                      <a:latin typeface="Arial" pitchFamily="34" charset="0"/>
                      <a:cs typeface="Arial" panose="020B0604020202020204" pitchFamily="34" charset="0"/>
                    </a:rPr>
                    <a:t>03</a:t>
                  </a:r>
                </a:p>
              </p:txBody>
            </p:sp>
            <p:sp>
              <p:nvSpPr>
                <p:cNvPr id="187" name="TextBox 186"/>
                <p:cNvSpPr txBox="1"/>
                <p:nvPr/>
              </p:nvSpPr>
              <p:spPr>
                <a:xfrm>
                  <a:off x="1273667" y="4291221"/>
                  <a:ext cx="771966" cy="86626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prstClr val="white"/>
                      </a:solidFill>
                      <a:effectLst/>
                      <a:uLnTx/>
                      <a:uFillTx/>
                      <a:latin typeface="Arial" pitchFamily="34" charset="0"/>
                      <a:cs typeface="Arial" panose="020B0604020202020204" pitchFamily="34" charset="0"/>
                    </a:rPr>
                    <a:t>02</a:t>
                  </a:r>
                </a:p>
              </p:txBody>
            </p:sp>
            <p:sp>
              <p:nvSpPr>
                <p:cNvPr id="188" name="TextBox 187"/>
                <p:cNvSpPr txBox="1"/>
                <p:nvPr/>
              </p:nvSpPr>
              <p:spPr>
                <a:xfrm>
                  <a:off x="1273667" y="5195979"/>
                  <a:ext cx="771966" cy="86626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prstClr val="white"/>
                      </a:solidFill>
                      <a:effectLst/>
                      <a:uLnTx/>
                      <a:uFillTx/>
                      <a:latin typeface="Arial" pitchFamily="34" charset="0"/>
                      <a:cs typeface="Arial" panose="020B0604020202020204" pitchFamily="34" charset="0"/>
                    </a:rPr>
                    <a:t>01</a:t>
                  </a:r>
                </a:p>
              </p:txBody>
            </p:sp>
          </p:grpSp>
          <p:sp>
            <p:nvSpPr>
              <p:cNvPr id="237" name="Content Placeholder 4"/>
              <p:cNvSpPr txBox="1">
                <a:spLocks/>
              </p:cNvSpPr>
              <p:nvPr/>
            </p:nvSpPr>
            <p:spPr>
              <a:xfrm>
                <a:off x="3675380" y="4728604"/>
                <a:ext cx="2758059" cy="478265"/>
              </a:xfrm>
              <a:prstGeom prst="rect">
                <a:avLst/>
              </a:prstGeom>
            </p:spPr>
            <p:txBody>
              <a:bodyPr anchor="ctr">
                <a:norm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200" b="1" kern="0">
                    <a:solidFill>
                      <a:schemeClr val="bg1"/>
                    </a:solidFill>
                    <a:latin typeface="Arial" pitchFamily="34" charset="0"/>
                    <a:cs typeface="Arial" panose="020B0604020202020204" pitchFamily="34" charset="0"/>
                  </a:rPr>
                  <a:t>Talent Reviews for Managers, Senior Managers &amp; Portfolio Mgrs.</a:t>
                </a:r>
                <a:endParaRPr lang="en-US" sz="1200" b="1">
                  <a:solidFill>
                    <a:schemeClr val="bg1"/>
                  </a:solidFill>
                  <a:latin typeface="Arial" panose="020B0604020202020204" pitchFamily="34" charset="0"/>
                  <a:cs typeface="Arial" panose="020B0604020202020204" pitchFamily="34" charset="0"/>
                </a:endParaRPr>
              </a:p>
            </p:txBody>
          </p:sp>
          <p:sp>
            <p:nvSpPr>
              <p:cNvPr id="238" name="Content Placeholder 4"/>
              <p:cNvSpPr txBox="1">
                <a:spLocks/>
              </p:cNvSpPr>
              <p:nvPr/>
            </p:nvSpPr>
            <p:spPr>
              <a:xfrm>
                <a:off x="3738798" y="4038145"/>
                <a:ext cx="2758059" cy="478265"/>
              </a:xfrm>
              <a:prstGeom prst="rect">
                <a:avLst/>
              </a:prstGeom>
            </p:spPr>
            <p:txBody>
              <a:bodyPr anchor="ctr">
                <a:norm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200" b="1" kern="0">
                    <a:solidFill>
                      <a:prstClr val="white"/>
                    </a:solidFill>
                    <a:latin typeface="Arial" pitchFamily="34" charset="0"/>
                    <a:cs typeface="Arial" panose="020B0604020202020204" pitchFamily="34" charset="0"/>
                  </a:rPr>
                  <a:t>Strategic Talent Reviews for Directors, Sr. Directors &amp; VPs</a:t>
                </a:r>
                <a:endParaRPr lang="en-US" sz="1200" b="1">
                  <a:solidFill>
                    <a:prstClr val="white"/>
                  </a:solidFill>
                  <a:latin typeface="Arial" panose="020B0604020202020204" pitchFamily="34" charset="0"/>
                  <a:cs typeface="Arial" panose="020B0604020202020204" pitchFamily="34" charset="0"/>
                </a:endParaRPr>
              </a:p>
            </p:txBody>
          </p:sp>
          <p:sp>
            <p:nvSpPr>
              <p:cNvPr id="239" name="Content Placeholder 4"/>
              <p:cNvSpPr txBox="1">
                <a:spLocks/>
              </p:cNvSpPr>
              <p:nvPr/>
            </p:nvSpPr>
            <p:spPr>
              <a:xfrm>
                <a:off x="3739932" y="3356441"/>
                <a:ext cx="2758059" cy="478265"/>
              </a:xfrm>
              <a:prstGeom prst="rect">
                <a:avLst/>
              </a:prstGeom>
            </p:spPr>
            <p:txBody>
              <a:bodyPr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200" b="1" kern="0">
                    <a:solidFill>
                      <a:prstClr val="white"/>
                    </a:solidFill>
                    <a:latin typeface="Arial" pitchFamily="34" charset="0"/>
                    <a:cs typeface="Arial" panose="020B0604020202020204" pitchFamily="34" charset="0"/>
                  </a:rPr>
                  <a:t>Identification of Potential (High, Medium, Low)</a:t>
                </a:r>
                <a:endParaRPr lang="en-US" sz="1200" b="1">
                  <a:solidFill>
                    <a:prstClr val="white"/>
                  </a:solidFill>
                  <a:latin typeface="Arial" panose="020B0604020202020204" pitchFamily="34" charset="0"/>
                  <a:cs typeface="Arial" panose="020B0604020202020204" pitchFamily="34" charset="0"/>
                </a:endParaRPr>
              </a:p>
            </p:txBody>
          </p:sp>
          <p:sp>
            <p:nvSpPr>
              <p:cNvPr id="240" name="Content Placeholder 4"/>
              <p:cNvSpPr txBox="1">
                <a:spLocks/>
              </p:cNvSpPr>
              <p:nvPr/>
            </p:nvSpPr>
            <p:spPr>
              <a:xfrm>
                <a:off x="3601188" y="2706254"/>
                <a:ext cx="2945854" cy="478265"/>
              </a:xfrm>
              <a:prstGeom prst="rect">
                <a:avLst/>
              </a:prstGeom>
            </p:spPr>
            <p:txBody>
              <a:bodyPr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lvl="0" indent="12700" defTabSz="895350" eaLnBrk="0" fontAlgn="base" hangingPunct="0">
                  <a:spcBef>
                    <a:spcPct val="0"/>
                  </a:spcBef>
                  <a:spcAft>
                    <a:spcPct val="0"/>
                  </a:spcAft>
                  <a:buClr>
                    <a:srgbClr val="002060"/>
                  </a:buClr>
                  <a:defRPr/>
                </a:pPr>
                <a:r>
                  <a:rPr lang="en-US" sz="1200" b="1" kern="0">
                    <a:latin typeface="Arial" pitchFamily="34" charset="0"/>
                    <a:cs typeface="Arial" panose="020B0604020202020204" pitchFamily="34" charset="0"/>
                  </a:rPr>
                  <a:t>Development plans for the High </a:t>
                </a:r>
                <a:r>
                  <a:rPr lang="en-US" sz="1200" b="1" kern="0" err="1">
                    <a:latin typeface="Arial" panose="020B0604020202020204" pitchFamily="34" charset="0"/>
                    <a:cs typeface="Arial" panose="020B0604020202020204" pitchFamily="34" charset="0"/>
                  </a:rPr>
                  <a:t>Perf</a:t>
                </a:r>
                <a:r>
                  <a:rPr lang="en-US" sz="1200" b="1" kern="0">
                    <a:latin typeface="Arial" panose="020B0604020202020204" pitchFamily="34" charset="0"/>
                    <a:cs typeface="Arial" panose="020B0604020202020204" pitchFamily="34" charset="0"/>
                  </a:rPr>
                  <a:t>. / High Pot. + dynamic reporting and follow-up, stretch goals</a:t>
                </a:r>
              </a:p>
            </p:txBody>
          </p:sp>
          <p:sp>
            <p:nvSpPr>
              <p:cNvPr id="241" name="Content Placeholder 4"/>
              <p:cNvSpPr txBox="1">
                <a:spLocks/>
              </p:cNvSpPr>
              <p:nvPr/>
            </p:nvSpPr>
            <p:spPr>
              <a:xfrm>
                <a:off x="3625545" y="2055473"/>
                <a:ext cx="2758059" cy="478265"/>
              </a:xfrm>
              <a:prstGeom prst="rect">
                <a:avLst/>
              </a:prstGeom>
            </p:spPr>
            <p:txBody>
              <a:bodyPr anchor="ctr">
                <a:no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200" b="1" kern="0">
                    <a:solidFill>
                      <a:prstClr val="white"/>
                    </a:solidFill>
                    <a:latin typeface="Arial" pitchFamily="34" charset="0"/>
                    <a:cs typeface="Arial" panose="020B0604020202020204" pitchFamily="34" charset="0"/>
                  </a:rPr>
                  <a:t>Promotions to next leadership grade</a:t>
                </a:r>
                <a:endParaRPr lang="en-US" sz="1200" b="1">
                  <a:solidFill>
                    <a:prstClr val="white"/>
                  </a:solidFill>
                  <a:latin typeface="Arial" panose="020B0604020202020204" pitchFamily="34" charset="0"/>
                  <a:cs typeface="Arial" panose="020B0604020202020204" pitchFamily="34" charset="0"/>
                </a:endParaRPr>
              </a:p>
            </p:txBody>
          </p:sp>
        </p:grpSp>
        <p:grpSp>
          <p:nvGrpSpPr>
            <p:cNvPr id="252" name="Group 251"/>
            <p:cNvGrpSpPr/>
            <p:nvPr/>
          </p:nvGrpSpPr>
          <p:grpSpPr>
            <a:xfrm>
              <a:off x="5858151" y="4062904"/>
              <a:ext cx="488095" cy="398838"/>
              <a:chOff x="3638020" y="2670175"/>
              <a:chExt cx="2205038" cy="2206625"/>
            </a:xfrm>
            <a:solidFill>
              <a:srgbClr val="595959"/>
            </a:solidFill>
            <a:scene3d>
              <a:camera prst="orthographicFront">
                <a:rot lat="21353138" lon="20976448" rev="1196195"/>
              </a:camera>
              <a:lightRig rig="threePt" dir="t"/>
            </a:scene3d>
          </p:grpSpPr>
          <p:sp>
            <p:nvSpPr>
              <p:cNvPr id="253" name="Freeform 238"/>
              <p:cNvSpPr>
                <a:spLocks/>
              </p:cNvSpPr>
              <p:nvPr/>
            </p:nvSpPr>
            <p:spPr bwMode="auto">
              <a:xfrm>
                <a:off x="3904720" y="3765550"/>
                <a:ext cx="835025" cy="593725"/>
              </a:xfrm>
              <a:custGeom>
                <a:avLst/>
                <a:gdLst>
                  <a:gd name="T0" fmla="*/ 0 w 526"/>
                  <a:gd name="T1" fmla="*/ 0 h 374"/>
                  <a:gd name="T2" fmla="*/ 526 w 526"/>
                  <a:gd name="T3" fmla="*/ 4 h 374"/>
                  <a:gd name="T4" fmla="*/ 154 w 526"/>
                  <a:gd name="T5" fmla="*/ 374 h 374"/>
                  <a:gd name="T6" fmla="*/ 150 w 526"/>
                  <a:gd name="T7" fmla="*/ 370 h 374"/>
                  <a:gd name="T8" fmla="*/ 141 w 526"/>
                  <a:gd name="T9" fmla="*/ 361 h 374"/>
                  <a:gd name="T10" fmla="*/ 125 w 526"/>
                  <a:gd name="T11" fmla="*/ 343 h 374"/>
                  <a:gd name="T12" fmla="*/ 108 w 526"/>
                  <a:gd name="T13" fmla="*/ 321 h 374"/>
                  <a:gd name="T14" fmla="*/ 87 w 526"/>
                  <a:gd name="T15" fmla="*/ 290 h 374"/>
                  <a:gd name="T16" fmla="*/ 68 w 526"/>
                  <a:gd name="T17" fmla="*/ 256 h 374"/>
                  <a:gd name="T18" fmla="*/ 47 w 526"/>
                  <a:gd name="T19" fmla="*/ 214 h 374"/>
                  <a:gd name="T20" fmla="*/ 30 w 526"/>
                  <a:gd name="T21" fmla="*/ 168 h 374"/>
                  <a:gd name="T22" fmla="*/ 15 w 526"/>
                  <a:gd name="T23" fmla="*/ 117 h 374"/>
                  <a:gd name="T24" fmla="*/ 5 w 526"/>
                  <a:gd name="T25" fmla="*/ 61 h 374"/>
                  <a:gd name="T26" fmla="*/ 0 w 526"/>
                  <a:gd name="T27"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374">
                    <a:moveTo>
                      <a:pt x="0" y="0"/>
                    </a:moveTo>
                    <a:lnTo>
                      <a:pt x="526" y="4"/>
                    </a:lnTo>
                    <a:lnTo>
                      <a:pt x="154" y="374"/>
                    </a:lnTo>
                    <a:lnTo>
                      <a:pt x="150" y="370"/>
                    </a:lnTo>
                    <a:lnTo>
                      <a:pt x="141" y="361"/>
                    </a:lnTo>
                    <a:lnTo>
                      <a:pt x="125" y="343"/>
                    </a:lnTo>
                    <a:lnTo>
                      <a:pt x="108" y="321"/>
                    </a:lnTo>
                    <a:lnTo>
                      <a:pt x="87" y="290"/>
                    </a:lnTo>
                    <a:lnTo>
                      <a:pt x="68" y="256"/>
                    </a:lnTo>
                    <a:lnTo>
                      <a:pt x="47" y="214"/>
                    </a:lnTo>
                    <a:lnTo>
                      <a:pt x="30" y="168"/>
                    </a:lnTo>
                    <a:lnTo>
                      <a:pt x="15" y="117"/>
                    </a:lnTo>
                    <a:lnTo>
                      <a:pt x="5" y="61"/>
                    </a:lnTo>
                    <a:lnTo>
                      <a:pt x="0" y="0"/>
                    </a:lnTo>
                    <a:close/>
                  </a:path>
                </a:pathLst>
              </a:custGeom>
              <a:solidFill>
                <a:srgbClr val="0779B7">
                  <a:lumMod val="20000"/>
                  <a:lumOff val="8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4" name="Freeform 239"/>
              <p:cNvSpPr>
                <a:spLocks/>
              </p:cNvSpPr>
              <p:nvPr/>
            </p:nvSpPr>
            <p:spPr bwMode="auto">
              <a:xfrm>
                <a:off x="3907895" y="3184525"/>
                <a:ext cx="831850" cy="593725"/>
              </a:xfrm>
              <a:custGeom>
                <a:avLst/>
                <a:gdLst>
                  <a:gd name="T0" fmla="*/ 152 w 524"/>
                  <a:gd name="T1" fmla="*/ 0 h 374"/>
                  <a:gd name="T2" fmla="*/ 524 w 524"/>
                  <a:gd name="T3" fmla="*/ 370 h 374"/>
                  <a:gd name="T4" fmla="*/ 0 w 524"/>
                  <a:gd name="T5" fmla="*/ 374 h 374"/>
                  <a:gd name="T6" fmla="*/ 0 w 524"/>
                  <a:gd name="T7" fmla="*/ 368 h 374"/>
                  <a:gd name="T8" fmla="*/ 0 w 524"/>
                  <a:gd name="T9" fmla="*/ 351 h 374"/>
                  <a:gd name="T10" fmla="*/ 1 w 524"/>
                  <a:gd name="T11" fmla="*/ 324 h 374"/>
                  <a:gd name="T12" fmla="*/ 7 w 524"/>
                  <a:gd name="T13" fmla="*/ 290 h 374"/>
                  <a:gd name="T14" fmla="*/ 17 w 524"/>
                  <a:gd name="T15" fmla="*/ 248 h 374"/>
                  <a:gd name="T16" fmla="*/ 30 w 524"/>
                  <a:gd name="T17" fmla="*/ 202 h 374"/>
                  <a:gd name="T18" fmla="*/ 49 w 524"/>
                  <a:gd name="T19" fmla="*/ 153 h 374"/>
                  <a:gd name="T20" fmla="*/ 76 w 524"/>
                  <a:gd name="T21" fmla="*/ 101 h 374"/>
                  <a:gd name="T22" fmla="*/ 108 w 524"/>
                  <a:gd name="T23" fmla="*/ 50 h 374"/>
                  <a:gd name="T24" fmla="*/ 152 w 524"/>
                  <a:gd name="T2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4" h="374">
                    <a:moveTo>
                      <a:pt x="152" y="0"/>
                    </a:moveTo>
                    <a:lnTo>
                      <a:pt x="524" y="370"/>
                    </a:lnTo>
                    <a:lnTo>
                      <a:pt x="0" y="374"/>
                    </a:lnTo>
                    <a:lnTo>
                      <a:pt x="0" y="368"/>
                    </a:lnTo>
                    <a:lnTo>
                      <a:pt x="0" y="351"/>
                    </a:lnTo>
                    <a:lnTo>
                      <a:pt x="1" y="324"/>
                    </a:lnTo>
                    <a:lnTo>
                      <a:pt x="7" y="290"/>
                    </a:lnTo>
                    <a:lnTo>
                      <a:pt x="17" y="248"/>
                    </a:lnTo>
                    <a:lnTo>
                      <a:pt x="30" y="202"/>
                    </a:lnTo>
                    <a:lnTo>
                      <a:pt x="49" y="153"/>
                    </a:lnTo>
                    <a:lnTo>
                      <a:pt x="76" y="101"/>
                    </a:lnTo>
                    <a:lnTo>
                      <a:pt x="108" y="50"/>
                    </a:lnTo>
                    <a:lnTo>
                      <a:pt x="152" y="0"/>
                    </a:lnTo>
                    <a:close/>
                  </a:path>
                </a:pathLst>
              </a:custGeom>
              <a:solidFill>
                <a:srgbClr val="0779B7">
                  <a:lumMod val="40000"/>
                  <a:lumOff val="6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5" name="Freeform 240"/>
              <p:cNvSpPr>
                <a:spLocks/>
              </p:cNvSpPr>
              <p:nvPr/>
            </p:nvSpPr>
            <p:spPr bwMode="auto">
              <a:xfrm>
                <a:off x="4149195" y="2936875"/>
                <a:ext cx="592138" cy="835025"/>
              </a:xfrm>
              <a:custGeom>
                <a:avLst/>
                <a:gdLst>
                  <a:gd name="T0" fmla="*/ 373 w 373"/>
                  <a:gd name="T1" fmla="*/ 0 h 526"/>
                  <a:gd name="T2" fmla="*/ 372 w 373"/>
                  <a:gd name="T3" fmla="*/ 526 h 526"/>
                  <a:gd name="T4" fmla="*/ 0 w 373"/>
                  <a:gd name="T5" fmla="*/ 156 h 526"/>
                  <a:gd name="T6" fmla="*/ 4 w 373"/>
                  <a:gd name="T7" fmla="*/ 152 h 526"/>
                  <a:gd name="T8" fmla="*/ 15 w 373"/>
                  <a:gd name="T9" fmla="*/ 143 h 526"/>
                  <a:gd name="T10" fmla="*/ 32 w 373"/>
                  <a:gd name="T11" fmla="*/ 128 h 526"/>
                  <a:gd name="T12" fmla="*/ 55 w 373"/>
                  <a:gd name="T13" fmla="*/ 110 h 526"/>
                  <a:gd name="T14" fmla="*/ 84 w 373"/>
                  <a:gd name="T15" fmla="*/ 89 h 526"/>
                  <a:gd name="T16" fmla="*/ 120 w 373"/>
                  <a:gd name="T17" fmla="*/ 68 h 526"/>
                  <a:gd name="T18" fmla="*/ 160 w 373"/>
                  <a:gd name="T19" fmla="*/ 49 h 526"/>
                  <a:gd name="T20" fmla="*/ 206 w 373"/>
                  <a:gd name="T21" fmla="*/ 30 h 526"/>
                  <a:gd name="T22" fmla="*/ 257 w 373"/>
                  <a:gd name="T23" fmla="*/ 15 h 526"/>
                  <a:gd name="T24" fmla="*/ 312 w 373"/>
                  <a:gd name="T25" fmla="*/ 6 h 526"/>
                  <a:gd name="T26" fmla="*/ 373 w 373"/>
                  <a:gd name="T27"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526">
                    <a:moveTo>
                      <a:pt x="373" y="0"/>
                    </a:moveTo>
                    <a:lnTo>
                      <a:pt x="372" y="526"/>
                    </a:lnTo>
                    <a:lnTo>
                      <a:pt x="0" y="156"/>
                    </a:lnTo>
                    <a:lnTo>
                      <a:pt x="4" y="152"/>
                    </a:lnTo>
                    <a:lnTo>
                      <a:pt x="15" y="143"/>
                    </a:lnTo>
                    <a:lnTo>
                      <a:pt x="32" y="128"/>
                    </a:lnTo>
                    <a:lnTo>
                      <a:pt x="55" y="110"/>
                    </a:lnTo>
                    <a:lnTo>
                      <a:pt x="84" y="89"/>
                    </a:lnTo>
                    <a:lnTo>
                      <a:pt x="120" y="68"/>
                    </a:lnTo>
                    <a:lnTo>
                      <a:pt x="160" y="49"/>
                    </a:lnTo>
                    <a:lnTo>
                      <a:pt x="206" y="30"/>
                    </a:lnTo>
                    <a:lnTo>
                      <a:pt x="257" y="15"/>
                    </a:lnTo>
                    <a:lnTo>
                      <a:pt x="312" y="6"/>
                    </a:lnTo>
                    <a:lnTo>
                      <a:pt x="373" y="0"/>
                    </a:lnTo>
                    <a:close/>
                  </a:path>
                </a:pathLst>
              </a:custGeom>
              <a:solidFill>
                <a:srgbClr val="0779B7">
                  <a:lumMod val="60000"/>
                  <a:lumOff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6" name="Freeform 241"/>
              <p:cNvSpPr>
                <a:spLocks/>
              </p:cNvSpPr>
              <p:nvPr/>
            </p:nvSpPr>
            <p:spPr bwMode="auto">
              <a:xfrm>
                <a:off x="4739745" y="2940050"/>
                <a:ext cx="595313" cy="831850"/>
              </a:xfrm>
              <a:custGeom>
                <a:avLst/>
                <a:gdLst>
                  <a:gd name="T0" fmla="*/ 1 w 375"/>
                  <a:gd name="T1" fmla="*/ 0 h 524"/>
                  <a:gd name="T2" fmla="*/ 7 w 375"/>
                  <a:gd name="T3" fmla="*/ 0 h 524"/>
                  <a:gd name="T4" fmla="*/ 24 w 375"/>
                  <a:gd name="T5" fmla="*/ 0 h 524"/>
                  <a:gd name="T6" fmla="*/ 51 w 375"/>
                  <a:gd name="T7" fmla="*/ 4 h 524"/>
                  <a:gd name="T8" fmla="*/ 85 w 375"/>
                  <a:gd name="T9" fmla="*/ 7 h 524"/>
                  <a:gd name="T10" fmla="*/ 127 w 375"/>
                  <a:gd name="T11" fmla="*/ 17 h 524"/>
                  <a:gd name="T12" fmla="*/ 173 w 375"/>
                  <a:gd name="T13" fmla="*/ 30 h 524"/>
                  <a:gd name="T14" fmla="*/ 222 w 375"/>
                  <a:gd name="T15" fmla="*/ 51 h 524"/>
                  <a:gd name="T16" fmla="*/ 272 w 375"/>
                  <a:gd name="T17" fmla="*/ 78 h 524"/>
                  <a:gd name="T18" fmla="*/ 323 w 375"/>
                  <a:gd name="T19" fmla="*/ 112 h 524"/>
                  <a:gd name="T20" fmla="*/ 375 w 375"/>
                  <a:gd name="T21" fmla="*/ 154 h 524"/>
                  <a:gd name="T22" fmla="*/ 0 w 375"/>
                  <a:gd name="T23" fmla="*/ 524 h 524"/>
                  <a:gd name="T24" fmla="*/ 1 w 375"/>
                  <a:gd name="T25"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 h="524">
                    <a:moveTo>
                      <a:pt x="1" y="0"/>
                    </a:moveTo>
                    <a:lnTo>
                      <a:pt x="7" y="0"/>
                    </a:lnTo>
                    <a:lnTo>
                      <a:pt x="24" y="0"/>
                    </a:lnTo>
                    <a:lnTo>
                      <a:pt x="51" y="4"/>
                    </a:lnTo>
                    <a:lnTo>
                      <a:pt x="85" y="7"/>
                    </a:lnTo>
                    <a:lnTo>
                      <a:pt x="127" y="17"/>
                    </a:lnTo>
                    <a:lnTo>
                      <a:pt x="173" y="30"/>
                    </a:lnTo>
                    <a:lnTo>
                      <a:pt x="222" y="51"/>
                    </a:lnTo>
                    <a:lnTo>
                      <a:pt x="272" y="78"/>
                    </a:lnTo>
                    <a:lnTo>
                      <a:pt x="323" y="112"/>
                    </a:lnTo>
                    <a:lnTo>
                      <a:pt x="375" y="154"/>
                    </a:lnTo>
                    <a:lnTo>
                      <a:pt x="0" y="524"/>
                    </a:lnTo>
                    <a:lnTo>
                      <a:pt x="1" y="0"/>
                    </a:lnTo>
                    <a:close/>
                  </a:path>
                </a:pathLst>
              </a:custGeom>
              <a:solidFill>
                <a:srgbClr val="0779B7">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7" name="Freeform 242"/>
              <p:cNvSpPr>
                <a:spLocks/>
              </p:cNvSpPr>
              <p:nvPr/>
            </p:nvSpPr>
            <p:spPr bwMode="auto">
              <a:xfrm>
                <a:off x="4739745" y="3184525"/>
                <a:ext cx="833438" cy="590550"/>
              </a:xfrm>
              <a:custGeom>
                <a:avLst/>
                <a:gdLst>
                  <a:gd name="T0" fmla="*/ 371 w 525"/>
                  <a:gd name="T1" fmla="*/ 0 h 372"/>
                  <a:gd name="T2" fmla="*/ 375 w 525"/>
                  <a:gd name="T3" fmla="*/ 2 h 372"/>
                  <a:gd name="T4" fmla="*/ 384 w 525"/>
                  <a:gd name="T5" fmla="*/ 13 h 372"/>
                  <a:gd name="T6" fmla="*/ 400 w 525"/>
                  <a:gd name="T7" fmla="*/ 31 h 372"/>
                  <a:gd name="T8" fmla="*/ 417 w 525"/>
                  <a:gd name="T9" fmla="*/ 54 h 372"/>
                  <a:gd name="T10" fmla="*/ 438 w 525"/>
                  <a:gd name="T11" fmla="*/ 82 h 372"/>
                  <a:gd name="T12" fmla="*/ 459 w 525"/>
                  <a:gd name="T13" fmla="*/ 118 h 372"/>
                  <a:gd name="T14" fmla="*/ 478 w 525"/>
                  <a:gd name="T15" fmla="*/ 158 h 372"/>
                  <a:gd name="T16" fmla="*/ 497 w 525"/>
                  <a:gd name="T17" fmla="*/ 206 h 372"/>
                  <a:gd name="T18" fmla="*/ 512 w 525"/>
                  <a:gd name="T19" fmla="*/ 256 h 372"/>
                  <a:gd name="T20" fmla="*/ 522 w 525"/>
                  <a:gd name="T21" fmla="*/ 313 h 372"/>
                  <a:gd name="T22" fmla="*/ 525 w 525"/>
                  <a:gd name="T23" fmla="*/ 372 h 372"/>
                  <a:gd name="T24" fmla="*/ 0 w 525"/>
                  <a:gd name="T25" fmla="*/ 370 h 372"/>
                  <a:gd name="T26" fmla="*/ 371 w 525"/>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372">
                    <a:moveTo>
                      <a:pt x="371" y="0"/>
                    </a:moveTo>
                    <a:lnTo>
                      <a:pt x="375" y="2"/>
                    </a:lnTo>
                    <a:lnTo>
                      <a:pt x="384" y="13"/>
                    </a:lnTo>
                    <a:lnTo>
                      <a:pt x="400" y="31"/>
                    </a:lnTo>
                    <a:lnTo>
                      <a:pt x="417" y="54"/>
                    </a:lnTo>
                    <a:lnTo>
                      <a:pt x="438" y="82"/>
                    </a:lnTo>
                    <a:lnTo>
                      <a:pt x="459" y="118"/>
                    </a:lnTo>
                    <a:lnTo>
                      <a:pt x="478" y="158"/>
                    </a:lnTo>
                    <a:lnTo>
                      <a:pt x="497" y="206"/>
                    </a:lnTo>
                    <a:lnTo>
                      <a:pt x="512" y="256"/>
                    </a:lnTo>
                    <a:lnTo>
                      <a:pt x="522" y="313"/>
                    </a:lnTo>
                    <a:lnTo>
                      <a:pt x="525" y="372"/>
                    </a:lnTo>
                    <a:lnTo>
                      <a:pt x="0" y="370"/>
                    </a:lnTo>
                    <a:lnTo>
                      <a:pt x="371" y="0"/>
                    </a:lnTo>
                    <a:close/>
                  </a:path>
                </a:pathLst>
              </a:custGeom>
              <a:solidFill>
                <a:srgbClr val="0779B7">
                  <a:lumMod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8" name="Freeform 243"/>
              <p:cNvSpPr>
                <a:spLocks/>
              </p:cNvSpPr>
              <p:nvPr/>
            </p:nvSpPr>
            <p:spPr bwMode="auto">
              <a:xfrm>
                <a:off x="4739745" y="3768725"/>
                <a:ext cx="833438" cy="596900"/>
              </a:xfrm>
              <a:custGeom>
                <a:avLst/>
                <a:gdLst>
                  <a:gd name="T0" fmla="*/ 525 w 525"/>
                  <a:gd name="T1" fmla="*/ 0 h 376"/>
                  <a:gd name="T2" fmla="*/ 525 w 525"/>
                  <a:gd name="T3" fmla="*/ 8 h 376"/>
                  <a:gd name="T4" fmla="*/ 524 w 525"/>
                  <a:gd name="T5" fmla="*/ 25 h 376"/>
                  <a:gd name="T6" fmla="*/ 522 w 525"/>
                  <a:gd name="T7" fmla="*/ 52 h 376"/>
                  <a:gd name="T8" fmla="*/ 516 w 525"/>
                  <a:gd name="T9" fmla="*/ 86 h 376"/>
                  <a:gd name="T10" fmla="*/ 508 w 525"/>
                  <a:gd name="T11" fmla="*/ 126 h 376"/>
                  <a:gd name="T12" fmla="*/ 495 w 525"/>
                  <a:gd name="T13" fmla="*/ 174 h 376"/>
                  <a:gd name="T14" fmla="*/ 474 w 525"/>
                  <a:gd name="T15" fmla="*/ 221 h 376"/>
                  <a:gd name="T16" fmla="*/ 449 w 525"/>
                  <a:gd name="T17" fmla="*/ 273 h 376"/>
                  <a:gd name="T18" fmla="*/ 415 w 525"/>
                  <a:gd name="T19" fmla="*/ 324 h 376"/>
                  <a:gd name="T20" fmla="*/ 371 w 525"/>
                  <a:gd name="T21" fmla="*/ 376 h 376"/>
                  <a:gd name="T22" fmla="*/ 0 w 525"/>
                  <a:gd name="T23" fmla="*/ 2 h 376"/>
                  <a:gd name="T24" fmla="*/ 525 w 525"/>
                  <a:gd name="T2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376">
                    <a:moveTo>
                      <a:pt x="525" y="0"/>
                    </a:moveTo>
                    <a:lnTo>
                      <a:pt x="525" y="8"/>
                    </a:lnTo>
                    <a:lnTo>
                      <a:pt x="524" y="25"/>
                    </a:lnTo>
                    <a:lnTo>
                      <a:pt x="522" y="52"/>
                    </a:lnTo>
                    <a:lnTo>
                      <a:pt x="516" y="86"/>
                    </a:lnTo>
                    <a:lnTo>
                      <a:pt x="508" y="126"/>
                    </a:lnTo>
                    <a:lnTo>
                      <a:pt x="495" y="174"/>
                    </a:lnTo>
                    <a:lnTo>
                      <a:pt x="474" y="221"/>
                    </a:lnTo>
                    <a:lnTo>
                      <a:pt x="449" y="273"/>
                    </a:lnTo>
                    <a:lnTo>
                      <a:pt x="415" y="324"/>
                    </a:lnTo>
                    <a:lnTo>
                      <a:pt x="371" y="376"/>
                    </a:lnTo>
                    <a:lnTo>
                      <a:pt x="0" y="2"/>
                    </a:lnTo>
                    <a:lnTo>
                      <a:pt x="525" y="0"/>
                    </a:lnTo>
                    <a:close/>
                  </a:path>
                </a:pathLst>
              </a:custGeom>
              <a:solidFill>
                <a:srgbClr val="1F497D">
                  <a:lumMod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59" name="Freeform 244"/>
              <p:cNvSpPr>
                <a:spLocks noEditPoints="1"/>
              </p:cNvSpPr>
              <p:nvPr/>
            </p:nvSpPr>
            <p:spPr bwMode="auto">
              <a:xfrm>
                <a:off x="3638020" y="2670175"/>
                <a:ext cx="2205038" cy="2206625"/>
              </a:xfrm>
              <a:custGeom>
                <a:avLst/>
                <a:gdLst>
                  <a:gd name="T0" fmla="*/ 612 w 1389"/>
                  <a:gd name="T1" fmla="*/ 93 h 1390"/>
                  <a:gd name="T2" fmla="*/ 457 w 1389"/>
                  <a:gd name="T3" fmla="*/ 135 h 1390"/>
                  <a:gd name="T4" fmla="*/ 324 w 1389"/>
                  <a:gd name="T5" fmla="*/ 214 h 1390"/>
                  <a:gd name="T6" fmla="*/ 213 w 1389"/>
                  <a:gd name="T7" fmla="*/ 324 h 1390"/>
                  <a:gd name="T8" fmla="*/ 135 w 1389"/>
                  <a:gd name="T9" fmla="*/ 458 h 1390"/>
                  <a:gd name="T10" fmla="*/ 93 w 1389"/>
                  <a:gd name="T11" fmla="*/ 612 h 1390"/>
                  <a:gd name="T12" fmla="*/ 93 w 1389"/>
                  <a:gd name="T13" fmla="*/ 778 h 1390"/>
                  <a:gd name="T14" fmla="*/ 135 w 1389"/>
                  <a:gd name="T15" fmla="*/ 930 h 1390"/>
                  <a:gd name="T16" fmla="*/ 213 w 1389"/>
                  <a:gd name="T17" fmla="*/ 1066 h 1390"/>
                  <a:gd name="T18" fmla="*/ 324 w 1389"/>
                  <a:gd name="T19" fmla="*/ 1176 h 1390"/>
                  <a:gd name="T20" fmla="*/ 457 w 1389"/>
                  <a:gd name="T21" fmla="*/ 1255 h 1390"/>
                  <a:gd name="T22" fmla="*/ 612 w 1389"/>
                  <a:gd name="T23" fmla="*/ 1297 h 1390"/>
                  <a:gd name="T24" fmla="*/ 777 w 1389"/>
                  <a:gd name="T25" fmla="*/ 1297 h 1390"/>
                  <a:gd name="T26" fmla="*/ 930 w 1389"/>
                  <a:gd name="T27" fmla="*/ 1255 h 1390"/>
                  <a:gd name="T28" fmla="*/ 1065 w 1389"/>
                  <a:gd name="T29" fmla="*/ 1176 h 1390"/>
                  <a:gd name="T30" fmla="*/ 1176 w 1389"/>
                  <a:gd name="T31" fmla="*/ 1066 h 1390"/>
                  <a:gd name="T32" fmla="*/ 1254 w 1389"/>
                  <a:gd name="T33" fmla="*/ 930 h 1390"/>
                  <a:gd name="T34" fmla="*/ 1296 w 1389"/>
                  <a:gd name="T35" fmla="*/ 778 h 1390"/>
                  <a:gd name="T36" fmla="*/ 1296 w 1389"/>
                  <a:gd name="T37" fmla="*/ 612 h 1390"/>
                  <a:gd name="T38" fmla="*/ 1254 w 1389"/>
                  <a:gd name="T39" fmla="*/ 458 h 1390"/>
                  <a:gd name="T40" fmla="*/ 1176 w 1389"/>
                  <a:gd name="T41" fmla="*/ 324 h 1390"/>
                  <a:gd name="T42" fmla="*/ 1065 w 1389"/>
                  <a:gd name="T43" fmla="*/ 214 h 1390"/>
                  <a:gd name="T44" fmla="*/ 930 w 1389"/>
                  <a:gd name="T45" fmla="*/ 135 h 1390"/>
                  <a:gd name="T46" fmla="*/ 777 w 1389"/>
                  <a:gd name="T47" fmla="*/ 93 h 1390"/>
                  <a:gd name="T48" fmla="*/ 694 w 1389"/>
                  <a:gd name="T49" fmla="*/ 0 h 1390"/>
                  <a:gd name="T50" fmla="*/ 865 w 1389"/>
                  <a:gd name="T51" fmla="*/ 21 h 1390"/>
                  <a:gd name="T52" fmla="*/ 1021 w 1389"/>
                  <a:gd name="T53" fmla="*/ 82 h 1390"/>
                  <a:gd name="T54" fmla="*/ 1155 w 1389"/>
                  <a:gd name="T55" fmla="*/ 175 h 1390"/>
                  <a:gd name="T56" fmla="*/ 1263 w 1389"/>
                  <a:gd name="T57" fmla="*/ 297 h 1390"/>
                  <a:gd name="T58" fmla="*/ 1341 w 1389"/>
                  <a:gd name="T59" fmla="*/ 444 h 1390"/>
                  <a:gd name="T60" fmla="*/ 1383 w 1389"/>
                  <a:gd name="T61" fmla="*/ 608 h 1390"/>
                  <a:gd name="T62" fmla="*/ 1383 w 1389"/>
                  <a:gd name="T63" fmla="*/ 782 h 1390"/>
                  <a:gd name="T64" fmla="*/ 1341 w 1389"/>
                  <a:gd name="T65" fmla="*/ 946 h 1390"/>
                  <a:gd name="T66" fmla="*/ 1263 w 1389"/>
                  <a:gd name="T67" fmla="*/ 1091 h 1390"/>
                  <a:gd name="T68" fmla="*/ 1155 w 1389"/>
                  <a:gd name="T69" fmla="*/ 1215 h 1390"/>
                  <a:gd name="T70" fmla="*/ 1021 w 1389"/>
                  <a:gd name="T71" fmla="*/ 1308 h 1390"/>
                  <a:gd name="T72" fmla="*/ 865 w 1389"/>
                  <a:gd name="T73" fmla="*/ 1367 h 1390"/>
                  <a:gd name="T74" fmla="*/ 694 w 1389"/>
                  <a:gd name="T75" fmla="*/ 1390 h 1390"/>
                  <a:gd name="T76" fmla="*/ 524 w 1389"/>
                  <a:gd name="T77" fmla="*/ 1367 h 1390"/>
                  <a:gd name="T78" fmla="*/ 368 w 1389"/>
                  <a:gd name="T79" fmla="*/ 1308 h 1390"/>
                  <a:gd name="T80" fmla="*/ 232 w 1389"/>
                  <a:gd name="T81" fmla="*/ 1215 h 1390"/>
                  <a:gd name="T82" fmla="*/ 124 w 1389"/>
                  <a:gd name="T83" fmla="*/ 1091 h 1390"/>
                  <a:gd name="T84" fmla="*/ 48 w 1389"/>
                  <a:gd name="T85" fmla="*/ 946 h 1390"/>
                  <a:gd name="T86" fmla="*/ 6 w 1389"/>
                  <a:gd name="T87" fmla="*/ 782 h 1390"/>
                  <a:gd name="T88" fmla="*/ 6 w 1389"/>
                  <a:gd name="T89" fmla="*/ 608 h 1390"/>
                  <a:gd name="T90" fmla="*/ 48 w 1389"/>
                  <a:gd name="T91" fmla="*/ 444 h 1390"/>
                  <a:gd name="T92" fmla="*/ 124 w 1389"/>
                  <a:gd name="T93" fmla="*/ 297 h 1390"/>
                  <a:gd name="T94" fmla="*/ 232 w 1389"/>
                  <a:gd name="T95" fmla="*/ 175 h 1390"/>
                  <a:gd name="T96" fmla="*/ 368 w 1389"/>
                  <a:gd name="T97" fmla="*/ 82 h 1390"/>
                  <a:gd name="T98" fmla="*/ 524 w 1389"/>
                  <a:gd name="T99" fmla="*/ 21 h 1390"/>
                  <a:gd name="T100" fmla="*/ 694 w 1389"/>
                  <a:gd name="T101"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89" h="1390">
                    <a:moveTo>
                      <a:pt x="694" y="88"/>
                    </a:moveTo>
                    <a:lnTo>
                      <a:pt x="612" y="93"/>
                    </a:lnTo>
                    <a:lnTo>
                      <a:pt x="534" y="109"/>
                    </a:lnTo>
                    <a:lnTo>
                      <a:pt x="457" y="135"/>
                    </a:lnTo>
                    <a:lnTo>
                      <a:pt x="389" y="170"/>
                    </a:lnTo>
                    <a:lnTo>
                      <a:pt x="324" y="214"/>
                    </a:lnTo>
                    <a:lnTo>
                      <a:pt x="265" y="265"/>
                    </a:lnTo>
                    <a:lnTo>
                      <a:pt x="213" y="324"/>
                    </a:lnTo>
                    <a:lnTo>
                      <a:pt x="170" y="387"/>
                    </a:lnTo>
                    <a:lnTo>
                      <a:pt x="135" y="458"/>
                    </a:lnTo>
                    <a:lnTo>
                      <a:pt x="109" y="534"/>
                    </a:lnTo>
                    <a:lnTo>
                      <a:pt x="93" y="612"/>
                    </a:lnTo>
                    <a:lnTo>
                      <a:pt x="88" y="694"/>
                    </a:lnTo>
                    <a:lnTo>
                      <a:pt x="93" y="778"/>
                    </a:lnTo>
                    <a:lnTo>
                      <a:pt x="109" y="856"/>
                    </a:lnTo>
                    <a:lnTo>
                      <a:pt x="135" y="930"/>
                    </a:lnTo>
                    <a:lnTo>
                      <a:pt x="170" y="1001"/>
                    </a:lnTo>
                    <a:lnTo>
                      <a:pt x="213" y="1066"/>
                    </a:lnTo>
                    <a:lnTo>
                      <a:pt x="265" y="1125"/>
                    </a:lnTo>
                    <a:lnTo>
                      <a:pt x="324" y="1176"/>
                    </a:lnTo>
                    <a:lnTo>
                      <a:pt x="389" y="1218"/>
                    </a:lnTo>
                    <a:lnTo>
                      <a:pt x="457" y="1255"/>
                    </a:lnTo>
                    <a:lnTo>
                      <a:pt x="534" y="1281"/>
                    </a:lnTo>
                    <a:lnTo>
                      <a:pt x="612" y="1297"/>
                    </a:lnTo>
                    <a:lnTo>
                      <a:pt x="694" y="1302"/>
                    </a:lnTo>
                    <a:lnTo>
                      <a:pt x="777" y="1297"/>
                    </a:lnTo>
                    <a:lnTo>
                      <a:pt x="856" y="1281"/>
                    </a:lnTo>
                    <a:lnTo>
                      <a:pt x="930" y="1255"/>
                    </a:lnTo>
                    <a:lnTo>
                      <a:pt x="1000" y="1218"/>
                    </a:lnTo>
                    <a:lnTo>
                      <a:pt x="1065" y="1176"/>
                    </a:lnTo>
                    <a:lnTo>
                      <a:pt x="1124" y="1125"/>
                    </a:lnTo>
                    <a:lnTo>
                      <a:pt x="1176" y="1066"/>
                    </a:lnTo>
                    <a:lnTo>
                      <a:pt x="1219" y="1001"/>
                    </a:lnTo>
                    <a:lnTo>
                      <a:pt x="1254" y="930"/>
                    </a:lnTo>
                    <a:lnTo>
                      <a:pt x="1280" y="856"/>
                    </a:lnTo>
                    <a:lnTo>
                      <a:pt x="1296" y="778"/>
                    </a:lnTo>
                    <a:lnTo>
                      <a:pt x="1301" y="694"/>
                    </a:lnTo>
                    <a:lnTo>
                      <a:pt x="1296" y="612"/>
                    </a:lnTo>
                    <a:lnTo>
                      <a:pt x="1280" y="534"/>
                    </a:lnTo>
                    <a:lnTo>
                      <a:pt x="1254" y="458"/>
                    </a:lnTo>
                    <a:lnTo>
                      <a:pt x="1219" y="387"/>
                    </a:lnTo>
                    <a:lnTo>
                      <a:pt x="1176" y="324"/>
                    </a:lnTo>
                    <a:lnTo>
                      <a:pt x="1124" y="265"/>
                    </a:lnTo>
                    <a:lnTo>
                      <a:pt x="1065" y="214"/>
                    </a:lnTo>
                    <a:lnTo>
                      <a:pt x="1000" y="170"/>
                    </a:lnTo>
                    <a:lnTo>
                      <a:pt x="930" y="135"/>
                    </a:lnTo>
                    <a:lnTo>
                      <a:pt x="856" y="109"/>
                    </a:lnTo>
                    <a:lnTo>
                      <a:pt x="777" y="93"/>
                    </a:lnTo>
                    <a:lnTo>
                      <a:pt x="694" y="88"/>
                    </a:lnTo>
                    <a:close/>
                    <a:moveTo>
                      <a:pt x="694" y="0"/>
                    </a:moveTo>
                    <a:lnTo>
                      <a:pt x="781" y="6"/>
                    </a:lnTo>
                    <a:lnTo>
                      <a:pt x="865" y="21"/>
                    </a:lnTo>
                    <a:lnTo>
                      <a:pt x="945" y="48"/>
                    </a:lnTo>
                    <a:lnTo>
                      <a:pt x="1021" y="82"/>
                    </a:lnTo>
                    <a:lnTo>
                      <a:pt x="1090" y="124"/>
                    </a:lnTo>
                    <a:lnTo>
                      <a:pt x="1155" y="175"/>
                    </a:lnTo>
                    <a:lnTo>
                      <a:pt x="1214" y="233"/>
                    </a:lnTo>
                    <a:lnTo>
                      <a:pt x="1263" y="297"/>
                    </a:lnTo>
                    <a:lnTo>
                      <a:pt x="1307" y="368"/>
                    </a:lnTo>
                    <a:lnTo>
                      <a:pt x="1341" y="444"/>
                    </a:lnTo>
                    <a:lnTo>
                      <a:pt x="1366" y="524"/>
                    </a:lnTo>
                    <a:lnTo>
                      <a:pt x="1383" y="608"/>
                    </a:lnTo>
                    <a:lnTo>
                      <a:pt x="1389" y="694"/>
                    </a:lnTo>
                    <a:lnTo>
                      <a:pt x="1383" y="782"/>
                    </a:lnTo>
                    <a:lnTo>
                      <a:pt x="1366" y="866"/>
                    </a:lnTo>
                    <a:lnTo>
                      <a:pt x="1341" y="946"/>
                    </a:lnTo>
                    <a:lnTo>
                      <a:pt x="1307" y="1022"/>
                    </a:lnTo>
                    <a:lnTo>
                      <a:pt x="1263" y="1091"/>
                    </a:lnTo>
                    <a:lnTo>
                      <a:pt x="1214" y="1155"/>
                    </a:lnTo>
                    <a:lnTo>
                      <a:pt x="1155" y="1215"/>
                    </a:lnTo>
                    <a:lnTo>
                      <a:pt x="1090" y="1264"/>
                    </a:lnTo>
                    <a:lnTo>
                      <a:pt x="1021" y="1308"/>
                    </a:lnTo>
                    <a:lnTo>
                      <a:pt x="945" y="1342"/>
                    </a:lnTo>
                    <a:lnTo>
                      <a:pt x="865" y="1367"/>
                    </a:lnTo>
                    <a:lnTo>
                      <a:pt x="781" y="1384"/>
                    </a:lnTo>
                    <a:lnTo>
                      <a:pt x="694" y="1390"/>
                    </a:lnTo>
                    <a:lnTo>
                      <a:pt x="608" y="1384"/>
                    </a:lnTo>
                    <a:lnTo>
                      <a:pt x="524" y="1367"/>
                    </a:lnTo>
                    <a:lnTo>
                      <a:pt x="444" y="1342"/>
                    </a:lnTo>
                    <a:lnTo>
                      <a:pt x="368" y="1308"/>
                    </a:lnTo>
                    <a:lnTo>
                      <a:pt x="297" y="1264"/>
                    </a:lnTo>
                    <a:lnTo>
                      <a:pt x="232" y="1215"/>
                    </a:lnTo>
                    <a:lnTo>
                      <a:pt x="175" y="1155"/>
                    </a:lnTo>
                    <a:lnTo>
                      <a:pt x="124" y="1091"/>
                    </a:lnTo>
                    <a:lnTo>
                      <a:pt x="82" y="1022"/>
                    </a:lnTo>
                    <a:lnTo>
                      <a:pt x="48" y="946"/>
                    </a:lnTo>
                    <a:lnTo>
                      <a:pt x="21" y="866"/>
                    </a:lnTo>
                    <a:lnTo>
                      <a:pt x="6" y="782"/>
                    </a:lnTo>
                    <a:lnTo>
                      <a:pt x="0" y="694"/>
                    </a:lnTo>
                    <a:lnTo>
                      <a:pt x="6" y="608"/>
                    </a:lnTo>
                    <a:lnTo>
                      <a:pt x="21" y="524"/>
                    </a:lnTo>
                    <a:lnTo>
                      <a:pt x="48" y="444"/>
                    </a:lnTo>
                    <a:lnTo>
                      <a:pt x="82" y="368"/>
                    </a:lnTo>
                    <a:lnTo>
                      <a:pt x="124" y="297"/>
                    </a:lnTo>
                    <a:lnTo>
                      <a:pt x="175" y="233"/>
                    </a:lnTo>
                    <a:lnTo>
                      <a:pt x="232" y="175"/>
                    </a:lnTo>
                    <a:lnTo>
                      <a:pt x="297" y="124"/>
                    </a:lnTo>
                    <a:lnTo>
                      <a:pt x="368" y="82"/>
                    </a:lnTo>
                    <a:lnTo>
                      <a:pt x="444" y="48"/>
                    </a:lnTo>
                    <a:lnTo>
                      <a:pt x="524" y="21"/>
                    </a:lnTo>
                    <a:lnTo>
                      <a:pt x="608" y="6"/>
                    </a:lnTo>
                    <a:lnTo>
                      <a:pt x="6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60" name="Freeform 247"/>
              <p:cNvSpPr>
                <a:spLocks/>
              </p:cNvSpPr>
              <p:nvPr/>
            </p:nvSpPr>
            <p:spPr bwMode="auto">
              <a:xfrm>
                <a:off x="3861857" y="2894013"/>
                <a:ext cx="1757363" cy="1525588"/>
              </a:xfrm>
              <a:custGeom>
                <a:avLst/>
                <a:gdLst>
                  <a:gd name="T0" fmla="*/ 713 w 1107"/>
                  <a:gd name="T1" fmla="*/ 23 h 961"/>
                  <a:gd name="T2" fmla="*/ 917 w 1107"/>
                  <a:gd name="T3" fmla="*/ 135 h 961"/>
                  <a:gd name="T4" fmla="*/ 1056 w 1107"/>
                  <a:gd name="T5" fmla="*/ 320 h 961"/>
                  <a:gd name="T6" fmla="*/ 1107 w 1107"/>
                  <a:gd name="T7" fmla="*/ 553 h 961"/>
                  <a:gd name="T8" fmla="*/ 1058 w 1107"/>
                  <a:gd name="T9" fmla="*/ 780 h 961"/>
                  <a:gd name="T10" fmla="*/ 928 w 1107"/>
                  <a:gd name="T11" fmla="*/ 961 h 961"/>
                  <a:gd name="T12" fmla="*/ 863 w 1107"/>
                  <a:gd name="T13" fmla="*/ 898 h 961"/>
                  <a:gd name="T14" fmla="*/ 863 w 1107"/>
                  <a:gd name="T15" fmla="*/ 864 h 961"/>
                  <a:gd name="T16" fmla="*/ 897 w 1107"/>
                  <a:gd name="T17" fmla="*/ 864 h 961"/>
                  <a:gd name="T18" fmla="*/ 995 w 1107"/>
                  <a:gd name="T19" fmla="*/ 776 h 961"/>
                  <a:gd name="T20" fmla="*/ 1048 w 1107"/>
                  <a:gd name="T21" fmla="*/ 578 h 961"/>
                  <a:gd name="T22" fmla="*/ 1002 w 1107"/>
                  <a:gd name="T23" fmla="*/ 572 h 961"/>
                  <a:gd name="T24" fmla="*/ 993 w 1107"/>
                  <a:gd name="T25" fmla="*/ 553 h 961"/>
                  <a:gd name="T26" fmla="*/ 1002 w 1107"/>
                  <a:gd name="T27" fmla="*/ 534 h 961"/>
                  <a:gd name="T28" fmla="*/ 1048 w 1107"/>
                  <a:gd name="T29" fmla="*/ 530 h 961"/>
                  <a:gd name="T30" fmla="*/ 995 w 1107"/>
                  <a:gd name="T31" fmla="*/ 330 h 961"/>
                  <a:gd name="T32" fmla="*/ 897 w 1107"/>
                  <a:gd name="T33" fmla="*/ 242 h 961"/>
                  <a:gd name="T34" fmla="*/ 863 w 1107"/>
                  <a:gd name="T35" fmla="*/ 242 h 961"/>
                  <a:gd name="T36" fmla="*/ 863 w 1107"/>
                  <a:gd name="T37" fmla="*/ 210 h 961"/>
                  <a:gd name="T38" fmla="*/ 775 w 1107"/>
                  <a:gd name="T39" fmla="*/ 111 h 961"/>
                  <a:gd name="T40" fmla="*/ 577 w 1107"/>
                  <a:gd name="T41" fmla="*/ 59 h 961"/>
                  <a:gd name="T42" fmla="*/ 572 w 1107"/>
                  <a:gd name="T43" fmla="*/ 105 h 961"/>
                  <a:gd name="T44" fmla="*/ 553 w 1107"/>
                  <a:gd name="T45" fmla="*/ 115 h 961"/>
                  <a:gd name="T46" fmla="*/ 534 w 1107"/>
                  <a:gd name="T47" fmla="*/ 105 h 961"/>
                  <a:gd name="T48" fmla="*/ 530 w 1107"/>
                  <a:gd name="T49" fmla="*/ 59 h 961"/>
                  <a:gd name="T50" fmla="*/ 330 w 1107"/>
                  <a:gd name="T51" fmla="*/ 111 h 961"/>
                  <a:gd name="T52" fmla="*/ 242 w 1107"/>
                  <a:gd name="T53" fmla="*/ 210 h 961"/>
                  <a:gd name="T54" fmla="*/ 242 w 1107"/>
                  <a:gd name="T55" fmla="*/ 242 h 961"/>
                  <a:gd name="T56" fmla="*/ 210 w 1107"/>
                  <a:gd name="T57" fmla="*/ 242 h 961"/>
                  <a:gd name="T58" fmla="*/ 110 w 1107"/>
                  <a:gd name="T59" fmla="*/ 330 h 961"/>
                  <a:gd name="T60" fmla="*/ 59 w 1107"/>
                  <a:gd name="T61" fmla="*/ 530 h 961"/>
                  <a:gd name="T62" fmla="*/ 105 w 1107"/>
                  <a:gd name="T63" fmla="*/ 534 h 961"/>
                  <a:gd name="T64" fmla="*/ 114 w 1107"/>
                  <a:gd name="T65" fmla="*/ 553 h 961"/>
                  <a:gd name="T66" fmla="*/ 105 w 1107"/>
                  <a:gd name="T67" fmla="*/ 572 h 961"/>
                  <a:gd name="T68" fmla="*/ 59 w 1107"/>
                  <a:gd name="T69" fmla="*/ 578 h 961"/>
                  <a:gd name="T70" fmla="*/ 110 w 1107"/>
                  <a:gd name="T71" fmla="*/ 776 h 961"/>
                  <a:gd name="T72" fmla="*/ 210 w 1107"/>
                  <a:gd name="T73" fmla="*/ 864 h 961"/>
                  <a:gd name="T74" fmla="*/ 242 w 1107"/>
                  <a:gd name="T75" fmla="*/ 864 h 961"/>
                  <a:gd name="T76" fmla="*/ 242 w 1107"/>
                  <a:gd name="T77" fmla="*/ 898 h 961"/>
                  <a:gd name="T78" fmla="*/ 179 w 1107"/>
                  <a:gd name="T79" fmla="*/ 961 h 961"/>
                  <a:gd name="T80" fmla="*/ 48 w 1107"/>
                  <a:gd name="T81" fmla="*/ 780 h 961"/>
                  <a:gd name="T82" fmla="*/ 0 w 1107"/>
                  <a:gd name="T83" fmla="*/ 553 h 961"/>
                  <a:gd name="T84" fmla="*/ 51 w 1107"/>
                  <a:gd name="T85" fmla="*/ 320 h 961"/>
                  <a:gd name="T86" fmla="*/ 191 w 1107"/>
                  <a:gd name="T87" fmla="*/ 135 h 961"/>
                  <a:gd name="T88" fmla="*/ 394 w 1107"/>
                  <a:gd name="T89" fmla="*/ 23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7" h="961">
                    <a:moveTo>
                      <a:pt x="553" y="0"/>
                    </a:moveTo>
                    <a:lnTo>
                      <a:pt x="634" y="6"/>
                    </a:lnTo>
                    <a:lnTo>
                      <a:pt x="713" y="23"/>
                    </a:lnTo>
                    <a:lnTo>
                      <a:pt x="787" y="52"/>
                    </a:lnTo>
                    <a:lnTo>
                      <a:pt x="854" y="90"/>
                    </a:lnTo>
                    <a:lnTo>
                      <a:pt x="917" y="135"/>
                    </a:lnTo>
                    <a:lnTo>
                      <a:pt x="970" y="191"/>
                    </a:lnTo>
                    <a:lnTo>
                      <a:pt x="1017" y="252"/>
                    </a:lnTo>
                    <a:lnTo>
                      <a:pt x="1056" y="320"/>
                    </a:lnTo>
                    <a:lnTo>
                      <a:pt x="1082" y="395"/>
                    </a:lnTo>
                    <a:lnTo>
                      <a:pt x="1099" y="471"/>
                    </a:lnTo>
                    <a:lnTo>
                      <a:pt x="1107" y="553"/>
                    </a:lnTo>
                    <a:lnTo>
                      <a:pt x="1101" y="633"/>
                    </a:lnTo>
                    <a:lnTo>
                      <a:pt x="1084" y="707"/>
                    </a:lnTo>
                    <a:lnTo>
                      <a:pt x="1058" y="780"/>
                    </a:lnTo>
                    <a:lnTo>
                      <a:pt x="1023" y="847"/>
                    </a:lnTo>
                    <a:lnTo>
                      <a:pt x="979" y="906"/>
                    </a:lnTo>
                    <a:lnTo>
                      <a:pt x="928" y="961"/>
                    </a:lnTo>
                    <a:lnTo>
                      <a:pt x="901" y="936"/>
                    </a:lnTo>
                    <a:lnTo>
                      <a:pt x="901" y="936"/>
                    </a:lnTo>
                    <a:lnTo>
                      <a:pt x="863" y="898"/>
                    </a:lnTo>
                    <a:lnTo>
                      <a:pt x="857" y="887"/>
                    </a:lnTo>
                    <a:lnTo>
                      <a:pt x="857" y="875"/>
                    </a:lnTo>
                    <a:lnTo>
                      <a:pt x="863" y="864"/>
                    </a:lnTo>
                    <a:lnTo>
                      <a:pt x="875" y="858"/>
                    </a:lnTo>
                    <a:lnTo>
                      <a:pt x="886" y="858"/>
                    </a:lnTo>
                    <a:lnTo>
                      <a:pt x="897" y="864"/>
                    </a:lnTo>
                    <a:lnTo>
                      <a:pt x="920" y="887"/>
                    </a:lnTo>
                    <a:lnTo>
                      <a:pt x="960" y="835"/>
                    </a:lnTo>
                    <a:lnTo>
                      <a:pt x="995" y="776"/>
                    </a:lnTo>
                    <a:lnTo>
                      <a:pt x="1021" y="713"/>
                    </a:lnTo>
                    <a:lnTo>
                      <a:pt x="1040" y="646"/>
                    </a:lnTo>
                    <a:lnTo>
                      <a:pt x="1048" y="578"/>
                    </a:lnTo>
                    <a:lnTo>
                      <a:pt x="1016" y="578"/>
                    </a:lnTo>
                    <a:lnTo>
                      <a:pt x="1008" y="576"/>
                    </a:lnTo>
                    <a:lnTo>
                      <a:pt x="1002" y="572"/>
                    </a:lnTo>
                    <a:lnTo>
                      <a:pt x="997" y="568"/>
                    </a:lnTo>
                    <a:lnTo>
                      <a:pt x="995" y="561"/>
                    </a:lnTo>
                    <a:lnTo>
                      <a:pt x="993" y="553"/>
                    </a:lnTo>
                    <a:lnTo>
                      <a:pt x="995" y="545"/>
                    </a:lnTo>
                    <a:lnTo>
                      <a:pt x="997" y="540"/>
                    </a:lnTo>
                    <a:lnTo>
                      <a:pt x="1002" y="534"/>
                    </a:lnTo>
                    <a:lnTo>
                      <a:pt x="1008" y="532"/>
                    </a:lnTo>
                    <a:lnTo>
                      <a:pt x="1016" y="530"/>
                    </a:lnTo>
                    <a:lnTo>
                      <a:pt x="1048" y="530"/>
                    </a:lnTo>
                    <a:lnTo>
                      <a:pt x="1040" y="460"/>
                    </a:lnTo>
                    <a:lnTo>
                      <a:pt x="1021" y="393"/>
                    </a:lnTo>
                    <a:lnTo>
                      <a:pt x="995" y="330"/>
                    </a:lnTo>
                    <a:lnTo>
                      <a:pt x="960" y="273"/>
                    </a:lnTo>
                    <a:lnTo>
                      <a:pt x="920" y="219"/>
                    </a:lnTo>
                    <a:lnTo>
                      <a:pt x="897" y="242"/>
                    </a:lnTo>
                    <a:lnTo>
                      <a:pt x="886" y="248"/>
                    </a:lnTo>
                    <a:lnTo>
                      <a:pt x="875" y="248"/>
                    </a:lnTo>
                    <a:lnTo>
                      <a:pt x="863" y="242"/>
                    </a:lnTo>
                    <a:lnTo>
                      <a:pt x="857" y="233"/>
                    </a:lnTo>
                    <a:lnTo>
                      <a:pt x="857" y="219"/>
                    </a:lnTo>
                    <a:lnTo>
                      <a:pt x="863" y="210"/>
                    </a:lnTo>
                    <a:lnTo>
                      <a:pt x="886" y="187"/>
                    </a:lnTo>
                    <a:lnTo>
                      <a:pt x="835" y="145"/>
                    </a:lnTo>
                    <a:lnTo>
                      <a:pt x="775" y="111"/>
                    </a:lnTo>
                    <a:lnTo>
                      <a:pt x="713" y="84"/>
                    </a:lnTo>
                    <a:lnTo>
                      <a:pt x="646" y="67"/>
                    </a:lnTo>
                    <a:lnTo>
                      <a:pt x="577" y="59"/>
                    </a:lnTo>
                    <a:lnTo>
                      <a:pt x="577" y="90"/>
                    </a:lnTo>
                    <a:lnTo>
                      <a:pt x="575" y="97"/>
                    </a:lnTo>
                    <a:lnTo>
                      <a:pt x="572" y="105"/>
                    </a:lnTo>
                    <a:lnTo>
                      <a:pt x="568" y="109"/>
                    </a:lnTo>
                    <a:lnTo>
                      <a:pt x="560" y="113"/>
                    </a:lnTo>
                    <a:lnTo>
                      <a:pt x="553" y="115"/>
                    </a:lnTo>
                    <a:lnTo>
                      <a:pt x="545" y="113"/>
                    </a:lnTo>
                    <a:lnTo>
                      <a:pt x="539" y="109"/>
                    </a:lnTo>
                    <a:lnTo>
                      <a:pt x="534" y="105"/>
                    </a:lnTo>
                    <a:lnTo>
                      <a:pt x="532" y="97"/>
                    </a:lnTo>
                    <a:lnTo>
                      <a:pt x="530" y="90"/>
                    </a:lnTo>
                    <a:lnTo>
                      <a:pt x="530" y="59"/>
                    </a:lnTo>
                    <a:lnTo>
                      <a:pt x="459" y="67"/>
                    </a:lnTo>
                    <a:lnTo>
                      <a:pt x="393" y="84"/>
                    </a:lnTo>
                    <a:lnTo>
                      <a:pt x="330" y="111"/>
                    </a:lnTo>
                    <a:lnTo>
                      <a:pt x="272" y="145"/>
                    </a:lnTo>
                    <a:lnTo>
                      <a:pt x="221" y="187"/>
                    </a:lnTo>
                    <a:lnTo>
                      <a:pt x="242" y="210"/>
                    </a:lnTo>
                    <a:lnTo>
                      <a:pt x="248" y="219"/>
                    </a:lnTo>
                    <a:lnTo>
                      <a:pt x="248" y="233"/>
                    </a:lnTo>
                    <a:lnTo>
                      <a:pt x="242" y="242"/>
                    </a:lnTo>
                    <a:lnTo>
                      <a:pt x="232" y="248"/>
                    </a:lnTo>
                    <a:lnTo>
                      <a:pt x="219" y="248"/>
                    </a:lnTo>
                    <a:lnTo>
                      <a:pt x="210" y="242"/>
                    </a:lnTo>
                    <a:lnTo>
                      <a:pt x="187" y="219"/>
                    </a:lnTo>
                    <a:lnTo>
                      <a:pt x="145" y="273"/>
                    </a:lnTo>
                    <a:lnTo>
                      <a:pt x="110" y="330"/>
                    </a:lnTo>
                    <a:lnTo>
                      <a:pt x="84" y="393"/>
                    </a:lnTo>
                    <a:lnTo>
                      <a:pt x="67" y="460"/>
                    </a:lnTo>
                    <a:lnTo>
                      <a:pt x="59" y="530"/>
                    </a:lnTo>
                    <a:lnTo>
                      <a:pt x="90" y="530"/>
                    </a:lnTo>
                    <a:lnTo>
                      <a:pt x="97" y="532"/>
                    </a:lnTo>
                    <a:lnTo>
                      <a:pt x="105" y="534"/>
                    </a:lnTo>
                    <a:lnTo>
                      <a:pt x="109" y="540"/>
                    </a:lnTo>
                    <a:lnTo>
                      <a:pt x="112" y="545"/>
                    </a:lnTo>
                    <a:lnTo>
                      <a:pt x="114" y="553"/>
                    </a:lnTo>
                    <a:lnTo>
                      <a:pt x="112" y="561"/>
                    </a:lnTo>
                    <a:lnTo>
                      <a:pt x="109" y="568"/>
                    </a:lnTo>
                    <a:lnTo>
                      <a:pt x="105" y="572"/>
                    </a:lnTo>
                    <a:lnTo>
                      <a:pt x="97" y="576"/>
                    </a:lnTo>
                    <a:lnTo>
                      <a:pt x="90" y="578"/>
                    </a:lnTo>
                    <a:lnTo>
                      <a:pt x="59" y="578"/>
                    </a:lnTo>
                    <a:lnTo>
                      <a:pt x="67" y="646"/>
                    </a:lnTo>
                    <a:lnTo>
                      <a:pt x="84" y="713"/>
                    </a:lnTo>
                    <a:lnTo>
                      <a:pt x="110" y="776"/>
                    </a:lnTo>
                    <a:lnTo>
                      <a:pt x="145" y="835"/>
                    </a:lnTo>
                    <a:lnTo>
                      <a:pt x="187" y="887"/>
                    </a:lnTo>
                    <a:lnTo>
                      <a:pt x="210" y="864"/>
                    </a:lnTo>
                    <a:lnTo>
                      <a:pt x="219" y="858"/>
                    </a:lnTo>
                    <a:lnTo>
                      <a:pt x="232" y="858"/>
                    </a:lnTo>
                    <a:lnTo>
                      <a:pt x="242" y="864"/>
                    </a:lnTo>
                    <a:lnTo>
                      <a:pt x="248" y="875"/>
                    </a:lnTo>
                    <a:lnTo>
                      <a:pt x="248" y="887"/>
                    </a:lnTo>
                    <a:lnTo>
                      <a:pt x="242" y="898"/>
                    </a:lnTo>
                    <a:lnTo>
                      <a:pt x="204" y="936"/>
                    </a:lnTo>
                    <a:lnTo>
                      <a:pt x="204" y="936"/>
                    </a:lnTo>
                    <a:lnTo>
                      <a:pt x="179" y="961"/>
                    </a:lnTo>
                    <a:lnTo>
                      <a:pt x="128" y="908"/>
                    </a:lnTo>
                    <a:lnTo>
                      <a:pt x="84" y="847"/>
                    </a:lnTo>
                    <a:lnTo>
                      <a:pt x="48" y="780"/>
                    </a:lnTo>
                    <a:lnTo>
                      <a:pt x="23" y="709"/>
                    </a:lnTo>
                    <a:lnTo>
                      <a:pt x="6" y="633"/>
                    </a:lnTo>
                    <a:lnTo>
                      <a:pt x="0" y="553"/>
                    </a:lnTo>
                    <a:lnTo>
                      <a:pt x="6" y="471"/>
                    </a:lnTo>
                    <a:lnTo>
                      <a:pt x="23" y="395"/>
                    </a:lnTo>
                    <a:lnTo>
                      <a:pt x="51" y="320"/>
                    </a:lnTo>
                    <a:lnTo>
                      <a:pt x="90" y="252"/>
                    </a:lnTo>
                    <a:lnTo>
                      <a:pt x="135" y="191"/>
                    </a:lnTo>
                    <a:lnTo>
                      <a:pt x="191" y="135"/>
                    </a:lnTo>
                    <a:lnTo>
                      <a:pt x="251" y="90"/>
                    </a:lnTo>
                    <a:lnTo>
                      <a:pt x="320" y="52"/>
                    </a:lnTo>
                    <a:lnTo>
                      <a:pt x="394" y="23"/>
                    </a:lnTo>
                    <a:lnTo>
                      <a:pt x="471" y="6"/>
                    </a:lnTo>
                    <a:lnTo>
                      <a:pt x="5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sp>
            <p:nvSpPr>
              <p:cNvPr id="261" name="Freeform 248"/>
              <p:cNvSpPr>
                <a:spLocks noEditPoints="1"/>
              </p:cNvSpPr>
              <p:nvPr/>
            </p:nvSpPr>
            <p:spPr bwMode="auto">
              <a:xfrm>
                <a:off x="3855507" y="2887663"/>
                <a:ext cx="1770063" cy="1541463"/>
              </a:xfrm>
              <a:custGeom>
                <a:avLst/>
                <a:gdLst>
                  <a:gd name="T0" fmla="*/ 259 w 1115"/>
                  <a:gd name="T1" fmla="*/ 98 h 971"/>
                  <a:gd name="T2" fmla="*/ 33 w 1115"/>
                  <a:gd name="T3" fmla="*/ 399 h 971"/>
                  <a:gd name="T4" fmla="*/ 55 w 1115"/>
                  <a:gd name="T5" fmla="*/ 776 h 971"/>
                  <a:gd name="T6" fmla="*/ 208 w 1115"/>
                  <a:gd name="T7" fmla="*/ 933 h 971"/>
                  <a:gd name="T8" fmla="*/ 246 w 1115"/>
                  <a:gd name="T9" fmla="*/ 877 h 971"/>
                  <a:gd name="T10" fmla="*/ 221 w 1115"/>
                  <a:gd name="T11" fmla="*/ 868 h 971"/>
                  <a:gd name="T12" fmla="*/ 111 w 1115"/>
                  <a:gd name="T13" fmla="*/ 780 h 971"/>
                  <a:gd name="T14" fmla="*/ 94 w 1115"/>
                  <a:gd name="T15" fmla="*/ 576 h 971"/>
                  <a:gd name="T16" fmla="*/ 113 w 1115"/>
                  <a:gd name="T17" fmla="*/ 557 h 971"/>
                  <a:gd name="T18" fmla="*/ 94 w 1115"/>
                  <a:gd name="T19" fmla="*/ 538 h 971"/>
                  <a:gd name="T20" fmla="*/ 111 w 1115"/>
                  <a:gd name="T21" fmla="*/ 336 h 971"/>
                  <a:gd name="T22" fmla="*/ 221 w 1115"/>
                  <a:gd name="T23" fmla="*/ 246 h 971"/>
                  <a:gd name="T24" fmla="*/ 246 w 1115"/>
                  <a:gd name="T25" fmla="*/ 239 h 971"/>
                  <a:gd name="T26" fmla="*/ 217 w 1115"/>
                  <a:gd name="T27" fmla="*/ 191 h 971"/>
                  <a:gd name="T28" fmla="*/ 465 w 1115"/>
                  <a:gd name="T29" fmla="*/ 67 h 971"/>
                  <a:gd name="T30" fmla="*/ 541 w 1115"/>
                  <a:gd name="T31" fmla="*/ 105 h 971"/>
                  <a:gd name="T32" fmla="*/ 568 w 1115"/>
                  <a:gd name="T33" fmla="*/ 109 h 971"/>
                  <a:gd name="T34" fmla="*/ 581 w 1115"/>
                  <a:gd name="T35" fmla="*/ 57 h 971"/>
                  <a:gd name="T36" fmla="*/ 894 w 1115"/>
                  <a:gd name="T37" fmla="*/ 187 h 971"/>
                  <a:gd name="T38" fmla="*/ 865 w 1115"/>
                  <a:gd name="T39" fmla="*/ 233 h 971"/>
                  <a:gd name="T40" fmla="*/ 888 w 1115"/>
                  <a:gd name="T41" fmla="*/ 248 h 971"/>
                  <a:gd name="T42" fmla="*/ 970 w 1115"/>
                  <a:gd name="T43" fmla="*/ 275 h 971"/>
                  <a:gd name="T44" fmla="*/ 1056 w 1115"/>
                  <a:gd name="T45" fmla="*/ 538 h 971"/>
                  <a:gd name="T46" fmla="*/ 1002 w 1115"/>
                  <a:gd name="T47" fmla="*/ 551 h 971"/>
                  <a:gd name="T48" fmla="*/ 1014 w 1115"/>
                  <a:gd name="T49" fmla="*/ 576 h 971"/>
                  <a:gd name="T50" fmla="*/ 1031 w 1115"/>
                  <a:gd name="T51" fmla="*/ 717 h 971"/>
                  <a:gd name="T52" fmla="*/ 898 w 1115"/>
                  <a:gd name="T53" fmla="*/ 872 h 971"/>
                  <a:gd name="T54" fmla="*/ 871 w 1115"/>
                  <a:gd name="T55" fmla="*/ 872 h 971"/>
                  <a:gd name="T56" fmla="*/ 871 w 1115"/>
                  <a:gd name="T57" fmla="*/ 898 h 971"/>
                  <a:gd name="T58" fmla="*/ 1084 w 1115"/>
                  <a:gd name="T59" fmla="*/ 706 h 971"/>
                  <a:gd name="T60" fmla="*/ 1054 w 1115"/>
                  <a:gd name="T61" fmla="*/ 326 h 971"/>
                  <a:gd name="T62" fmla="*/ 789 w 1115"/>
                  <a:gd name="T63" fmla="*/ 59 h 971"/>
                  <a:gd name="T64" fmla="*/ 633 w 1115"/>
                  <a:gd name="T65" fmla="*/ 4 h 971"/>
                  <a:gd name="T66" fmla="*/ 951 w 1115"/>
                  <a:gd name="T67" fmla="*/ 162 h 971"/>
                  <a:gd name="T68" fmla="*/ 1109 w 1115"/>
                  <a:gd name="T69" fmla="*/ 483 h 971"/>
                  <a:gd name="T70" fmla="*/ 1054 w 1115"/>
                  <a:gd name="T71" fmla="*/ 811 h 971"/>
                  <a:gd name="T72" fmla="*/ 905 w 1115"/>
                  <a:gd name="T73" fmla="*/ 946 h 971"/>
                  <a:gd name="T74" fmla="*/ 858 w 1115"/>
                  <a:gd name="T75" fmla="*/ 877 h 971"/>
                  <a:gd name="T76" fmla="*/ 922 w 1115"/>
                  <a:gd name="T77" fmla="*/ 885 h 971"/>
                  <a:gd name="T78" fmla="*/ 1046 w 1115"/>
                  <a:gd name="T79" fmla="*/ 586 h 971"/>
                  <a:gd name="T80" fmla="*/ 993 w 1115"/>
                  <a:gd name="T81" fmla="*/ 567 h 971"/>
                  <a:gd name="T82" fmla="*/ 1012 w 1115"/>
                  <a:gd name="T83" fmla="*/ 530 h 971"/>
                  <a:gd name="T84" fmla="*/ 997 w 1115"/>
                  <a:gd name="T85" fmla="*/ 340 h 971"/>
                  <a:gd name="T86" fmla="*/ 877 w 1115"/>
                  <a:gd name="T87" fmla="*/ 258 h 971"/>
                  <a:gd name="T88" fmla="*/ 884 w 1115"/>
                  <a:gd name="T89" fmla="*/ 191 h 971"/>
                  <a:gd name="T90" fmla="*/ 585 w 1115"/>
                  <a:gd name="T91" fmla="*/ 67 h 971"/>
                  <a:gd name="T92" fmla="*/ 566 w 1115"/>
                  <a:gd name="T93" fmla="*/ 120 h 971"/>
                  <a:gd name="T94" fmla="*/ 530 w 1115"/>
                  <a:gd name="T95" fmla="*/ 103 h 971"/>
                  <a:gd name="T96" fmla="*/ 339 w 1115"/>
                  <a:gd name="T97" fmla="*/ 119 h 971"/>
                  <a:gd name="T98" fmla="*/ 257 w 1115"/>
                  <a:gd name="T99" fmla="*/ 237 h 971"/>
                  <a:gd name="T100" fmla="*/ 191 w 1115"/>
                  <a:gd name="T101" fmla="*/ 231 h 971"/>
                  <a:gd name="T102" fmla="*/ 67 w 1115"/>
                  <a:gd name="T103" fmla="*/ 530 h 971"/>
                  <a:gd name="T104" fmla="*/ 120 w 1115"/>
                  <a:gd name="T105" fmla="*/ 549 h 971"/>
                  <a:gd name="T106" fmla="*/ 103 w 1115"/>
                  <a:gd name="T107" fmla="*/ 584 h 971"/>
                  <a:gd name="T108" fmla="*/ 118 w 1115"/>
                  <a:gd name="T109" fmla="*/ 774 h 971"/>
                  <a:gd name="T110" fmla="*/ 236 w 1115"/>
                  <a:gd name="T111" fmla="*/ 858 h 971"/>
                  <a:gd name="T112" fmla="*/ 208 w 1115"/>
                  <a:gd name="T113" fmla="*/ 946 h 971"/>
                  <a:gd name="T114" fmla="*/ 94 w 1115"/>
                  <a:gd name="T115" fmla="*/ 868 h 971"/>
                  <a:gd name="T116" fmla="*/ 0 w 1115"/>
                  <a:gd name="T117" fmla="*/ 557 h 971"/>
                  <a:gd name="T118" fmla="*/ 116 w 1115"/>
                  <a:gd name="T119" fmla="*/ 218 h 971"/>
                  <a:gd name="T120" fmla="*/ 410 w 1115"/>
                  <a:gd name="T121" fmla="*/ 1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5" h="971">
                    <a:moveTo>
                      <a:pt x="557" y="10"/>
                    </a:moveTo>
                    <a:lnTo>
                      <a:pt x="477" y="16"/>
                    </a:lnTo>
                    <a:lnTo>
                      <a:pt x="398" y="33"/>
                    </a:lnTo>
                    <a:lnTo>
                      <a:pt x="326" y="59"/>
                    </a:lnTo>
                    <a:lnTo>
                      <a:pt x="259" y="98"/>
                    </a:lnTo>
                    <a:lnTo>
                      <a:pt x="198" y="143"/>
                    </a:lnTo>
                    <a:lnTo>
                      <a:pt x="143" y="199"/>
                    </a:lnTo>
                    <a:lnTo>
                      <a:pt x="97" y="260"/>
                    </a:lnTo>
                    <a:lnTo>
                      <a:pt x="59" y="326"/>
                    </a:lnTo>
                    <a:lnTo>
                      <a:pt x="33" y="399"/>
                    </a:lnTo>
                    <a:lnTo>
                      <a:pt x="15" y="477"/>
                    </a:lnTo>
                    <a:lnTo>
                      <a:pt x="10" y="557"/>
                    </a:lnTo>
                    <a:lnTo>
                      <a:pt x="14" y="633"/>
                    </a:lnTo>
                    <a:lnTo>
                      <a:pt x="29" y="706"/>
                    </a:lnTo>
                    <a:lnTo>
                      <a:pt x="55" y="776"/>
                    </a:lnTo>
                    <a:lnTo>
                      <a:pt x="88" y="843"/>
                    </a:lnTo>
                    <a:lnTo>
                      <a:pt x="132" y="904"/>
                    </a:lnTo>
                    <a:lnTo>
                      <a:pt x="183" y="959"/>
                    </a:lnTo>
                    <a:lnTo>
                      <a:pt x="208" y="933"/>
                    </a:lnTo>
                    <a:lnTo>
                      <a:pt x="208" y="933"/>
                    </a:lnTo>
                    <a:lnTo>
                      <a:pt x="244" y="898"/>
                    </a:lnTo>
                    <a:lnTo>
                      <a:pt x="246" y="895"/>
                    </a:lnTo>
                    <a:lnTo>
                      <a:pt x="248" y="889"/>
                    </a:lnTo>
                    <a:lnTo>
                      <a:pt x="248" y="883"/>
                    </a:lnTo>
                    <a:lnTo>
                      <a:pt x="246" y="877"/>
                    </a:lnTo>
                    <a:lnTo>
                      <a:pt x="244" y="872"/>
                    </a:lnTo>
                    <a:lnTo>
                      <a:pt x="238" y="868"/>
                    </a:lnTo>
                    <a:lnTo>
                      <a:pt x="233" y="866"/>
                    </a:lnTo>
                    <a:lnTo>
                      <a:pt x="227" y="866"/>
                    </a:lnTo>
                    <a:lnTo>
                      <a:pt x="221" y="868"/>
                    </a:lnTo>
                    <a:lnTo>
                      <a:pt x="217" y="872"/>
                    </a:lnTo>
                    <a:lnTo>
                      <a:pt x="191" y="898"/>
                    </a:lnTo>
                    <a:lnTo>
                      <a:pt x="187" y="895"/>
                    </a:lnTo>
                    <a:lnTo>
                      <a:pt x="145" y="839"/>
                    </a:lnTo>
                    <a:lnTo>
                      <a:pt x="111" y="780"/>
                    </a:lnTo>
                    <a:lnTo>
                      <a:pt x="84" y="717"/>
                    </a:lnTo>
                    <a:lnTo>
                      <a:pt x="67" y="650"/>
                    </a:lnTo>
                    <a:lnTo>
                      <a:pt x="57" y="582"/>
                    </a:lnTo>
                    <a:lnTo>
                      <a:pt x="57" y="576"/>
                    </a:lnTo>
                    <a:lnTo>
                      <a:pt x="94" y="576"/>
                    </a:lnTo>
                    <a:lnTo>
                      <a:pt x="101" y="576"/>
                    </a:lnTo>
                    <a:lnTo>
                      <a:pt x="105" y="572"/>
                    </a:lnTo>
                    <a:lnTo>
                      <a:pt x="109" y="568"/>
                    </a:lnTo>
                    <a:lnTo>
                      <a:pt x="113" y="563"/>
                    </a:lnTo>
                    <a:lnTo>
                      <a:pt x="113" y="557"/>
                    </a:lnTo>
                    <a:lnTo>
                      <a:pt x="113" y="551"/>
                    </a:lnTo>
                    <a:lnTo>
                      <a:pt x="109" y="546"/>
                    </a:lnTo>
                    <a:lnTo>
                      <a:pt x="105" y="542"/>
                    </a:lnTo>
                    <a:lnTo>
                      <a:pt x="101" y="540"/>
                    </a:lnTo>
                    <a:lnTo>
                      <a:pt x="94" y="538"/>
                    </a:lnTo>
                    <a:lnTo>
                      <a:pt x="57" y="538"/>
                    </a:lnTo>
                    <a:lnTo>
                      <a:pt x="57" y="534"/>
                    </a:lnTo>
                    <a:lnTo>
                      <a:pt x="67" y="466"/>
                    </a:lnTo>
                    <a:lnTo>
                      <a:pt x="84" y="399"/>
                    </a:lnTo>
                    <a:lnTo>
                      <a:pt x="111" y="336"/>
                    </a:lnTo>
                    <a:lnTo>
                      <a:pt x="145" y="275"/>
                    </a:lnTo>
                    <a:lnTo>
                      <a:pt x="187" y="221"/>
                    </a:lnTo>
                    <a:lnTo>
                      <a:pt x="191" y="218"/>
                    </a:lnTo>
                    <a:lnTo>
                      <a:pt x="217" y="244"/>
                    </a:lnTo>
                    <a:lnTo>
                      <a:pt x="221" y="246"/>
                    </a:lnTo>
                    <a:lnTo>
                      <a:pt x="227" y="248"/>
                    </a:lnTo>
                    <a:lnTo>
                      <a:pt x="233" y="248"/>
                    </a:lnTo>
                    <a:lnTo>
                      <a:pt x="238" y="246"/>
                    </a:lnTo>
                    <a:lnTo>
                      <a:pt x="244" y="244"/>
                    </a:lnTo>
                    <a:lnTo>
                      <a:pt x="246" y="239"/>
                    </a:lnTo>
                    <a:lnTo>
                      <a:pt x="248" y="233"/>
                    </a:lnTo>
                    <a:lnTo>
                      <a:pt x="248" y="227"/>
                    </a:lnTo>
                    <a:lnTo>
                      <a:pt x="246" y="221"/>
                    </a:lnTo>
                    <a:lnTo>
                      <a:pt x="244" y="218"/>
                    </a:lnTo>
                    <a:lnTo>
                      <a:pt x="217" y="191"/>
                    </a:lnTo>
                    <a:lnTo>
                      <a:pt x="221" y="187"/>
                    </a:lnTo>
                    <a:lnTo>
                      <a:pt x="275" y="145"/>
                    </a:lnTo>
                    <a:lnTo>
                      <a:pt x="336" y="109"/>
                    </a:lnTo>
                    <a:lnTo>
                      <a:pt x="398" y="84"/>
                    </a:lnTo>
                    <a:lnTo>
                      <a:pt x="465" y="67"/>
                    </a:lnTo>
                    <a:lnTo>
                      <a:pt x="534" y="57"/>
                    </a:lnTo>
                    <a:lnTo>
                      <a:pt x="538" y="57"/>
                    </a:lnTo>
                    <a:lnTo>
                      <a:pt x="538" y="94"/>
                    </a:lnTo>
                    <a:lnTo>
                      <a:pt x="539" y="99"/>
                    </a:lnTo>
                    <a:lnTo>
                      <a:pt x="541" y="105"/>
                    </a:lnTo>
                    <a:lnTo>
                      <a:pt x="547" y="109"/>
                    </a:lnTo>
                    <a:lnTo>
                      <a:pt x="551" y="113"/>
                    </a:lnTo>
                    <a:lnTo>
                      <a:pt x="557" y="113"/>
                    </a:lnTo>
                    <a:lnTo>
                      <a:pt x="562" y="113"/>
                    </a:lnTo>
                    <a:lnTo>
                      <a:pt x="568" y="109"/>
                    </a:lnTo>
                    <a:lnTo>
                      <a:pt x="572" y="105"/>
                    </a:lnTo>
                    <a:lnTo>
                      <a:pt x="576" y="99"/>
                    </a:lnTo>
                    <a:lnTo>
                      <a:pt x="576" y="94"/>
                    </a:lnTo>
                    <a:lnTo>
                      <a:pt x="576" y="57"/>
                    </a:lnTo>
                    <a:lnTo>
                      <a:pt x="581" y="57"/>
                    </a:lnTo>
                    <a:lnTo>
                      <a:pt x="650" y="67"/>
                    </a:lnTo>
                    <a:lnTo>
                      <a:pt x="717" y="84"/>
                    </a:lnTo>
                    <a:lnTo>
                      <a:pt x="779" y="109"/>
                    </a:lnTo>
                    <a:lnTo>
                      <a:pt x="839" y="145"/>
                    </a:lnTo>
                    <a:lnTo>
                      <a:pt x="894" y="187"/>
                    </a:lnTo>
                    <a:lnTo>
                      <a:pt x="898" y="191"/>
                    </a:lnTo>
                    <a:lnTo>
                      <a:pt x="871" y="218"/>
                    </a:lnTo>
                    <a:lnTo>
                      <a:pt x="867" y="221"/>
                    </a:lnTo>
                    <a:lnTo>
                      <a:pt x="865" y="227"/>
                    </a:lnTo>
                    <a:lnTo>
                      <a:pt x="865" y="233"/>
                    </a:lnTo>
                    <a:lnTo>
                      <a:pt x="867" y="239"/>
                    </a:lnTo>
                    <a:lnTo>
                      <a:pt x="871" y="244"/>
                    </a:lnTo>
                    <a:lnTo>
                      <a:pt x="877" y="246"/>
                    </a:lnTo>
                    <a:lnTo>
                      <a:pt x="882" y="248"/>
                    </a:lnTo>
                    <a:lnTo>
                      <a:pt x="888" y="248"/>
                    </a:lnTo>
                    <a:lnTo>
                      <a:pt x="894" y="246"/>
                    </a:lnTo>
                    <a:lnTo>
                      <a:pt x="898" y="244"/>
                    </a:lnTo>
                    <a:lnTo>
                      <a:pt x="924" y="218"/>
                    </a:lnTo>
                    <a:lnTo>
                      <a:pt x="926" y="221"/>
                    </a:lnTo>
                    <a:lnTo>
                      <a:pt x="970" y="275"/>
                    </a:lnTo>
                    <a:lnTo>
                      <a:pt x="1004" y="336"/>
                    </a:lnTo>
                    <a:lnTo>
                      <a:pt x="1031" y="399"/>
                    </a:lnTo>
                    <a:lnTo>
                      <a:pt x="1048" y="466"/>
                    </a:lnTo>
                    <a:lnTo>
                      <a:pt x="1056" y="534"/>
                    </a:lnTo>
                    <a:lnTo>
                      <a:pt x="1056" y="538"/>
                    </a:lnTo>
                    <a:lnTo>
                      <a:pt x="1020" y="538"/>
                    </a:lnTo>
                    <a:lnTo>
                      <a:pt x="1014" y="540"/>
                    </a:lnTo>
                    <a:lnTo>
                      <a:pt x="1008" y="542"/>
                    </a:lnTo>
                    <a:lnTo>
                      <a:pt x="1004" y="546"/>
                    </a:lnTo>
                    <a:lnTo>
                      <a:pt x="1002" y="551"/>
                    </a:lnTo>
                    <a:lnTo>
                      <a:pt x="1001" y="557"/>
                    </a:lnTo>
                    <a:lnTo>
                      <a:pt x="1002" y="563"/>
                    </a:lnTo>
                    <a:lnTo>
                      <a:pt x="1004" y="568"/>
                    </a:lnTo>
                    <a:lnTo>
                      <a:pt x="1008" y="572"/>
                    </a:lnTo>
                    <a:lnTo>
                      <a:pt x="1014" y="576"/>
                    </a:lnTo>
                    <a:lnTo>
                      <a:pt x="1020" y="576"/>
                    </a:lnTo>
                    <a:lnTo>
                      <a:pt x="1056" y="576"/>
                    </a:lnTo>
                    <a:lnTo>
                      <a:pt x="1056" y="582"/>
                    </a:lnTo>
                    <a:lnTo>
                      <a:pt x="1048" y="650"/>
                    </a:lnTo>
                    <a:lnTo>
                      <a:pt x="1031" y="717"/>
                    </a:lnTo>
                    <a:lnTo>
                      <a:pt x="1004" y="780"/>
                    </a:lnTo>
                    <a:lnTo>
                      <a:pt x="970" y="839"/>
                    </a:lnTo>
                    <a:lnTo>
                      <a:pt x="926" y="895"/>
                    </a:lnTo>
                    <a:lnTo>
                      <a:pt x="924" y="898"/>
                    </a:lnTo>
                    <a:lnTo>
                      <a:pt x="898" y="872"/>
                    </a:lnTo>
                    <a:lnTo>
                      <a:pt x="894" y="868"/>
                    </a:lnTo>
                    <a:lnTo>
                      <a:pt x="888" y="866"/>
                    </a:lnTo>
                    <a:lnTo>
                      <a:pt x="882" y="866"/>
                    </a:lnTo>
                    <a:lnTo>
                      <a:pt x="877" y="868"/>
                    </a:lnTo>
                    <a:lnTo>
                      <a:pt x="871" y="872"/>
                    </a:lnTo>
                    <a:lnTo>
                      <a:pt x="867" y="877"/>
                    </a:lnTo>
                    <a:lnTo>
                      <a:pt x="865" y="883"/>
                    </a:lnTo>
                    <a:lnTo>
                      <a:pt x="865" y="889"/>
                    </a:lnTo>
                    <a:lnTo>
                      <a:pt x="867" y="895"/>
                    </a:lnTo>
                    <a:lnTo>
                      <a:pt x="871" y="898"/>
                    </a:lnTo>
                    <a:lnTo>
                      <a:pt x="932" y="957"/>
                    </a:lnTo>
                    <a:lnTo>
                      <a:pt x="983" y="904"/>
                    </a:lnTo>
                    <a:lnTo>
                      <a:pt x="1025" y="843"/>
                    </a:lnTo>
                    <a:lnTo>
                      <a:pt x="1060" y="776"/>
                    </a:lnTo>
                    <a:lnTo>
                      <a:pt x="1084" y="706"/>
                    </a:lnTo>
                    <a:lnTo>
                      <a:pt x="1100" y="633"/>
                    </a:lnTo>
                    <a:lnTo>
                      <a:pt x="1105" y="557"/>
                    </a:lnTo>
                    <a:lnTo>
                      <a:pt x="1100" y="477"/>
                    </a:lnTo>
                    <a:lnTo>
                      <a:pt x="1082" y="399"/>
                    </a:lnTo>
                    <a:lnTo>
                      <a:pt x="1054" y="326"/>
                    </a:lnTo>
                    <a:lnTo>
                      <a:pt x="1018" y="260"/>
                    </a:lnTo>
                    <a:lnTo>
                      <a:pt x="970" y="199"/>
                    </a:lnTo>
                    <a:lnTo>
                      <a:pt x="917" y="143"/>
                    </a:lnTo>
                    <a:lnTo>
                      <a:pt x="856" y="98"/>
                    </a:lnTo>
                    <a:lnTo>
                      <a:pt x="789" y="59"/>
                    </a:lnTo>
                    <a:lnTo>
                      <a:pt x="715" y="33"/>
                    </a:lnTo>
                    <a:lnTo>
                      <a:pt x="638" y="16"/>
                    </a:lnTo>
                    <a:lnTo>
                      <a:pt x="557" y="10"/>
                    </a:lnTo>
                    <a:close/>
                    <a:moveTo>
                      <a:pt x="557" y="0"/>
                    </a:moveTo>
                    <a:lnTo>
                      <a:pt x="633" y="4"/>
                    </a:lnTo>
                    <a:lnTo>
                      <a:pt x="705" y="19"/>
                    </a:lnTo>
                    <a:lnTo>
                      <a:pt x="774" y="44"/>
                    </a:lnTo>
                    <a:lnTo>
                      <a:pt x="839" y="77"/>
                    </a:lnTo>
                    <a:lnTo>
                      <a:pt x="898" y="117"/>
                    </a:lnTo>
                    <a:lnTo>
                      <a:pt x="951" y="162"/>
                    </a:lnTo>
                    <a:lnTo>
                      <a:pt x="999" y="218"/>
                    </a:lnTo>
                    <a:lnTo>
                      <a:pt x="1039" y="277"/>
                    </a:lnTo>
                    <a:lnTo>
                      <a:pt x="1071" y="342"/>
                    </a:lnTo>
                    <a:lnTo>
                      <a:pt x="1096" y="410"/>
                    </a:lnTo>
                    <a:lnTo>
                      <a:pt x="1109" y="483"/>
                    </a:lnTo>
                    <a:lnTo>
                      <a:pt x="1115" y="557"/>
                    </a:lnTo>
                    <a:lnTo>
                      <a:pt x="1111" y="624"/>
                    </a:lnTo>
                    <a:lnTo>
                      <a:pt x="1100" y="689"/>
                    </a:lnTo>
                    <a:lnTo>
                      <a:pt x="1081" y="752"/>
                    </a:lnTo>
                    <a:lnTo>
                      <a:pt x="1054" y="811"/>
                    </a:lnTo>
                    <a:lnTo>
                      <a:pt x="1020" y="868"/>
                    </a:lnTo>
                    <a:lnTo>
                      <a:pt x="981" y="921"/>
                    </a:lnTo>
                    <a:lnTo>
                      <a:pt x="934" y="969"/>
                    </a:lnTo>
                    <a:lnTo>
                      <a:pt x="932" y="971"/>
                    </a:lnTo>
                    <a:lnTo>
                      <a:pt x="905" y="946"/>
                    </a:lnTo>
                    <a:lnTo>
                      <a:pt x="905" y="946"/>
                    </a:lnTo>
                    <a:lnTo>
                      <a:pt x="903" y="942"/>
                    </a:lnTo>
                    <a:lnTo>
                      <a:pt x="865" y="906"/>
                    </a:lnTo>
                    <a:lnTo>
                      <a:pt x="858" y="893"/>
                    </a:lnTo>
                    <a:lnTo>
                      <a:pt x="858" y="877"/>
                    </a:lnTo>
                    <a:lnTo>
                      <a:pt x="865" y="866"/>
                    </a:lnTo>
                    <a:lnTo>
                      <a:pt x="877" y="858"/>
                    </a:lnTo>
                    <a:lnTo>
                      <a:pt x="892" y="858"/>
                    </a:lnTo>
                    <a:lnTo>
                      <a:pt x="905" y="866"/>
                    </a:lnTo>
                    <a:lnTo>
                      <a:pt x="922" y="885"/>
                    </a:lnTo>
                    <a:lnTo>
                      <a:pt x="964" y="832"/>
                    </a:lnTo>
                    <a:lnTo>
                      <a:pt x="997" y="774"/>
                    </a:lnTo>
                    <a:lnTo>
                      <a:pt x="1021" y="715"/>
                    </a:lnTo>
                    <a:lnTo>
                      <a:pt x="1039" y="650"/>
                    </a:lnTo>
                    <a:lnTo>
                      <a:pt x="1046" y="586"/>
                    </a:lnTo>
                    <a:lnTo>
                      <a:pt x="1020" y="586"/>
                    </a:lnTo>
                    <a:lnTo>
                      <a:pt x="1012" y="584"/>
                    </a:lnTo>
                    <a:lnTo>
                      <a:pt x="1004" y="580"/>
                    </a:lnTo>
                    <a:lnTo>
                      <a:pt x="997" y="574"/>
                    </a:lnTo>
                    <a:lnTo>
                      <a:pt x="993" y="567"/>
                    </a:lnTo>
                    <a:lnTo>
                      <a:pt x="993" y="557"/>
                    </a:lnTo>
                    <a:lnTo>
                      <a:pt x="993" y="549"/>
                    </a:lnTo>
                    <a:lnTo>
                      <a:pt x="997" y="542"/>
                    </a:lnTo>
                    <a:lnTo>
                      <a:pt x="1004" y="534"/>
                    </a:lnTo>
                    <a:lnTo>
                      <a:pt x="1012" y="530"/>
                    </a:lnTo>
                    <a:lnTo>
                      <a:pt x="1020" y="530"/>
                    </a:lnTo>
                    <a:lnTo>
                      <a:pt x="1046" y="530"/>
                    </a:lnTo>
                    <a:lnTo>
                      <a:pt x="1039" y="464"/>
                    </a:lnTo>
                    <a:lnTo>
                      <a:pt x="1021" y="401"/>
                    </a:lnTo>
                    <a:lnTo>
                      <a:pt x="997" y="340"/>
                    </a:lnTo>
                    <a:lnTo>
                      <a:pt x="964" y="282"/>
                    </a:lnTo>
                    <a:lnTo>
                      <a:pt x="924" y="231"/>
                    </a:lnTo>
                    <a:lnTo>
                      <a:pt x="905" y="250"/>
                    </a:lnTo>
                    <a:lnTo>
                      <a:pt x="892" y="258"/>
                    </a:lnTo>
                    <a:lnTo>
                      <a:pt x="877" y="258"/>
                    </a:lnTo>
                    <a:lnTo>
                      <a:pt x="865" y="250"/>
                    </a:lnTo>
                    <a:lnTo>
                      <a:pt x="858" y="237"/>
                    </a:lnTo>
                    <a:lnTo>
                      <a:pt x="858" y="223"/>
                    </a:lnTo>
                    <a:lnTo>
                      <a:pt x="865" y="210"/>
                    </a:lnTo>
                    <a:lnTo>
                      <a:pt x="884" y="191"/>
                    </a:lnTo>
                    <a:lnTo>
                      <a:pt x="831" y="151"/>
                    </a:lnTo>
                    <a:lnTo>
                      <a:pt x="776" y="119"/>
                    </a:lnTo>
                    <a:lnTo>
                      <a:pt x="715" y="92"/>
                    </a:lnTo>
                    <a:lnTo>
                      <a:pt x="650" y="77"/>
                    </a:lnTo>
                    <a:lnTo>
                      <a:pt x="585" y="67"/>
                    </a:lnTo>
                    <a:lnTo>
                      <a:pt x="585" y="94"/>
                    </a:lnTo>
                    <a:lnTo>
                      <a:pt x="583" y="103"/>
                    </a:lnTo>
                    <a:lnTo>
                      <a:pt x="579" y="111"/>
                    </a:lnTo>
                    <a:lnTo>
                      <a:pt x="574" y="117"/>
                    </a:lnTo>
                    <a:lnTo>
                      <a:pt x="566" y="120"/>
                    </a:lnTo>
                    <a:lnTo>
                      <a:pt x="557" y="122"/>
                    </a:lnTo>
                    <a:lnTo>
                      <a:pt x="549" y="120"/>
                    </a:lnTo>
                    <a:lnTo>
                      <a:pt x="541" y="117"/>
                    </a:lnTo>
                    <a:lnTo>
                      <a:pt x="534" y="111"/>
                    </a:lnTo>
                    <a:lnTo>
                      <a:pt x="530" y="103"/>
                    </a:lnTo>
                    <a:lnTo>
                      <a:pt x="530" y="94"/>
                    </a:lnTo>
                    <a:lnTo>
                      <a:pt x="530" y="67"/>
                    </a:lnTo>
                    <a:lnTo>
                      <a:pt x="463" y="77"/>
                    </a:lnTo>
                    <a:lnTo>
                      <a:pt x="400" y="92"/>
                    </a:lnTo>
                    <a:lnTo>
                      <a:pt x="339" y="119"/>
                    </a:lnTo>
                    <a:lnTo>
                      <a:pt x="282" y="151"/>
                    </a:lnTo>
                    <a:lnTo>
                      <a:pt x="231" y="191"/>
                    </a:lnTo>
                    <a:lnTo>
                      <a:pt x="250" y="210"/>
                    </a:lnTo>
                    <a:lnTo>
                      <a:pt x="257" y="223"/>
                    </a:lnTo>
                    <a:lnTo>
                      <a:pt x="257" y="237"/>
                    </a:lnTo>
                    <a:lnTo>
                      <a:pt x="250" y="250"/>
                    </a:lnTo>
                    <a:lnTo>
                      <a:pt x="236" y="258"/>
                    </a:lnTo>
                    <a:lnTo>
                      <a:pt x="223" y="258"/>
                    </a:lnTo>
                    <a:lnTo>
                      <a:pt x="210" y="250"/>
                    </a:lnTo>
                    <a:lnTo>
                      <a:pt x="191" y="231"/>
                    </a:lnTo>
                    <a:lnTo>
                      <a:pt x="151" y="282"/>
                    </a:lnTo>
                    <a:lnTo>
                      <a:pt x="118" y="340"/>
                    </a:lnTo>
                    <a:lnTo>
                      <a:pt x="92" y="401"/>
                    </a:lnTo>
                    <a:lnTo>
                      <a:pt x="76" y="464"/>
                    </a:lnTo>
                    <a:lnTo>
                      <a:pt x="67" y="530"/>
                    </a:lnTo>
                    <a:lnTo>
                      <a:pt x="94" y="530"/>
                    </a:lnTo>
                    <a:lnTo>
                      <a:pt x="103" y="530"/>
                    </a:lnTo>
                    <a:lnTo>
                      <a:pt x="111" y="534"/>
                    </a:lnTo>
                    <a:lnTo>
                      <a:pt x="116" y="542"/>
                    </a:lnTo>
                    <a:lnTo>
                      <a:pt x="120" y="549"/>
                    </a:lnTo>
                    <a:lnTo>
                      <a:pt x="122" y="557"/>
                    </a:lnTo>
                    <a:lnTo>
                      <a:pt x="120" y="567"/>
                    </a:lnTo>
                    <a:lnTo>
                      <a:pt x="116" y="574"/>
                    </a:lnTo>
                    <a:lnTo>
                      <a:pt x="111" y="580"/>
                    </a:lnTo>
                    <a:lnTo>
                      <a:pt x="103" y="584"/>
                    </a:lnTo>
                    <a:lnTo>
                      <a:pt x="94" y="586"/>
                    </a:lnTo>
                    <a:lnTo>
                      <a:pt x="67" y="586"/>
                    </a:lnTo>
                    <a:lnTo>
                      <a:pt x="76" y="650"/>
                    </a:lnTo>
                    <a:lnTo>
                      <a:pt x="94" y="715"/>
                    </a:lnTo>
                    <a:lnTo>
                      <a:pt x="118" y="774"/>
                    </a:lnTo>
                    <a:lnTo>
                      <a:pt x="151" y="832"/>
                    </a:lnTo>
                    <a:lnTo>
                      <a:pt x="191" y="885"/>
                    </a:lnTo>
                    <a:lnTo>
                      <a:pt x="210" y="866"/>
                    </a:lnTo>
                    <a:lnTo>
                      <a:pt x="223" y="858"/>
                    </a:lnTo>
                    <a:lnTo>
                      <a:pt x="236" y="858"/>
                    </a:lnTo>
                    <a:lnTo>
                      <a:pt x="250" y="866"/>
                    </a:lnTo>
                    <a:lnTo>
                      <a:pt x="257" y="877"/>
                    </a:lnTo>
                    <a:lnTo>
                      <a:pt x="257" y="893"/>
                    </a:lnTo>
                    <a:lnTo>
                      <a:pt x="250" y="906"/>
                    </a:lnTo>
                    <a:lnTo>
                      <a:pt x="208" y="946"/>
                    </a:lnTo>
                    <a:lnTo>
                      <a:pt x="208" y="946"/>
                    </a:lnTo>
                    <a:lnTo>
                      <a:pt x="183" y="971"/>
                    </a:lnTo>
                    <a:lnTo>
                      <a:pt x="179" y="969"/>
                    </a:lnTo>
                    <a:lnTo>
                      <a:pt x="134" y="921"/>
                    </a:lnTo>
                    <a:lnTo>
                      <a:pt x="94" y="868"/>
                    </a:lnTo>
                    <a:lnTo>
                      <a:pt x="61" y="813"/>
                    </a:lnTo>
                    <a:lnTo>
                      <a:pt x="34" y="752"/>
                    </a:lnTo>
                    <a:lnTo>
                      <a:pt x="15" y="689"/>
                    </a:lnTo>
                    <a:lnTo>
                      <a:pt x="4" y="624"/>
                    </a:lnTo>
                    <a:lnTo>
                      <a:pt x="0" y="557"/>
                    </a:lnTo>
                    <a:lnTo>
                      <a:pt x="4" y="483"/>
                    </a:lnTo>
                    <a:lnTo>
                      <a:pt x="19" y="410"/>
                    </a:lnTo>
                    <a:lnTo>
                      <a:pt x="44" y="342"/>
                    </a:lnTo>
                    <a:lnTo>
                      <a:pt x="76" y="277"/>
                    </a:lnTo>
                    <a:lnTo>
                      <a:pt x="116" y="218"/>
                    </a:lnTo>
                    <a:lnTo>
                      <a:pt x="164" y="162"/>
                    </a:lnTo>
                    <a:lnTo>
                      <a:pt x="217" y="117"/>
                    </a:lnTo>
                    <a:lnTo>
                      <a:pt x="276" y="77"/>
                    </a:lnTo>
                    <a:lnTo>
                      <a:pt x="341" y="44"/>
                    </a:lnTo>
                    <a:lnTo>
                      <a:pt x="410" y="19"/>
                    </a:lnTo>
                    <a:lnTo>
                      <a:pt x="482" y="4"/>
                    </a:lnTo>
                    <a:lnTo>
                      <a:pt x="5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itchFamily="34" charset="0"/>
                  <a:cs typeface="Arial" pitchFamily="34" charset="0"/>
                </a:endParaRPr>
              </a:p>
            </p:txBody>
          </p:sp>
        </p:grpSp>
      </p:grpSp>
      <p:grpSp>
        <p:nvGrpSpPr>
          <p:cNvPr id="3" name="Groupe 669"/>
          <p:cNvGrpSpPr/>
          <p:nvPr/>
        </p:nvGrpSpPr>
        <p:grpSpPr>
          <a:xfrm>
            <a:off x="5682690" y="1773272"/>
            <a:ext cx="454035" cy="504057"/>
            <a:chOff x="6470651" y="2876550"/>
            <a:chExt cx="374650" cy="415926"/>
          </a:xfrm>
        </p:grpSpPr>
        <p:sp>
          <p:nvSpPr>
            <p:cNvPr id="70" name="Freeform 283"/>
            <p:cNvSpPr>
              <a:spLocks/>
            </p:cNvSpPr>
            <p:nvPr/>
          </p:nvSpPr>
          <p:spPr bwMode="auto">
            <a:xfrm>
              <a:off x="6470651" y="3043238"/>
              <a:ext cx="374650" cy="249238"/>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1" name="Freeform 284"/>
            <p:cNvSpPr>
              <a:spLocks/>
            </p:cNvSpPr>
            <p:nvPr/>
          </p:nvSpPr>
          <p:spPr bwMode="auto">
            <a:xfrm>
              <a:off x="6654801" y="2951163"/>
              <a:ext cx="76200"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2" name="Freeform 285"/>
            <p:cNvSpPr>
              <a:spLocks/>
            </p:cNvSpPr>
            <p:nvPr/>
          </p:nvSpPr>
          <p:spPr bwMode="auto">
            <a:xfrm>
              <a:off x="6616701" y="2876550"/>
              <a:ext cx="50800"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73" name="Line 286"/>
            <p:cNvSpPr>
              <a:spLocks noChangeShapeType="1"/>
            </p:cNvSpPr>
            <p:nvPr/>
          </p:nvSpPr>
          <p:spPr bwMode="auto">
            <a:xfrm>
              <a:off x="6648451" y="2960688"/>
              <a:ext cx="15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latin typeface="Arial" pitchFamily="34" charset="0"/>
                <a:cs typeface="Arial" pitchFamily="34" charset="0"/>
              </a:endParaRPr>
            </a:p>
          </p:txBody>
        </p:sp>
        <p:sp>
          <p:nvSpPr>
            <p:cNvPr id="74" name="Freeform 287"/>
            <p:cNvSpPr>
              <a:spLocks/>
            </p:cNvSpPr>
            <p:nvPr/>
          </p:nvSpPr>
          <p:spPr bwMode="auto">
            <a:xfrm>
              <a:off x="6627813" y="3055938"/>
              <a:ext cx="38100"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5" name="Freeform 288"/>
            <p:cNvSpPr>
              <a:spLocks/>
            </p:cNvSpPr>
            <p:nvPr/>
          </p:nvSpPr>
          <p:spPr bwMode="auto">
            <a:xfrm>
              <a:off x="6578601" y="2976563"/>
              <a:ext cx="17463" cy="69850"/>
            </a:xfrm>
            <a:custGeom>
              <a:avLst/>
              <a:gdLst/>
              <a:ahLst/>
              <a:cxnLst>
                <a:cxn ang="0">
                  <a:pos x="9" y="0"/>
                </a:cxn>
                <a:cxn ang="0">
                  <a:pos x="0" y="36"/>
                </a:cxn>
              </a:cxnLst>
              <a:rect l="0" t="0" r="r" b="b"/>
              <a:pathLst>
                <a:path w="9" h="36">
                  <a:moveTo>
                    <a:pt x="9" y="0"/>
                  </a:moveTo>
                  <a:cubicBezTo>
                    <a:pt x="7" y="10"/>
                    <a:pt x="1" y="28"/>
                    <a:pt x="0" y="36"/>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6" name="Freeform 289"/>
            <p:cNvSpPr>
              <a:spLocks/>
            </p:cNvSpPr>
            <p:nvPr/>
          </p:nvSpPr>
          <p:spPr bwMode="auto">
            <a:xfrm>
              <a:off x="6524626" y="2946400"/>
              <a:ext cx="88900"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7" name="Freeform 290"/>
            <p:cNvSpPr>
              <a:spLocks/>
            </p:cNvSpPr>
            <p:nvPr/>
          </p:nvSpPr>
          <p:spPr bwMode="auto">
            <a:xfrm>
              <a:off x="6530976" y="3043238"/>
              <a:ext cx="76200"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62" name="Groupe 71"/>
          <p:cNvGrpSpPr/>
          <p:nvPr/>
        </p:nvGrpSpPr>
        <p:grpSpPr>
          <a:xfrm>
            <a:off x="8790373" y="1769963"/>
            <a:ext cx="565118" cy="454467"/>
            <a:chOff x="1755776" y="5140323"/>
            <a:chExt cx="465137" cy="393701"/>
          </a:xfrm>
        </p:grpSpPr>
        <p:sp>
          <p:nvSpPr>
            <p:cNvPr id="263" name="Freeform 282"/>
            <p:cNvSpPr>
              <a:spLocks noEditPoints="1"/>
            </p:cNvSpPr>
            <p:nvPr/>
          </p:nvSpPr>
          <p:spPr bwMode="auto">
            <a:xfrm>
              <a:off x="1755776" y="5140323"/>
              <a:ext cx="395288" cy="239713"/>
            </a:xfrm>
            <a:custGeom>
              <a:avLst/>
              <a:gdLst/>
              <a:ahLst/>
              <a:cxnLst>
                <a:cxn ang="0">
                  <a:pos x="7" y="28"/>
                </a:cxn>
                <a:cxn ang="0">
                  <a:pos x="106" y="0"/>
                </a:cxn>
                <a:cxn ang="0">
                  <a:pos x="204" y="28"/>
                </a:cxn>
                <a:cxn ang="0">
                  <a:pos x="182" y="35"/>
                </a:cxn>
                <a:cxn ang="0">
                  <a:pos x="173" y="37"/>
                </a:cxn>
                <a:cxn ang="0">
                  <a:pos x="167" y="39"/>
                </a:cxn>
                <a:cxn ang="0">
                  <a:pos x="106" y="57"/>
                </a:cxn>
                <a:cxn ang="0">
                  <a:pos x="7" y="28"/>
                </a:cxn>
                <a:cxn ang="0">
                  <a:pos x="11" y="124"/>
                </a:cxn>
                <a:cxn ang="0">
                  <a:pos x="13" y="101"/>
                </a:cxn>
                <a:cxn ang="0">
                  <a:pos x="11" y="124"/>
                </a:cxn>
                <a:cxn ang="0">
                  <a:pos x="14" y="35"/>
                </a:cxn>
                <a:cxn ang="0">
                  <a:pos x="10" y="33"/>
                </a:cxn>
                <a:cxn ang="0">
                  <a:pos x="10" y="97"/>
                </a:cxn>
                <a:cxn ang="0">
                  <a:pos x="12" y="99"/>
                </a:cxn>
                <a:cxn ang="0">
                  <a:pos x="12" y="99"/>
                </a:cxn>
                <a:cxn ang="0">
                  <a:pos x="14" y="97"/>
                </a:cxn>
                <a:cxn ang="0">
                  <a:pos x="14" y="35"/>
                </a:cxn>
                <a:cxn ang="0">
                  <a:pos x="144" y="53"/>
                </a:cxn>
                <a:cxn ang="0">
                  <a:pos x="106" y="64"/>
                </a:cxn>
                <a:cxn ang="0">
                  <a:pos x="68" y="53"/>
                </a:cxn>
                <a:cxn ang="0">
                  <a:pos x="60" y="71"/>
                </a:cxn>
                <a:cxn ang="0">
                  <a:pos x="106" y="84"/>
                </a:cxn>
                <a:cxn ang="0">
                  <a:pos x="151" y="71"/>
                </a:cxn>
                <a:cxn ang="0">
                  <a:pos x="144" y="53"/>
                </a:cxn>
              </a:cxnLst>
              <a:rect l="0" t="0" r="r" b="b"/>
              <a:pathLst>
                <a:path w="204" h="124">
                  <a:moveTo>
                    <a:pt x="7" y="28"/>
                  </a:moveTo>
                  <a:cubicBezTo>
                    <a:pt x="106" y="0"/>
                    <a:pt x="106" y="0"/>
                    <a:pt x="106" y="0"/>
                  </a:cubicBezTo>
                  <a:cubicBezTo>
                    <a:pt x="204" y="28"/>
                    <a:pt x="204" y="28"/>
                    <a:pt x="204" y="28"/>
                  </a:cubicBezTo>
                  <a:cubicBezTo>
                    <a:pt x="182" y="35"/>
                    <a:pt x="182" y="35"/>
                    <a:pt x="182" y="35"/>
                  </a:cubicBezTo>
                  <a:cubicBezTo>
                    <a:pt x="173" y="37"/>
                    <a:pt x="173" y="37"/>
                    <a:pt x="173" y="37"/>
                  </a:cubicBezTo>
                  <a:cubicBezTo>
                    <a:pt x="167" y="39"/>
                    <a:pt x="167" y="39"/>
                    <a:pt x="167" y="39"/>
                  </a:cubicBezTo>
                  <a:cubicBezTo>
                    <a:pt x="106" y="57"/>
                    <a:pt x="106" y="57"/>
                    <a:pt x="106" y="57"/>
                  </a:cubicBezTo>
                  <a:lnTo>
                    <a:pt x="7" y="28"/>
                  </a:lnTo>
                  <a:close/>
                  <a:moveTo>
                    <a:pt x="11" y="124"/>
                  </a:moveTo>
                  <a:cubicBezTo>
                    <a:pt x="13" y="118"/>
                    <a:pt x="0" y="109"/>
                    <a:pt x="13" y="101"/>
                  </a:cubicBezTo>
                  <a:cubicBezTo>
                    <a:pt x="19" y="107"/>
                    <a:pt x="17" y="118"/>
                    <a:pt x="11" y="124"/>
                  </a:cubicBezTo>
                  <a:close/>
                  <a:moveTo>
                    <a:pt x="14" y="35"/>
                  </a:moveTo>
                  <a:cubicBezTo>
                    <a:pt x="10" y="33"/>
                    <a:pt x="10" y="33"/>
                    <a:pt x="10" y="33"/>
                  </a:cubicBezTo>
                  <a:cubicBezTo>
                    <a:pt x="10" y="97"/>
                    <a:pt x="10" y="97"/>
                    <a:pt x="10" y="97"/>
                  </a:cubicBezTo>
                  <a:cubicBezTo>
                    <a:pt x="10" y="98"/>
                    <a:pt x="11" y="99"/>
                    <a:pt x="12" y="99"/>
                  </a:cubicBezTo>
                  <a:cubicBezTo>
                    <a:pt x="12" y="99"/>
                    <a:pt x="12" y="99"/>
                    <a:pt x="12" y="99"/>
                  </a:cubicBezTo>
                  <a:cubicBezTo>
                    <a:pt x="14" y="99"/>
                    <a:pt x="14" y="98"/>
                    <a:pt x="14" y="97"/>
                  </a:cubicBezTo>
                  <a:lnTo>
                    <a:pt x="14" y="35"/>
                  </a:lnTo>
                  <a:close/>
                  <a:moveTo>
                    <a:pt x="144" y="53"/>
                  </a:moveTo>
                  <a:cubicBezTo>
                    <a:pt x="106" y="64"/>
                    <a:pt x="106" y="64"/>
                    <a:pt x="106" y="64"/>
                  </a:cubicBezTo>
                  <a:cubicBezTo>
                    <a:pt x="68" y="53"/>
                    <a:pt x="68" y="53"/>
                    <a:pt x="68" y="53"/>
                  </a:cubicBezTo>
                  <a:cubicBezTo>
                    <a:pt x="64" y="58"/>
                    <a:pt x="61" y="65"/>
                    <a:pt x="60" y="71"/>
                  </a:cubicBezTo>
                  <a:cubicBezTo>
                    <a:pt x="106" y="84"/>
                    <a:pt x="106" y="84"/>
                    <a:pt x="106" y="84"/>
                  </a:cubicBezTo>
                  <a:cubicBezTo>
                    <a:pt x="151" y="71"/>
                    <a:pt x="151" y="71"/>
                    <a:pt x="151" y="71"/>
                  </a:cubicBezTo>
                  <a:cubicBezTo>
                    <a:pt x="150" y="65"/>
                    <a:pt x="148" y="58"/>
                    <a:pt x="144" y="53"/>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4" name="Freeform 283"/>
            <p:cNvSpPr>
              <a:spLocks/>
            </p:cNvSpPr>
            <p:nvPr/>
          </p:nvSpPr>
          <p:spPr bwMode="auto">
            <a:xfrm>
              <a:off x="2132013" y="5272086"/>
              <a:ext cx="88900" cy="90488"/>
            </a:xfrm>
            <a:custGeom>
              <a:avLst/>
              <a:gdLst/>
              <a:ahLst/>
              <a:cxnLst>
                <a:cxn ang="0">
                  <a:pos x="33" y="37"/>
                </a:cxn>
                <a:cxn ang="0">
                  <a:pos x="6" y="18"/>
                </a:cxn>
                <a:cxn ang="0">
                  <a:pos x="0" y="28"/>
                </a:cxn>
                <a:cxn ang="0">
                  <a:pos x="5" y="30"/>
                </a:cxn>
                <a:cxn ang="0">
                  <a:pos x="23" y="42"/>
                </a:cxn>
                <a:cxn ang="0">
                  <a:pos x="27" y="47"/>
                </a:cxn>
                <a:cxn ang="0">
                  <a:pos x="33" y="37"/>
                </a:cxn>
              </a:cxnLst>
              <a:rect l="0" t="0" r="r" b="b"/>
              <a:pathLst>
                <a:path w="46" h="47">
                  <a:moveTo>
                    <a:pt x="33" y="37"/>
                  </a:moveTo>
                  <a:cubicBezTo>
                    <a:pt x="46" y="19"/>
                    <a:pt x="19" y="0"/>
                    <a:pt x="6" y="18"/>
                  </a:cubicBezTo>
                  <a:cubicBezTo>
                    <a:pt x="0" y="28"/>
                    <a:pt x="0" y="28"/>
                    <a:pt x="0" y="28"/>
                  </a:cubicBezTo>
                  <a:cubicBezTo>
                    <a:pt x="1" y="28"/>
                    <a:pt x="3" y="29"/>
                    <a:pt x="5" y="30"/>
                  </a:cubicBezTo>
                  <a:cubicBezTo>
                    <a:pt x="23" y="42"/>
                    <a:pt x="23" y="42"/>
                    <a:pt x="23" y="42"/>
                  </a:cubicBezTo>
                  <a:cubicBezTo>
                    <a:pt x="24" y="44"/>
                    <a:pt x="26" y="45"/>
                    <a:pt x="27" y="47"/>
                  </a:cubicBezTo>
                  <a:lnTo>
                    <a:pt x="33" y="37"/>
                  </a:ln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5" name="Freeform 284"/>
            <p:cNvSpPr>
              <a:spLocks/>
            </p:cNvSpPr>
            <p:nvPr/>
          </p:nvSpPr>
          <p:spPr bwMode="auto">
            <a:xfrm>
              <a:off x="2046288" y="5340348"/>
              <a:ext cx="125413" cy="142875"/>
            </a:xfrm>
            <a:custGeom>
              <a:avLst/>
              <a:gdLst/>
              <a:ahLst/>
              <a:cxnLst>
                <a:cxn ang="0">
                  <a:pos x="44" y="2"/>
                </a:cxn>
                <a:cxn ang="0">
                  <a:pos x="62" y="14"/>
                </a:cxn>
                <a:cxn ang="0">
                  <a:pos x="63" y="22"/>
                </a:cxn>
                <a:cxn ang="0">
                  <a:pos x="29" y="71"/>
                </a:cxn>
                <a:cxn ang="0">
                  <a:pos x="21" y="72"/>
                </a:cxn>
                <a:cxn ang="0">
                  <a:pos x="3" y="60"/>
                </a:cxn>
                <a:cxn ang="0">
                  <a:pos x="2" y="52"/>
                </a:cxn>
                <a:cxn ang="0">
                  <a:pos x="36" y="3"/>
                </a:cxn>
                <a:cxn ang="0">
                  <a:pos x="44" y="2"/>
                </a:cxn>
              </a:cxnLst>
              <a:rect l="0" t="0" r="r" b="b"/>
              <a:pathLst>
                <a:path w="65" h="74">
                  <a:moveTo>
                    <a:pt x="44" y="2"/>
                  </a:moveTo>
                  <a:cubicBezTo>
                    <a:pt x="62" y="14"/>
                    <a:pt x="62" y="14"/>
                    <a:pt x="62" y="14"/>
                  </a:cubicBezTo>
                  <a:cubicBezTo>
                    <a:pt x="65" y="16"/>
                    <a:pt x="65" y="19"/>
                    <a:pt x="63" y="22"/>
                  </a:cubicBezTo>
                  <a:cubicBezTo>
                    <a:pt x="29" y="71"/>
                    <a:pt x="29" y="71"/>
                    <a:pt x="29" y="71"/>
                  </a:cubicBezTo>
                  <a:cubicBezTo>
                    <a:pt x="27" y="73"/>
                    <a:pt x="24" y="74"/>
                    <a:pt x="21" y="72"/>
                  </a:cubicBezTo>
                  <a:cubicBezTo>
                    <a:pt x="3" y="60"/>
                    <a:pt x="3" y="60"/>
                    <a:pt x="3" y="60"/>
                  </a:cubicBezTo>
                  <a:cubicBezTo>
                    <a:pt x="1" y="58"/>
                    <a:pt x="0" y="54"/>
                    <a:pt x="2" y="52"/>
                  </a:cubicBezTo>
                  <a:cubicBezTo>
                    <a:pt x="36" y="3"/>
                    <a:pt x="36" y="3"/>
                    <a:pt x="36" y="3"/>
                  </a:cubicBezTo>
                  <a:cubicBezTo>
                    <a:pt x="38" y="0"/>
                    <a:pt x="42" y="0"/>
                    <a:pt x="44" y="2"/>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6" name="Freeform 285"/>
            <p:cNvSpPr>
              <a:spLocks/>
            </p:cNvSpPr>
            <p:nvPr/>
          </p:nvSpPr>
          <p:spPr bwMode="auto">
            <a:xfrm>
              <a:off x="2022476" y="5459411"/>
              <a:ext cx="66675" cy="74613"/>
            </a:xfrm>
            <a:custGeom>
              <a:avLst/>
              <a:gdLst/>
              <a:ahLst/>
              <a:cxnLst>
                <a:cxn ang="0">
                  <a:pos x="7" y="0"/>
                </a:cxn>
                <a:cxn ang="0">
                  <a:pos x="3" y="6"/>
                </a:cxn>
                <a:cxn ang="0">
                  <a:pos x="0" y="14"/>
                </a:cxn>
                <a:cxn ang="0">
                  <a:pos x="0" y="38"/>
                </a:cxn>
                <a:cxn ang="0">
                  <a:pos x="24" y="30"/>
                </a:cxn>
                <a:cxn ang="0">
                  <a:pos x="30" y="25"/>
                </a:cxn>
                <a:cxn ang="0">
                  <a:pos x="34" y="19"/>
                </a:cxn>
                <a:cxn ang="0">
                  <a:pos x="29" y="17"/>
                </a:cxn>
                <a:cxn ang="0">
                  <a:pos x="11" y="4"/>
                </a:cxn>
                <a:cxn ang="0">
                  <a:pos x="7" y="0"/>
                </a:cxn>
              </a:cxnLst>
              <a:rect l="0" t="0" r="r" b="b"/>
              <a:pathLst>
                <a:path w="34" h="38">
                  <a:moveTo>
                    <a:pt x="7" y="0"/>
                  </a:moveTo>
                  <a:cubicBezTo>
                    <a:pt x="3" y="6"/>
                    <a:pt x="3" y="6"/>
                    <a:pt x="3" y="6"/>
                  </a:cubicBezTo>
                  <a:cubicBezTo>
                    <a:pt x="1" y="9"/>
                    <a:pt x="0" y="11"/>
                    <a:pt x="0" y="14"/>
                  </a:cubicBezTo>
                  <a:cubicBezTo>
                    <a:pt x="0" y="22"/>
                    <a:pt x="0" y="30"/>
                    <a:pt x="0" y="38"/>
                  </a:cubicBezTo>
                  <a:cubicBezTo>
                    <a:pt x="8" y="35"/>
                    <a:pt x="16" y="33"/>
                    <a:pt x="24" y="30"/>
                  </a:cubicBezTo>
                  <a:cubicBezTo>
                    <a:pt x="26" y="29"/>
                    <a:pt x="28" y="28"/>
                    <a:pt x="30" y="25"/>
                  </a:cubicBezTo>
                  <a:cubicBezTo>
                    <a:pt x="34" y="19"/>
                    <a:pt x="34" y="19"/>
                    <a:pt x="34" y="19"/>
                  </a:cubicBezTo>
                  <a:cubicBezTo>
                    <a:pt x="32" y="19"/>
                    <a:pt x="30" y="18"/>
                    <a:pt x="29" y="17"/>
                  </a:cubicBezTo>
                  <a:cubicBezTo>
                    <a:pt x="11" y="4"/>
                    <a:pt x="11" y="4"/>
                    <a:pt x="11" y="4"/>
                  </a:cubicBezTo>
                  <a:cubicBezTo>
                    <a:pt x="9" y="3"/>
                    <a:pt x="8" y="2"/>
                    <a:pt x="7" y="0"/>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7" name="Freeform 286"/>
            <p:cNvSpPr>
              <a:spLocks/>
            </p:cNvSpPr>
            <p:nvPr/>
          </p:nvSpPr>
          <p:spPr bwMode="auto">
            <a:xfrm>
              <a:off x="1881188" y="5349873"/>
              <a:ext cx="153988" cy="142875"/>
            </a:xfrm>
            <a:custGeom>
              <a:avLst/>
              <a:gdLst/>
              <a:ahLst/>
              <a:cxnLst>
                <a:cxn ang="0">
                  <a:pos x="0" y="58"/>
                </a:cxn>
                <a:cxn ang="0">
                  <a:pos x="34" y="74"/>
                </a:cxn>
                <a:cxn ang="0">
                  <a:pos x="79" y="29"/>
                </a:cxn>
                <a:cxn ang="0">
                  <a:pos x="69" y="0"/>
                </a:cxn>
              </a:cxnLst>
              <a:rect l="0" t="0" r="r" b="b"/>
              <a:pathLst>
                <a:path w="79" h="74">
                  <a:moveTo>
                    <a:pt x="0" y="58"/>
                  </a:moveTo>
                  <a:cubicBezTo>
                    <a:pt x="8" y="68"/>
                    <a:pt x="21" y="74"/>
                    <a:pt x="34" y="74"/>
                  </a:cubicBezTo>
                  <a:cubicBezTo>
                    <a:pt x="59" y="74"/>
                    <a:pt x="79" y="54"/>
                    <a:pt x="79" y="29"/>
                  </a:cubicBezTo>
                  <a:cubicBezTo>
                    <a:pt x="79" y="18"/>
                    <a:pt x="75" y="8"/>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8" name="Freeform 287"/>
            <p:cNvSpPr>
              <a:spLocks/>
            </p:cNvSpPr>
            <p:nvPr/>
          </p:nvSpPr>
          <p:spPr bwMode="auto">
            <a:xfrm>
              <a:off x="1860551" y="5349873"/>
              <a:ext cx="20638" cy="80963"/>
            </a:xfrm>
            <a:custGeom>
              <a:avLst/>
              <a:gdLst/>
              <a:ahLst/>
              <a:cxnLst>
                <a:cxn ang="0">
                  <a:pos x="11" y="0"/>
                </a:cxn>
                <a:cxn ang="0">
                  <a:pos x="0" y="29"/>
                </a:cxn>
                <a:cxn ang="0">
                  <a:pos x="2" y="42"/>
                </a:cxn>
              </a:cxnLst>
              <a:rect l="0" t="0" r="r" b="b"/>
              <a:pathLst>
                <a:path w="11" h="42">
                  <a:moveTo>
                    <a:pt x="11" y="0"/>
                  </a:moveTo>
                  <a:cubicBezTo>
                    <a:pt x="4" y="8"/>
                    <a:pt x="0" y="18"/>
                    <a:pt x="0" y="29"/>
                  </a:cubicBezTo>
                  <a:cubicBezTo>
                    <a:pt x="0" y="34"/>
                    <a:pt x="1" y="38"/>
                    <a:pt x="2" y="4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69" name="Freeform 288"/>
            <p:cNvSpPr>
              <a:spLocks/>
            </p:cNvSpPr>
            <p:nvPr/>
          </p:nvSpPr>
          <p:spPr bwMode="auto">
            <a:xfrm>
              <a:off x="1881188" y="5318123"/>
              <a:ext cx="133350" cy="31750"/>
            </a:xfrm>
            <a:custGeom>
              <a:avLst/>
              <a:gdLst/>
              <a:ahLst/>
              <a:cxnLst>
                <a:cxn ang="0">
                  <a:pos x="0" y="16"/>
                </a:cxn>
                <a:cxn ang="0">
                  <a:pos x="34" y="0"/>
                </a:cxn>
                <a:cxn ang="0">
                  <a:pos x="69" y="16"/>
                </a:cxn>
              </a:cxnLst>
              <a:rect l="0" t="0" r="r" b="b"/>
              <a:pathLst>
                <a:path w="69" h="16">
                  <a:moveTo>
                    <a:pt x="0" y="16"/>
                  </a:moveTo>
                  <a:cubicBezTo>
                    <a:pt x="8" y="7"/>
                    <a:pt x="21" y="0"/>
                    <a:pt x="34" y="0"/>
                  </a:cubicBezTo>
                  <a:cubicBezTo>
                    <a:pt x="48" y="0"/>
                    <a:pt x="61" y="7"/>
                    <a:pt x="69" y="1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0" name="Freeform 289"/>
            <p:cNvSpPr>
              <a:spLocks/>
            </p:cNvSpPr>
            <p:nvPr/>
          </p:nvSpPr>
          <p:spPr bwMode="auto">
            <a:xfrm>
              <a:off x="1881188" y="5349873"/>
              <a:ext cx="133350" cy="14288"/>
            </a:xfrm>
            <a:custGeom>
              <a:avLst/>
              <a:gdLst/>
              <a:ahLst/>
              <a:cxnLst>
                <a:cxn ang="0">
                  <a:pos x="0" y="0"/>
                </a:cxn>
                <a:cxn ang="0">
                  <a:pos x="34" y="8"/>
                </a:cxn>
                <a:cxn ang="0">
                  <a:pos x="50" y="7"/>
                </a:cxn>
                <a:cxn ang="0">
                  <a:pos x="60" y="4"/>
                </a:cxn>
                <a:cxn ang="0">
                  <a:pos x="69" y="0"/>
                </a:cxn>
              </a:cxnLst>
              <a:rect l="0" t="0" r="r" b="b"/>
              <a:pathLst>
                <a:path w="69" h="8">
                  <a:moveTo>
                    <a:pt x="0" y="0"/>
                  </a:moveTo>
                  <a:cubicBezTo>
                    <a:pt x="8" y="5"/>
                    <a:pt x="20" y="8"/>
                    <a:pt x="34" y="8"/>
                  </a:cubicBezTo>
                  <a:cubicBezTo>
                    <a:pt x="40" y="8"/>
                    <a:pt x="45" y="8"/>
                    <a:pt x="50" y="7"/>
                  </a:cubicBezTo>
                  <a:cubicBezTo>
                    <a:pt x="60" y="4"/>
                    <a:pt x="60" y="4"/>
                    <a:pt x="60" y="4"/>
                  </a:cubicBezTo>
                  <a:cubicBezTo>
                    <a:pt x="63" y="3"/>
                    <a:pt x="66" y="2"/>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1" name="Freeform 290"/>
            <p:cNvSpPr>
              <a:spLocks/>
            </p:cNvSpPr>
            <p:nvPr/>
          </p:nvSpPr>
          <p:spPr bwMode="auto">
            <a:xfrm>
              <a:off x="1881188" y="5446711"/>
              <a:ext cx="133350" cy="14288"/>
            </a:xfrm>
            <a:custGeom>
              <a:avLst/>
              <a:gdLst/>
              <a:ahLst/>
              <a:cxnLst>
                <a:cxn ang="0">
                  <a:pos x="69" y="8"/>
                </a:cxn>
                <a:cxn ang="0">
                  <a:pos x="34" y="0"/>
                </a:cxn>
                <a:cxn ang="0">
                  <a:pos x="0" y="8"/>
                </a:cxn>
              </a:cxnLst>
              <a:rect l="0" t="0" r="r" b="b"/>
              <a:pathLst>
                <a:path w="69" h="8">
                  <a:moveTo>
                    <a:pt x="69" y="8"/>
                  </a:moveTo>
                  <a:cubicBezTo>
                    <a:pt x="61" y="3"/>
                    <a:pt x="48" y="0"/>
                    <a:pt x="34" y="0"/>
                  </a:cubicBezTo>
                  <a:cubicBezTo>
                    <a:pt x="21" y="0"/>
                    <a:pt x="8" y="3"/>
                    <a:pt x="0" y="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2" name="Freeform 291"/>
            <p:cNvSpPr>
              <a:spLocks/>
            </p:cNvSpPr>
            <p:nvPr/>
          </p:nvSpPr>
          <p:spPr bwMode="auto">
            <a:xfrm>
              <a:off x="1900238" y="5318123"/>
              <a:ext cx="95250" cy="174625"/>
            </a:xfrm>
            <a:custGeom>
              <a:avLst/>
              <a:gdLst/>
              <a:ahLst/>
              <a:cxnLst>
                <a:cxn ang="0">
                  <a:pos x="1" y="29"/>
                </a:cxn>
                <a:cxn ang="0">
                  <a:pos x="24" y="0"/>
                </a:cxn>
                <a:cxn ang="0">
                  <a:pos x="43" y="17"/>
                </a:cxn>
                <a:cxn ang="0">
                  <a:pos x="47" y="26"/>
                </a:cxn>
                <a:cxn ang="0">
                  <a:pos x="49" y="45"/>
                </a:cxn>
                <a:cxn ang="0">
                  <a:pos x="24" y="90"/>
                </a:cxn>
                <a:cxn ang="0">
                  <a:pos x="0" y="45"/>
                </a:cxn>
                <a:cxn ang="0">
                  <a:pos x="0" y="40"/>
                </a:cxn>
                <a:cxn ang="0">
                  <a:pos x="1" y="29"/>
                </a:cxn>
              </a:cxnLst>
              <a:rect l="0" t="0" r="r" b="b"/>
              <a:pathLst>
                <a:path w="49" h="90">
                  <a:moveTo>
                    <a:pt x="1" y="29"/>
                  </a:moveTo>
                  <a:cubicBezTo>
                    <a:pt x="5" y="12"/>
                    <a:pt x="14" y="0"/>
                    <a:pt x="24" y="0"/>
                  </a:cubicBezTo>
                  <a:cubicBezTo>
                    <a:pt x="32" y="0"/>
                    <a:pt x="39" y="7"/>
                    <a:pt x="43" y="17"/>
                  </a:cubicBezTo>
                  <a:cubicBezTo>
                    <a:pt x="47" y="26"/>
                    <a:pt x="47" y="26"/>
                    <a:pt x="47" y="26"/>
                  </a:cubicBezTo>
                  <a:cubicBezTo>
                    <a:pt x="48" y="32"/>
                    <a:pt x="49" y="38"/>
                    <a:pt x="49" y="45"/>
                  </a:cubicBezTo>
                  <a:cubicBezTo>
                    <a:pt x="49" y="70"/>
                    <a:pt x="38" y="90"/>
                    <a:pt x="24" y="90"/>
                  </a:cubicBezTo>
                  <a:cubicBezTo>
                    <a:pt x="11" y="90"/>
                    <a:pt x="0" y="70"/>
                    <a:pt x="0" y="45"/>
                  </a:cubicBezTo>
                  <a:cubicBezTo>
                    <a:pt x="0" y="44"/>
                    <a:pt x="0" y="42"/>
                    <a:pt x="0" y="40"/>
                  </a:cubicBezTo>
                  <a:lnTo>
                    <a:pt x="1" y="2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3" name="Line 292"/>
            <p:cNvSpPr>
              <a:spLocks noChangeShapeType="1"/>
            </p:cNvSpPr>
            <p:nvPr/>
          </p:nvSpPr>
          <p:spPr bwMode="auto">
            <a:xfrm>
              <a:off x="1982788" y="5405436"/>
              <a:ext cx="52388" cy="1588"/>
            </a:xfrm>
            <a:prstGeom prst="line">
              <a:avLst/>
            </a:prstGeom>
            <a:no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4" name="Line 293"/>
            <p:cNvSpPr>
              <a:spLocks noChangeShapeType="1"/>
            </p:cNvSpPr>
            <p:nvPr/>
          </p:nvSpPr>
          <p:spPr bwMode="auto">
            <a:xfrm>
              <a:off x="1962151" y="5405436"/>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5" name="Freeform 294"/>
            <p:cNvSpPr>
              <a:spLocks/>
            </p:cNvSpPr>
            <p:nvPr/>
          </p:nvSpPr>
          <p:spPr bwMode="auto">
            <a:xfrm>
              <a:off x="1860551" y="5405436"/>
              <a:ext cx="122238" cy="1588"/>
            </a:xfrm>
            <a:custGeom>
              <a:avLst/>
              <a:gdLst/>
              <a:ahLst/>
              <a:cxnLst>
                <a:cxn ang="0">
                  <a:pos x="0" y="0"/>
                </a:cxn>
                <a:cxn ang="0">
                  <a:pos x="64" y="0"/>
                </a:cxn>
                <a:cxn ang="0">
                  <a:pos x="77" y="0"/>
                </a:cxn>
              </a:cxnLst>
              <a:rect l="0" t="0" r="r" b="b"/>
              <a:pathLst>
                <a:path w="77">
                  <a:moveTo>
                    <a:pt x="0" y="0"/>
                  </a:moveTo>
                  <a:lnTo>
                    <a:pt x="64" y="0"/>
                  </a:lnTo>
                  <a:lnTo>
                    <a:pt x="77"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sp>
          <p:nvSpPr>
            <p:cNvPr id="276" name="Line 295"/>
            <p:cNvSpPr>
              <a:spLocks noChangeShapeType="1"/>
            </p:cNvSpPr>
            <p:nvPr/>
          </p:nvSpPr>
          <p:spPr bwMode="auto">
            <a:xfrm flipV="1">
              <a:off x="1947863" y="5318123"/>
              <a:ext cx="1588" cy="174625"/>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833394488"/>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3776" y="281461"/>
            <a:ext cx="8892484" cy="863600"/>
          </a:xfrm>
        </p:spPr>
        <p:txBody>
          <a:bodyPr/>
          <a:lstStyle/>
          <a:p>
            <a:r>
              <a:rPr lang="en-US"/>
              <a:t>Performance Management Cycle</a:t>
            </a:r>
          </a:p>
        </p:txBody>
      </p:sp>
      <p:sp>
        <p:nvSpPr>
          <p:cNvPr id="9" name="Rectangle 8"/>
          <p:cNvSpPr/>
          <p:nvPr/>
        </p:nvSpPr>
        <p:spPr>
          <a:xfrm>
            <a:off x="411660" y="6199051"/>
            <a:ext cx="9001250" cy="390926"/>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b="1">
                <a:solidFill>
                  <a:schemeClr val="bg1"/>
                </a:solidFill>
                <a:latin typeface="Arial" pitchFamily="34" charset="0"/>
                <a:cs typeface="Arial" pitchFamily="34" charset="0"/>
              </a:rPr>
              <a:t>You must also complete Assignment Reviews on MyPath after every project.</a:t>
            </a:r>
          </a:p>
        </p:txBody>
      </p:sp>
      <p:grpSp>
        <p:nvGrpSpPr>
          <p:cNvPr id="185360" name="Group 185359"/>
          <p:cNvGrpSpPr/>
          <p:nvPr/>
        </p:nvGrpSpPr>
        <p:grpSpPr>
          <a:xfrm>
            <a:off x="168419" y="1656462"/>
            <a:ext cx="1211371" cy="1340478"/>
            <a:chOff x="168419" y="1372025"/>
            <a:chExt cx="1211371" cy="1340478"/>
          </a:xfrm>
        </p:grpSpPr>
        <p:sp>
          <p:nvSpPr>
            <p:cNvPr id="15" name="Freeform 14"/>
            <p:cNvSpPr/>
            <p:nvPr/>
          </p:nvSpPr>
          <p:spPr>
            <a:xfrm>
              <a:off x="168419"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009ACC">
                <a:hueOff val="0"/>
                <a:satOff val="0"/>
                <a:lumOff val="0"/>
                <a:alphaOff val="0"/>
              </a:srgbClr>
            </a:solidFill>
            <a:ln w="25400" cap="flat" cmpd="sng" algn="ctr">
              <a:solidFill>
                <a:srgbClr val="009ACC">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January-February</a:t>
              </a:r>
            </a:p>
          </p:txBody>
        </p:sp>
        <p:sp>
          <p:nvSpPr>
            <p:cNvPr id="185344" name="Freeform 185343"/>
            <p:cNvSpPr/>
            <p:nvPr/>
          </p:nvSpPr>
          <p:spPr>
            <a:xfrm>
              <a:off x="168419" y="1787099"/>
              <a:ext cx="1211371" cy="925404"/>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009ACC">
                <a:tint val="40000"/>
                <a:alpha val="90000"/>
                <a:hueOff val="0"/>
                <a:satOff val="0"/>
                <a:lumOff val="0"/>
                <a:alphaOff val="0"/>
              </a:srgbClr>
            </a:solidFill>
            <a:ln w="25400" cap="flat" cmpd="sng" algn="ctr">
              <a:solidFill>
                <a:srgbClr val="009ACC">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Year End </a:t>
              </a:r>
              <a:r>
                <a:rPr lang="en-US" sz="1200">
                  <a:solidFill>
                    <a:sysClr val="windowText" lastClr="000000">
                      <a:hueOff val="0"/>
                      <a:satOff val="0"/>
                      <a:lumOff val="0"/>
                      <a:alphaOff val="0"/>
                    </a:sysClr>
                  </a:solidFill>
                  <a:latin typeface="Arial"/>
                </a:rPr>
                <a:t>Reviews Complete</a:t>
              </a:r>
              <a:endParaRPr lang="en-US" sz="1200" kern="1200">
                <a:solidFill>
                  <a:sysClr val="windowText" lastClr="000000">
                    <a:hueOff val="0"/>
                    <a:satOff val="0"/>
                    <a:lumOff val="0"/>
                    <a:alphaOff val="0"/>
                  </a:sysClr>
                </a:solidFill>
                <a:latin typeface="Arial"/>
                <a:ea typeface="+mn-ea"/>
                <a:cs typeface="+mn-cs"/>
              </a:endParaRPr>
            </a:p>
          </p:txBody>
        </p:sp>
      </p:grpSp>
      <p:grpSp>
        <p:nvGrpSpPr>
          <p:cNvPr id="185361" name="Group 185360"/>
          <p:cNvGrpSpPr/>
          <p:nvPr/>
        </p:nvGrpSpPr>
        <p:grpSpPr>
          <a:xfrm>
            <a:off x="1549382" y="1640094"/>
            <a:ext cx="1213242" cy="1356846"/>
            <a:chOff x="1549382" y="1372025"/>
            <a:chExt cx="1213242" cy="1356846"/>
          </a:xfrm>
        </p:grpSpPr>
        <p:sp>
          <p:nvSpPr>
            <p:cNvPr id="185345" name="Freeform 185344"/>
            <p:cNvSpPr/>
            <p:nvPr/>
          </p:nvSpPr>
          <p:spPr>
            <a:xfrm>
              <a:off x="1549382"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6A9529">
                <a:hueOff val="0"/>
                <a:satOff val="0"/>
                <a:lumOff val="0"/>
                <a:alphaOff val="0"/>
              </a:srgbClr>
            </a:solidFill>
            <a:ln w="25400" cap="flat" cmpd="sng" algn="ctr">
              <a:solidFill>
                <a:srgbClr val="6A9529">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February - March</a:t>
              </a:r>
            </a:p>
          </p:txBody>
        </p:sp>
        <p:sp>
          <p:nvSpPr>
            <p:cNvPr id="185347" name="Freeform 185346"/>
            <p:cNvSpPr/>
            <p:nvPr/>
          </p:nvSpPr>
          <p:spPr>
            <a:xfrm>
              <a:off x="1551253" y="1787099"/>
              <a:ext cx="1211371" cy="941772"/>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6A9529">
                <a:tint val="40000"/>
                <a:alpha val="90000"/>
                <a:hueOff val="0"/>
                <a:satOff val="0"/>
                <a:lumOff val="0"/>
                <a:alphaOff val="0"/>
              </a:srgbClr>
            </a:solidFill>
            <a:ln w="25400" cap="flat" cmpd="sng" algn="ctr">
              <a:solidFill>
                <a:srgbClr val="6A9529">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Complete Objectives</a:t>
              </a:r>
            </a:p>
          </p:txBody>
        </p:sp>
      </p:grpSp>
      <p:grpSp>
        <p:nvGrpSpPr>
          <p:cNvPr id="185362" name="Group 185361"/>
          <p:cNvGrpSpPr/>
          <p:nvPr/>
        </p:nvGrpSpPr>
        <p:grpSpPr>
          <a:xfrm>
            <a:off x="2930346" y="1631126"/>
            <a:ext cx="1217745" cy="1336875"/>
            <a:chOff x="2930346" y="1372025"/>
            <a:chExt cx="1217745" cy="1336875"/>
          </a:xfrm>
        </p:grpSpPr>
        <p:sp>
          <p:nvSpPr>
            <p:cNvPr id="185350" name="Freeform 185349"/>
            <p:cNvSpPr/>
            <p:nvPr/>
          </p:nvSpPr>
          <p:spPr>
            <a:xfrm>
              <a:off x="2930346"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40B3D6">
                <a:hueOff val="0"/>
                <a:satOff val="0"/>
                <a:lumOff val="0"/>
                <a:alphaOff val="0"/>
              </a:srgbClr>
            </a:solidFill>
            <a:ln w="25400" cap="flat" cmpd="sng" algn="ctr">
              <a:solidFill>
                <a:srgbClr val="40B3D6">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April - May</a:t>
              </a:r>
            </a:p>
          </p:txBody>
        </p:sp>
        <p:sp>
          <p:nvSpPr>
            <p:cNvPr id="185351" name="Freeform 185350"/>
            <p:cNvSpPr/>
            <p:nvPr/>
          </p:nvSpPr>
          <p:spPr>
            <a:xfrm>
              <a:off x="2936720" y="1803328"/>
              <a:ext cx="1211371" cy="905572"/>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40B3D6">
                <a:tint val="40000"/>
                <a:alpha val="90000"/>
                <a:hueOff val="0"/>
                <a:satOff val="0"/>
                <a:lumOff val="0"/>
                <a:alphaOff val="0"/>
              </a:srgbClr>
            </a:solidFill>
            <a:ln w="25400" cap="flat" cmpd="sng" algn="ctr">
              <a:solidFill>
                <a:srgbClr val="40B3D6">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Talent Reviews conducted (Grades D-F)</a:t>
              </a:r>
            </a:p>
          </p:txBody>
        </p:sp>
      </p:grpSp>
      <p:grpSp>
        <p:nvGrpSpPr>
          <p:cNvPr id="185363" name="Group 185362"/>
          <p:cNvGrpSpPr/>
          <p:nvPr/>
        </p:nvGrpSpPr>
        <p:grpSpPr>
          <a:xfrm>
            <a:off x="4306600" y="1372025"/>
            <a:ext cx="1216080" cy="1821503"/>
            <a:chOff x="4306600" y="1372025"/>
            <a:chExt cx="1216080" cy="1821503"/>
          </a:xfrm>
        </p:grpSpPr>
        <p:sp>
          <p:nvSpPr>
            <p:cNvPr id="185352" name="Freeform 185351"/>
            <p:cNvSpPr/>
            <p:nvPr/>
          </p:nvSpPr>
          <p:spPr>
            <a:xfrm>
              <a:off x="4311309"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E47E1A">
                <a:hueOff val="0"/>
                <a:satOff val="0"/>
                <a:lumOff val="0"/>
                <a:alphaOff val="0"/>
              </a:srgbClr>
            </a:solidFill>
            <a:ln w="25400" cap="flat" cmpd="sng" algn="ctr">
              <a:solidFill>
                <a:srgbClr val="E47E1A">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June - July</a:t>
              </a:r>
            </a:p>
          </p:txBody>
        </p:sp>
        <p:sp>
          <p:nvSpPr>
            <p:cNvPr id="185353" name="Freeform 185352"/>
            <p:cNvSpPr/>
            <p:nvPr/>
          </p:nvSpPr>
          <p:spPr>
            <a:xfrm>
              <a:off x="4306600" y="1803328"/>
              <a:ext cx="1211371" cy="1390200"/>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E47E1A">
                <a:tint val="40000"/>
                <a:alpha val="90000"/>
                <a:hueOff val="0"/>
                <a:satOff val="0"/>
                <a:lumOff val="0"/>
                <a:alphaOff val="0"/>
              </a:srgbClr>
            </a:solidFill>
            <a:ln w="25400" cap="flat" cmpd="sng" algn="ctr">
              <a:solidFill>
                <a:srgbClr val="E47E1A">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Arial"/>
                  <a:ea typeface="+mn-ea"/>
                  <a:cs typeface="+mn-cs"/>
                </a:rPr>
                <a:t>First Assignment Appraisal due</a:t>
              </a:r>
            </a:p>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Arial"/>
                  <a:ea typeface="+mn-ea"/>
                  <a:cs typeface="+mn-cs"/>
                </a:rPr>
                <a:t>Mid Year Reviews completed (non VP only)</a:t>
              </a:r>
            </a:p>
          </p:txBody>
        </p:sp>
      </p:grpSp>
      <p:grpSp>
        <p:nvGrpSpPr>
          <p:cNvPr id="185364" name="Group 185363"/>
          <p:cNvGrpSpPr/>
          <p:nvPr/>
        </p:nvGrpSpPr>
        <p:grpSpPr>
          <a:xfrm>
            <a:off x="5692273" y="1372025"/>
            <a:ext cx="1211572" cy="1805274"/>
            <a:chOff x="5692273" y="1372025"/>
            <a:chExt cx="1211572" cy="1805274"/>
          </a:xfrm>
        </p:grpSpPr>
        <p:sp>
          <p:nvSpPr>
            <p:cNvPr id="185354" name="Freeform 185353"/>
            <p:cNvSpPr/>
            <p:nvPr/>
          </p:nvSpPr>
          <p:spPr>
            <a:xfrm>
              <a:off x="5692273"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7FCCE3">
                <a:hueOff val="0"/>
                <a:satOff val="0"/>
                <a:lumOff val="0"/>
                <a:alphaOff val="0"/>
              </a:srgbClr>
            </a:solidFill>
            <a:ln w="25400" cap="flat" cmpd="sng" algn="ctr">
              <a:solidFill>
                <a:srgbClr val="7FCCE3">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August – September</a:t>
              </a:r>
            </a:p>
          </p:txBody>
        </p:sp>
        <p:sp>
          <p:nvSpPr>
            <p:cNvPr id="185355" name="Freeform 185354"/>
            <p:cNvSpPr/>
            <p:nvPr/>
          </p:nvSpPr>
          <p:spPr>
            <a:xfrm>
              <a:off x="5692474" y="1787099"/>
              <a:ext cx="1211371" cy="1390200"/>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7FCCE3">
                <a:tint val="40000"/>
                <a:alpha val="90000"/>
                <a:hueOff val="0"/>
                <a:satOff val="0"/>
                <a:lumOff val="0"/>
                <a:alphaOff val="0"/>
              </a:srgbClr>
            </a:solidFill>
            <a:ln w="25400" cap="flat" cmpd="sng" algn="ctr">
              <a:solidFill>
                <a:srgbClr val="7FCCE3">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endParaRPr lang="en-US" sz="1200" kern="1200">
                <a:solidFill>
                  <a:sysClr val="windowText" lastClr="000000">
                    <a:hueOff val="0"/>
                    <a:satOff val="0"/>
                    <a:lumOff val="0"/>
                    <a:alphaOff val="0"/>
                  </a:sysClr>
                </a:solidFill>
                <a:latin typeface="Arial"/>
                <a:ea typeface="+mn-ea"/>
                <a:cs typeface="+mn-cs"/>
              </a:endParaRPr>
            </a:p>
          </p:txBody>
        </p:sp>
      </p:grpSp>
      <p:grpSp>
        <p:nvGrpSpPr>
          <p:cNvPr id="185365" name="Group 185364"/>
          <p:cNvGrpSpPr/>
          <p:nvPr/>
        </p:nvGrpSpPr>
        <p:grpSpPr>
          <a:xfrm>
            <a:off x="7073236" y="1372025"/>
            <a:ext cx="1222740" cy="1805274"/>
            <a:chOff x="7073236" y="1372025"/>
            <a:chExt cx="1222740" cy="1805274"/>
          </a:xfrm>
        </p:grpSpPr>
        <p:sp>
          <p:nvSpPr>
            <p:cNvPr id="185356" name="Freeform 185355"/>
            <p:cNvSpPr/>
            <p:nvPr/>
          </p:nvSpPr>
          <p:spPr>
            <a:xfrm>
              <a:off x="7073236"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009ACC">
                <a:hueOff val="0"/>
                <a:satOff val="0"/>
                <a:lumOff val="0"/>
                <a:alphaOff val="0"/>
              </a:srgbClr>
            </a:solidFill>
            <a:ln w="25400" cap="flat" cmpd="sng" algn="ctr">
              <a:solidFill>
                <a:srgbClr val="009ACC">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October – November</a:t>
              </a:r>
            </a:p>
          </p:txBody>
        </p:sp>
        <p:sp>
          <p:nvSpPr>
            <p:cNvPr id="185357" name="Freeform 185356"/>
            <p:cNvSpPr/>
            <p:nvPr/>
          </p:nvSpPr>
          <p:spPr>
            <a:xfrm>
              <a:off x="7084605" y="1787099"/>
              <a:ext cx="1211371" cy="1390200"/>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009ACC">
                <a:tint val="40000"/>
                <a:alpha val="90000"/>
                <a:hueOff val="0"/>
                <a:satOff val="0"/>
                <a:lumOff val="0"/>
                <a:alphaOff val="0"/>
              </a:srgbClr>
            </a:solidFill>
            <a:ln w="25400" cap="flat" cmpd="sng" algn="ctr">
              <a:solidFill>
                <a:srgbClr val="009ACC">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Training for Year End Reviews</a:t>
              </a:r>
            </a:p>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Second Assignment Appraisals due</a:t>
              </a:r>
            </a:p>
          </p:txBody>
        </p:sp>
      </p:grpSp>
      <p:grpSp>
        <p:nvGrpSpPr>
          <p:cNvPr id="185366" name="Group 185365"/>
          <p:cNvGrpSpPr/>
          <p:nvPr/>
        </p:nvGrpSpPr>
        <p:grpSpPr>
          <a:xfrm>
            <a:off x="8454199" y="1372025"/>
            <a:ext cx="1211372" cy="1805274"/>
            <a:chOff x="8454199" y="1372025"/>
            <a:chExt cx="1211372" cy="1805274"/>
          </a:xfrm>
        </p:grpSpPr>
        <p:sp>
          <p:nvSpPr>
            <p:cNvPr id="185358" name="Freeform 185357"/>
            <p:cNvSpPr/>
            <p:nvPr/>
          </p:nvSpPr>
          <p:spPr>
            <a:xfrm>
              <a:off x="8454200" y="1372025"/>
              <a:ext cx="1211371" cy="415074"/>
            </a:xfrm>
            <a:custGeom>
              <a:avLst/>
              <a:gdLst>
                <a:gd name="connsiteX0" fmla="*/ 0 w 1211371"/>
                <a:gd name="connsiteY0" fmla="*/ 0 h 415074"/>
                <a:gd name="connsiteX1" fmla="*/ 1211371 w 1211371"/>
                <a:gd name="connsiteY1" fmla="*/ 0 h 415074"/>
                <a:gd name="connsiteX2" fmla="*/ 1211371 w 1211371"/>
                <a:gd name="connsiteY2" fmla="*/ 415074 h 415074"/>
                <a:gd name="connsiteX3" fmla="*/ 0 w 1211371"/>
                <a:gd name="connsiteY3" fmla="*/ 415074 h 415074"/>
                <a:gd name="connsiteX4" fmla="*/ 0 w 1211371"/>
                <a:gd name="connsiteY4" fmla="*/ 0 h 41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415074">
                  <a:moveTo>
                    <a:pt x="0" y="0"/>
                  </a:moveTo>
                  <a:lnTo>
                    <a:pt x="1211371" y="0"/>
                  </a:lnTo>
                  <a:lnTo>
                    <a:pt x="1211371" y="415074"/>
                  </a:lnTo>
                  <a:lnTo>
                    <a:pt x="0" y="415074"/>
                  </a:lnTo>
                  <a:lnTo>
                    <a:pt x="0" y="0"/>
                  </a:lnTo>
                  <a:close/>
                </a:path>
              </a:pathLst>
            </a:custGeom>
            <a:solidFill>
              <a:srgbClr val="6A9529">
                <a:hueOff val="0"/>
                <a:satOff val="0"/>
                <a:lumOff val="0"/>
                <a:alphaOff val="0"/>
              </a:srgbClr>
            </a:solidFill>
            <a:ln w="25400" cap="flat" cmpd="sng" algn="ctr">
              <a:solidFill>
                <a:srgbClr val="6A9529">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b="1" kern="1200">
                  <a:solidFill>
                    <a:sysClr val="window" lastClr="FFFFFF"/>
                  </a:solidFill>
                  <a:latin typeface="Arial"/>
                  <a:ea typeface="+mn-ea"/>
                  <a:cs typeface="+mn-cs"/>
                </a:rPr>
                <a:t>November - December</a:t>
              </a:r>
            </a:p>
          </p:txBody>
        </p:sp>
        <p:sp>
          <p:nvSpPr>
            <p:cNvPr id="185359" name="Freeform 185358"/>
            <p:cNvSpPr/>
            <p:nvPr/>
          </p:nvSpPr>
          <p:spPr>
            <a:xfrm>
              <a:off x="8454199" y="1787099"/>
              <a:ext cx="1211371" cy="1390200"/>
            </a:xfrm>
            <a:custGeom>
              <a:avLst/>
              <a:gdLst>
                <a:gd name="connsiteX0" fmla="*/ 0 w 1211371"/>
                <a:gd name="connsiteY0" fmla="*/ 0 h 1850808"/>
                <a:gd name="connsiteX1" fmla="*/ 1211371 w 1211371"/>
                <a:gd name="connsiteY1" fmla="*/ 0 h 1850808"/>
                <a:gd name="connsiteX2" fmla="*/ 1211371 w 1211371"/>
                <a:gd name="connsiteY2" fmla="*/ 1850808 h 1850808"/>
                <a:gd name="connsiteX3" fmla="*/ 0 w 1211371"/>
                <a:gd name="connsiteY3" fmla="*/ 1850808 h 1850808"/>
                <a:gd name="connsiteX4" fmla="*/ 0 w 1211371"/>
                <a:gd name="connsiteY4" fmla="*/ 0 h 185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371" h="1850808">
                  <a:moveTo>
                    <a:pt x="0" y="0"/>
                  </a:moveTo>
                  <a:lnTo>
                    <a:pt x="1211371" y="0"/>
                  </a:lnTo>
                  <a:lnTo>
                    <a:pt x="1211371" y="1850808"/>
                  </a:lnTo>
                  <a:lnTo>
                    <a:pt x="0" y="1850808"/>
                  </a:lnTo>
                  <a:lnTo>
                    <a:pt x="0" y="0"/>
                  </a:lnTo>
                  <a:close/>
                </a:path>
              </a:pathLst>
            </a:custGeom>
            <a:solidFill>
              <a:srgbClr val="6A9529">
                <a:tint val="40000"/>
                <a:alpha val="90000"/>
                <a:hueOff val="0"/>
                <a:satOff val="0"/>
                <a:lumOff val="0"/>
                <a:alphaOff val="0"/>
              </a:srgbClr>
            </a:solidFill>
            <a:ln w="25400" cap="flat" cmpd="sng" algn="ctr">
              <a:solidFill>
                <a:srgbClr val="6A9529">
                  <a:tint val="40000"/>
                  <a:alpha val="9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Year End Self Assessments</a:t>
              </a:r>
            </a:p>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Provisional Ratings</a:t>
              </a:r>
            </a:p>
            <a:p>
              <a:pPr marL="114300" lvl="1" indent="-114300" algn="l" defTabSz="533400">
                <a:lnSpc>
                  <a:spcPct val="90000"/>
                </a:lnSpc>
                <a:spcBef>
                  <a:spcPct val="0"/>
                </a:spcBef>
                <a:spcAft>
                  <a:spcPct val="15000"/>
                </a:spcAft>
                <a:buChar char="••"/>
              </a:pPr>
              <a:r>
                <a:rPr lang="en-US" sz="1200" kern="1200">
                  <a:solidFill>
                    <a:sysClr val="windowText" lastClr="000000">
                      <a:hueOff val="0"/>
                      <a:satOff val="0"/>
                      <a:lumOff val="0"/>
                      <a:alphaOff val="0"/>
                    </a:sysClr>
                  </a:solidFill>
                  <a:latin typeface="Arial"/>
                  <a:ea typeface="+mn-ea"/>
                  <a:cs typeface="+mn-cs"/>
                </a:rPr>
                <a:t>Calibrations conducted</a:t>
              </a:r>
            </a:p>
            <a:p>
              <a:pPr marL="114300" lvl="1" indent="-114300" algn="l" defTabSz="533400">
                <a:lnSpc>
                  <a:spcPct val="90000"/>
                </a:lnSpc>
                <a:spcBef>
                  <a:spcPct val="0"/>
                </a:spcBef>
                <a:spcAft>
                  <a:spcPct val="15000"/>
                </a:spcAft>
                <a:buChar char="••"/>
              </a:pPr>
              <a:endParaRPr lang="en-US" sz="1200" kern="1200">
                <a:solidFill>
                  <a:sysClr val="windowText" lastClr="000000">
                    <a:hueOff val="0"/>
                    <a:satOff val="0"/>
                    <a:lumOff val="0"/>
                    <a:alphaOff val="0"/>
                  </a:sysClr>
                </a:solidFill>
                <a:latin typeface="Arial"/>
                <a:ea typeface="+mn-ea"/>
                <a:cs typeface="+mn-cs"/>
              </a:endParaRPr>
            </a:p>
          </p:txBody>
        </p:sp>
      </p:grpSp>
      <p:grpSp>
        <p:nvGrpSpPr>
          <p:cNvPr id="11" name="Group 10"/>
          <p:cNvGrpSpPr/>
          <p:nvPr/>
        </p:nvGrpSpPr>
        <p:grpSpPr>
          <a:xfrm>
            <a:off x="128330" y="3177299"/>
            <a:ext cx="9505319" cy="2986640"/>
            <a:chOff x="0" y="1218599"/>
            <a:chExt cx="9906000" cy="3958064"/>
          </a:xfrm>
        </p:grpSpPr>
        <p:sp>
          <p:nvSpPr>
            <p:cNvPr id="16" name="Rounded Rectangle 15"/>
            <p:cNvSpPr/>
            <p:nvPr/>
          </p:nvSpPr>
          <p:spPr>
            <a:xfrm>
              <a:off x="5520724" y="1373573"/>
              <a:ext cx="1754660" cy="1365679"/>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2400" err="1">
                <a:solidFill>
                  <a:srgbClr val="969696">
                    <a:lumMod val="50000"/>
                  </a:srgbClr>
                </a:solidFill>
              </a:endParaRPr>
            </a:p>
          </p:txBody>
        </p:sp>
        <p:grpSp>
          <p:nvGrpSpPr>
            <p:cNvPr id="17" name="Group 84"/>
            <p:cNvGrpSpPr/>
            <p:nvPr/>
          </p:nvGrpSpPr>
          <p:grpSpPr>
            <a:xfrm>
              <a:off x="7527324" y="1218599"/>
              <a:ext cx="1754660" cy="1520653"/>
              <a:chOff x="1507524" y="1317797"/>
              <a:chExt cx="1754660" cy="1520653"/>
            </a:xfrm>
          </p:grpSpPr>
          <p:sp>
            <p:nvSpPr>
              <p:cNvPr id="18" name="Rounded Rectangle 17"/>
              <p:cNvSpPr/>
              <p:nvPr/>
            </p:nvSpPr>
            <p:spPr>
              <a:xfrm>
                <a:off x="1507524" y="1472771"/>
                <a:ext cx="1754660" cy="1365679"/>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2400" err="1">
                  <a:solidFill>
                    <a:srgbClr val="969696">
                      <a:lumMod val="50000"/>
                    </a:srgbClr>
                  </a:solidFill>
                </a:endParaRPr>
              </a:p>
            </p:txBody>
          </p:sp>
          <p:sp>
            <p:nvSpPr>
              <p:cNvPr id="19" name="Oval 18"/>
              <p:cNvSpPr/>
              <p:nvPr/>
            </p:nvSpPr>
            <p:spPr>
              <a:xfrm>
                <a:off x="2227906" y="1317797"/>
                <a:ext cx="313896" cy="313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a:solidFill>
                      <a:prstClr val="white"/>
                    </a:solidFill>
                  </a:rPr>
                  <a:t>4</a:t>
                </a:r>
              </a:p>
            </p:txBody>
          </p:sp>
        </p:grpSp>
        <p:sp>
          <p:nvSpPr>
            <p:cNvPr id="20" name="Rectangle 19"/>
            <p:cNvSpPr>
              <a:spLocks/>
            </p:cNvSpPr>
            <p:nvPr/>
          </p:nvSpPr>
          <p:spPr>
            <a:xfrm>
              <a:off x="7623433" y="2434657"/>
              <a:ext cx="156244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US" sz="1200" b="1">
                  <a:solidFill>
                    <a:prstClr val="black"/>
                  </a:solidFill>
                </a:rPr>
                <a:t>Process Complete</a:t>
              </a:r>
            </a:p>
          </p:txBody>
        </p:sp>
        <p:grpSp>
          <p:nvGrpSpPr>
            <p:cNvPr id="21" name="Group 73"/>
            <p:cNvGrpSpPr/>
            <p:nvPr/>
          </p:nvGrpSpPr>
          <p:grpSpPr>
            <a:xfrm>
              <a:off x="6134958" y="1659705"/>
              <a:ext cx="526192" cy="522916"/>
              <a:chOff x="7740307" y="1251671"/>
              <a:chExt cx="574355" cy="570779"/>
            </a:xfrm>
          </p:grpSpPr>
          <p:grpSp>
            <p:nvGrpSpPr>
              <p:cNvPr id="22" name="Group 56"/>
              <p:cNvGrpSpPr/>
              <p:nvPr/>
            </p:nvGrpSpPr>
            <p:grpSpPr>
              <a:xfrm>
                <a:off x="7740307" y="1251671"/>
                <a:ext cx="384175" cy="558800"/>
                <a:chOff x="2254251" y="9347200"/>
                <a:chExt cx="384175" cy="558800"/>
              </a:xfrm>
            </p:grpSpPr>
            <p:sp>
              <p:nvSpPr>
                <p:cNvPr id="26" name="Freeform 695"/>
                <p:cNvSpPr>
                  <a:spLocks/>
                </p:cNvSpPr>
                <p:nvPr/>
              </p:nvSpPr>
              <p:spPr bwMode="auto">
                <a:xfrm>
                  <a:off x="2254251" y="9347200"/>
                  <a:ext cx="384175" cy="558800"/>
                </a:xfrm>
                <a:custGeom>
                  <a:avLst/>
                  <a:gdLst/>
                  <a:ahLst/>
                  <a:cxnLst>
                    <a:cxn ang="0">
                      <a:pos x="63" y="116"/>
                    </a:cxn>
                    <a:cxn ang="0">
                      <a:pos x="18" y="116"/>
                    </a:cxn>
                    <a:cxn ang="0">
                      <a:pos x="0" y="98"/>
                    </a:cxn>
                    <a:cxn ang="0">
                      <a:pos x="0" y="17"/>
                    </a:cxn>
                    <a:cxn ang="0">
                      <a:pos x="18" y="0"/>
                    </a:cxn>
                    <a:cxn ang="0">
                      <a:pos x="63" y="0"/>
                    </a:cxn>
                    <a:cxn ang="0">
                      <a:pos x="80" y="17"/>
                    </a:cxn>
                    <a:cxn ang="0">
                      <a:pos x="80" y="98"/>
                    </a:cxn>
                  </a:cxnLst>
                  <a:rect l="0" t="0" r="r" b="b"/>
                  <a:pathLst>
                    <a:path w="80" h="116">
                      <a:moveTo>
                        <a:pt x="63" y="116"/>
                      </a:moveTo>
                      <a:cubicBezTo>
                        <a:pt x="18" y="116"/>
                        <a:pt x="18" y="116"/>
                        <a:pt x="18" y="116"/>
                      </a:cubicBezTo>
                      <a:cubicBezTo>
                        <a:pt x="8" y="116"/>
                        <a:pt x="0" y="108"/>
                        <a:pt x="0" y="98"/>
                      </a:cubicBezTo>
                      <a:cubicBezTo>
                        <a:pt x="0" y="17"/>
                        <a:pt x="0" y="17"/>
                        <a:pt x="0" y="17"/>
                      </a:cubicBezTo>
                      <a:cubicBezTo>
                        <a:pt x="0" y="8"/>
                        <a:pt x="8" y="0"/>
                        <a:pt x="18" y="0"/>
                      </a:cubicBezTo>
                      <a:cubicBezTo>
                        <a:pt x="63" y="0"/>
                        <a:pt x="63" y="0"/>
                        <a:pt x="63" y="0"/>
                      </a:cubicBezTo>
                      <a:cubicBezTo>
                        <a:pt x="73" y="0"/>
                        <a:pt x="80" y="8"/>
                        <a:pt x="80" y="17"/>
                      </a:cubicBezTo>
                      <a:cubicBezTo>
                        <a:pt x="80" y="98"/>
                        <a:pt x="80" y="98"/>
                        <a:pt x="80" y="98"/>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27" name="Line 696"/>
                <p:cNvSpPr>
                  <a:spLocks noChangeShapeType="1"/>
                </p:cNvSpPr>
                <p:nvPr/>
              </p:nvSpPr>
              <p:spPr bwMode="auto">
                <a:xfrm>
                  <a:off x="2335213" y="9482137"/>
                  <a:ext cx="227013" cy="1588"/>
                </a:xfrm>
                <a:prstGeom prst="lin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28" name="Line 697"/>
                <p:cNvSpPr>
                  <a:spLocks noChangeShapeType="1"/>
                </p:cNvSpPr>
                <p:nvPr/>
              </p:nvSpPr>
              <p:spPr bwMode="auto">
                <a:xfrm>
                  <a:off x="2335213" y="9563100"/>
                  <a:ext cx="227013" cy="1588"/>
                </a:xfrm>
                <a:prstGeom prst="lin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29" name="Line 698"/>
                <p:cNvSpPr>
                  <a:spLocks noChangeShapeType="1"/>
                </p:cNvSpPr>
                <p:nvPr/>
              </p:nvSpPr>
              <p:spPr bwMode="auto">
                <a:xfrm>
                  <a:off x="2335213" y="9645650"/>
                  <a:ext cx="227013" cy="1588"/>
                </a:xfrm>
                <a:prstGeom prst="lin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30" name="Line 699"/>
                <p:cNvSpPr>
                  <a:spLocks noChangeShapeType="1"/>
                </p:cNvSpPr>
                <p:nvPr/>
              </p:nvSpPr>
              <p:spPr bwMode="auto">
                <a:xfrm>
                  <a:off x="2335213" y="9732962"/>
                  <a:ext cx="227013" cy="1588"/>
                </a:xfrm>
                <a:prstGeom prst="lin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nvGrpSpPr>
              <p:cNvPr id="23" name="Group 72"/>
              <p:cNvGrpSpPr/>
              <p:nvPr/>
            </p:nvGrpSpPr>
            <p:grpSpPr>
              <a:xfrm>
                <a:off x="8062256" y="1566716"/>
                <a:ext cx="252406" cy="255734"/>
                <a:chOff x="8412629" y="1507026"/>
                <a:chExt cx="326360" cy="330664"/>
              </a:xfrm>
            </p:grpSpPr>
            <p:sp>
              <p:nvSpPr>
                <p:cNvPr id="24" name="Freeform 2722"/>
                <p:cNvSpPr>
                  <a:spLocks/>
                </p:cNvSpPr>
                <p:nvPr/>
              </p:nvSpPr>
              <p:spPr bwMode="auto">
                <a:xfrm>
                  <a:off x="8412629" y="1507026"/>
                  <a:ext cx="326360" cy="330664"/>
                </a:xfrm>
                <a:custGeom>
                  <a:avLst/>
                  <a:gdLst/>
                  <a:ahLst/>
                  <a:cxnLst>
                    <a:cxn ang="0">
                      <a:pos x="128" y="99"/>
                    </a:cxn>
                    <a:cxn ang="0">
                      <a:pos x="110" y="22"/>
                    </a:cxn>
                    <a:cxn ang="0">
                      <a:pos x="111" y="22"/>
                    </a:cxn>
                    <a:cxn ang="0">
                      <a:pos x="21" y="32"/>
                    </a:cxn>
                    <a:cxn ang="0">
                      <a:pos x="22" y="32"/>
                    </a:cxn>
                    <a:cxn ang="0">
                      <a:pos x="32" y="121"/>
                    </a:cxn>
                    <a:cxn ang="0">
                      <a:pos x="30" y="120"/>
                    </a:cxn>
                    <a:cxn ang="0">
                      <a:pos x="120" y="110"/>
                    </a:cxn>
                  </a:cxnLst>
                  <a:rect l="0" t="0" r="r" b="b"/>
                  <a:pathLst>
                    <a:path w="140" h="142">
                      <a:moveTo>
                        <a:pt x="128" y="99"/>
                      </a:moveTo>
                      <a:cubicBezTo>
                        <a:pt x="140" y="67"/>
                        <a:pt x="132" y="43"/>
                        <a:pt x="110" y="22"/>
                      </a:cubicBezTo>
                      <a:cubicBezTo>
                        <a:pt x="111" y="22"/>
                        <a:pt x="111" y="22"/>
                        <a:pt x="111" y="22"/>
                      </a:cubicBezTo>
                      <a:cubicBezTo>
                        <a:pt x="84" y="0"/>
                        <a:pt x="43" y="5"/>
                        <a:pt x="21" y="32"/>
                      </a:cubicBezTo>
                      <a:cubicBezTo>
                        <a:pt x="22" y="32"/>
                        <a:pt x="22" y="32"/>
                        <a:pt x="22" y="32"/>
                      </a:cubicBezTo>
                      <a:cubicBezTo>
                        <a:pt x="0" y="59"/>
                        <a:pt x="4" y="99"/>
                        <a:pt x="32" y="121"/>
                      </a:cubicBezTo>
                      <a:cubicBezTo>
                        <a:pt x="30" y="120"/>
                        <a:pt x="30" y="120"/>
                        <a:pt x="30" y="120"/>
                      </a:cubicBezTo>
                      <a:cubicBezTo>
                        <a:pt x="58" y="142"/>
                        <a:pt x="98" y="138"/>
                        <a:pt x="120" y="110"/>
                      </a:cubicBezTo>
                    </a:path>
                  </a:pathLst>
                </a:custGeom>
                <a:solidFill>
                  <a:schemeClr val="bg1">
                    <a:lumMod val="95000"/>
                  </a:schemeClr>
                </a:solid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25" name="Freeform 2721"/>
                <p:cNvSpPr>
                  <a:spLocks/>
                </p:cNvSpPr>
                <p:nvPr/>
              </p:nvSpPr>
              <p:spPr bwMode="auto">
                <a:xfrm>
                  <a:off x="8509537" y="1614547"/>
                  <a:ext cx="132544" cy="115622"/>
                </a:xfrm>
                <a:custGeom>
                  <a:avLst/>
                  <a:gdLst/>
                  <a:ahLst/>
                  <a:cxnLst>
                    <a:cxn ang="0">
                      <a:pos x="79" y="0"/>
                    </a:cxn>
                    <a:cxn ang="0">
                      <a:pos x="87" y="3"/>
                    </a:cxn>
                    <a:cxn ang="0">
                      <a:pos x="87" y="3"/>
                    </a:cxn>
                    <a:cxn ang="0">
                      <a:pos x="15" y="76"/>
                    </a:cxn>
                    <a:cxn ang="0">
                      <a:pos x="0" y="40"/>
                    </a:cxn>
                    <a:cxn ang="0">
                      <a:pos x="17" y="54"/>
                    </a:cxn>
                    <a:cxn ang="0">
                      <a:pos x="79" y="0"/>
                    </a:cxn>
                  </a:cxnLst>
                  <a:rect l="0" t="0" r="r" b="b"/>
                  <a:pathLst>
                    <a:path w="87" h="76">
                      <a:moveTo>
                        <a:pt x="79" y="0"/>
                      </a:moveTo>
                      <a:cubicBezTo>
                        <a:pt x="84" y="0"/>
                        <a:pt x="87" y="3"/>
                        <a:pt x="87" y="3"/>
                      </a:cubicBezTo>
                      <a:cubicBezTo>
                        <a:pt x="87" y="3"/>
                        <a:pt x="87" y="3"/>
                        <a:pt x="87" y="3"/>
                      </a:cubicBezTo>
                      <a:cubicBezTo>
                        <a:pt x="49" y="3"/>
                        <a:pt x="17" y="73"/>
                        <a:pt x="15" y="76"/>
                      </a:cubicBezTo>
                      <a:cubicBezTo>
                        <a:pt x="0" y="40"/>
                        <a:pt x="0" y="40"/>
                        <a:pt x="0" y="40"/>
                      </a:cubicBezTo>
                      <a:cubicBezTo>
                        <a:pt x="17" y="54"/>
                        <a:pt x="17" y="54"/>
                        <a:pt x="17" y="54"/>
                      </a:cubicBezTo>
                      <a:cubicBezTo>
                        <a:pt x="46" y="8"/>
                        <a:pt x="67" y="0"/>
                        <a:pt x="79" y="0"/>
                      </a:cubicBezTo>
                      <a:close/>
                    </a:path>
                  </a:pathLst>
                </a:custGeom>
                <a:solidFill>
                  <a:schemeClr val="accent5"/>
                </a:solidFill>
                <a:ln w="12700">
                  <a:solidFill>
                    <a:schemeClr val="accent5"/>
                  </a:solidFill>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sp>
          <p:nvSpPr>
            <p:cNvPr id="31" name="Oval 30"/>
            <p:cNvSpPr/>
            <p:nvPr/>
          </p:nvSpPr>
          <p:spPr>
            <a:xfrm>
              <a:off x="6241106" y="1218599"/>
              <a:ext cx="313896" cy="313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a:solidFill>
                    <a:prstClr val="white"/>
                  </a:solidFill>
                </a:rPr>
                <a:t>3</a:t>
              </a:r>
            </a:p>
          </p:txBody>
        </p:sp>
        <p:sp>
          <p:nvSpPr>
            <p:cNvPr id="32" name="Rectangle 6"/>
            <p:cNvSpPr>
              <a:spLocks/>
            </p:cNvSpPr>
            <p:nvPr/>
          </p:nvSpPr>
          <p:spPr>
            <a:xfrm>
              <a:off x="5616832" y="2434657"/>
              <a:ext cx="1562444"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US" sz="1200" b="1">
                  <a:solidFill>
                    <a:prstClr val="black"/>
                  </a:solidFill>
                </a:rPr>
                <a:t>Signoff (Employee)</a:t>
              </a:r>
            </a:p>
          </p:txBody>
        </p:sp>
        <p:sp>
          <p:nvSpPr>
            <p:cNvPr id="33" name="Rounded Rectangle 32"/>
            <p:cNvSpPr/>
            <p:nvPr/>
          </p:nvSpPr>
          <p:spPr>
            <a:xfrm>
              <a:off x="1304214" y="1373573"/>
              <a:ext cx="1957971" cy="1365679"/>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2400" err="1">
                <a:solidFill>
                  <a:srgbClr val="969696">
                    <a:lumMod val="50000"/>
                  </a:srgbClr>
                </a:solidFill>
              </a:endParaRPr>
            </a:p>
          </p:txBody>
        </p:sp>
        <p:sp>
          <p:nvSpPr>
            <p:cNvPr id="34" name="Oval 33"/>
            <p:cNvSpPr/>
            <p:nvPr/>
          </p:nvSpPr>
          <p:spPr>
            <a:xfrm>
              <a:off x="2227906" y="1218599"/>
              <a:ext cx="313896" cy="313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a:solidFill>
                    <a:prstClr val="white"/>
                  </a:solidFill>
                </a:rPr>
                <a:t>1</a:t>
              </a:r>
            </a:p>
          </p:txBody>
        </p:sp>
        <p:sp>
          <p:nvSpPr>
            <p:cNvPr id="35" name="Rectangle 34"/>
            <p:cNvSpPr/>
            <p:nvPr/>
          </p:nvSpPr>
          <p:spPr>
            <a:xfrm>
              <a:off x="1277694" y="2322755"/>
              <a:ext cx="1984491" cy="448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GB" sz="1100" b="1">
                  <a:solidFill>
                    <a:prstClr val="black"/>
                  </a:solidFill>
                </a:rPr>
                <a:t>Objective Setting/Self-assessment (Employee)</a:t>
              </a:r>
            </a:p>
          </p:txBody>
        </p:sp>
        <p:grpSp>
          <p:nvGrpSpPr>
            <p:cNvPr id="36" name="Group 78"/>
            <p:cNvGrpSpPr/>
            <p:nvPr/>
          </p:nvGrpSpPr>
          <p:grpSpPr>
            <a:xfrm>
              <a:off x="3514124" y="1218599"/>
              <a:ext cx="1754660" cy="1520653"/>
              <a:chOff x="1507524" y="1317797"/>
              <a:chExt cx="1754660" cy="1520653"/>
            </a:xfrm>
          </p:grpSpPr>
          <p:sp>
            <p:nvSpPr>
              <p:cNvPr id="37" name="Rounded Rectangle 36"/>
              <p:cNvSpPr/>
              <p:nvPr/>
            </p:nvSpPr>
            <p:spPr>
              <a:xfrm>
                <a:off x="1507524" y="1472771"/>
                <a:ext cx="1754660" cy="1365679"/>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2400" err="1">
                  <a:solidFill>
                    <a:srgbClr val="969696">
                      <a:lumMod val="50000"/>
                    </a:srgbClr>
                  </a:solidFill>
                </a:endParaRPr>
              </a:p>
            </p:txBody>
          </p:sp>
          <p:sp>
            <p:nvSpPr>
              <p:cNvPr id="38" name="Oval 37"/>
              <p:cNvSpPr/>
              <p:nvPr/>
            </p:nvSpPr>
            <p:spPr>
              <a:xfrm>
                <a:off x="2227906" y="1317797"/>
                <a:ext cx="313896" cy="313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a:solidFill>
                      <a:prstClr val="white"/>
                    </a:solidFill>
                  </a:rPr>
                  <a:t>2</a:t>
                </a:r>
              </a:p>
            </p:txBody>
          </p:sp>
        </p:grpSp>
        <p:sp>
          <p:nvSpPr>
            <p:cNvPr id="39" name="Rectangle 5"/>
            <p:cNvSpPr/>
            <p:nvPr/>
          </p:nvSpPr>
          <p:spPr>
            <a:xfrm>
              <a:off x="3568357" y="2342324"/>
              <a:ext cx="164619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GB" sz="1200" b="1">
                  <a:solidFill>
                    <a:prstClr val="black"/>
                  </a:solidFill>
                </a:rPr>
                <a:t>Review / Signoff (Reviewer)</a:t>
              </a:r>
            </a:p>
          </p:txBody>
        </p:sp>
        <p:grpSp>
          <p:nvGrpSpPr>
            <p:cNvPr id="40" name="Group 125"/>
            <p:cNvGrpSpPr/>
            <p:nvPr/>
          </p:nvGrpSpPr>
          <p:grpSpPr>
            <a:xfrm>
              <a:off x="226591" y="4376494"/>
              <a:ext cx="1051101" cy="800169"/>
              <a:chOff x="226591" y="4250009"/>
              <a:chExt cx="1051101" cy="800169"/>
            </a:xfrm>
          </p:grpSpPr>
          <p:sp>
            <p:nvSpPr>
              <p:cNvPr id="41" name="Content Placeholder 17"/>
              <p:cNvSpPr txBox="1">
                <a:spLocks/>
              </p:cNvSpPr>
              <p:nvPr/>
            </p:nvSpPr>
            <p:spPr>
              <a:xfrm>
                <a:off x="226591" y="4250009"/>
                <a:ext cx="1051101" cy="184666"/>
              </a:xfrm>
              <a:prstGeom prst="rect">
                <a:avLst/>
              </a:prstGeom>
            </p:spPr>
            <p:txBody>
              <a:bodyPr vert="horz" wrap="square" lIns="0" tIns="0" rIns="0" bIns="0" rtlCol="0">
                <a:spAutoFit/>
              </a:bodyPr>
              <a:lstStyle/>
              <a:p>
                <a:pPr algn="ctr" defTabSz="914342">
                  <a:buClr>
                    <a:srgbClr val="E47E1A"/>
                  </a:buClr>
                </a:pPr>
                <a:r>
                  <a:rPr lang="en-GB" sz="1200" b="1">
                    <a:solidFill>
                      <a:srgbClr val="E47E1A"/>
                    </a:solidFill>
                  </a:rPr>
                  <a:t>Employee</a:t>
                </a:r>
              </a:p>
            </p:txBody>
          </p:sp>
          <p:grpSp>
            <p:nvGrpSpPr>
              <p:cNvPr id="42" name="Group 36"/>
              <p:cNvGrpSpPr/>
              <p:nvPr/>
            </p:nvGrpSpPr>
            <p:grpSpPr>
              <a:xfrm>
                <a:off x="552116" y="4583453"/>
                <a:ext cx="400050" cy="466725"/>
                <a:chOff x="345028" y="5391214"/>
                <a:chExt cx="400050" cy="466725"/>
              </a:xfrm>
            </p:grpSpPr>
            <p:sp>
              <p:nvSpPr>
                <p:cNvPr id="43" name="Oval 3415"/>
                <p:cNvSpPr>
                  <a:spLocks noChangeArrowheads="1"/>
                </p:cNvSpPr>
                <p:nvPr/>
              </p:nvSpPr>
              <p:spPr bwMode="auto">
                <a:xfrm>
                  <a:off x="460916" y="5391214"/>
                  <a:ext cx="163513" cy="188912"/>
                </a:xfrm>
                <a:prstGeom prst="ellipse">
                  <a:avLst/>
                </a:pr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44" name="Freeform 3416"/>
                <p:cNvSpPr>
                  <a:spLocks/>
                </p:cNvSpPr>
                <p:nvPr/>
              </p:nvSpPr>
              <p:spPr bwMode="auto">
                <a:xfrm>
                  <a:off x="345028" y="5580127"/>
                  <a:ext cx="400050" cy="277812"/>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45" name="Freeform 3417"/>
                <p:cNvSpPr>
                  <a:spLocks/>
                </p:cNvSpPr>
                <p:nvPr/>
              </p:nvSpPr>
              <p:spPr bwMode="auto">
                <a:xfrm>
                  <a:off x="629191" y="5703952"/>
                  <a:ext cx="30163" cy="153987"/>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46" name="Freeform 3418"/>
                <p:cNvSpPr>
                  <a:spLocks/>
                </p:cNvSpPr>
                <p:nvPr/>
              </p:nvSpPr>
              <p:spPr bwMode="auto">
                <a:xfrm>
                  <a:off x="430753" y="5703952"/>
                  <a:ext cx="30163" cy="153987"/>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sp>
          <p:nvSpPr>
            <p:cNvPr id="47" name="Rectangle 46"/>
            <p:cNvSpPr>
              <a:spLocks/>
            </p:cNvSpPr>
            <p:nvPr/>
          </p:nvSpPr>
          <p:spPr>
            <a:xfrm>
              <a:off x="1480954" y="4231063"/>
              <a:ext cx="1578265" cy="811160"/>
            </a:xfrm>
            <a:prstGeom prst="rect">
              <a:avLst/>
            </a:prstGeom>
            <a:solidFill>
              <a:schemeClr val="accent2"/>
            </a:solidFill>
            <a:ln w="1270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GB" sz="1050">
                  <a:solidFill>
                    <a:prstClr val="white"/>
                  </a:solidFill>
                </a:rPr>
                <a:t>Enter Objectives/Self-assessment against goals</a:t>
              </a:r>
            </a:p>
          </p:txBody>
        </p:sp>
        <p:sp>
          <p:nvSpPr>
            <p:cNvPr id="48" name="Rectangle 47"/>
            <p:cNvSpPr/>
            <p:nvPr/>
          </p:nvSpPr>
          <p:spPr>
            <a:xfrm>
              <a:off x="7958399" y="4416537"/>
              <a:ext cx="1947600" cy="684075"/>
            </a:xfrm>
            <a:prstGeom prst="rect">
              <a:avLst/>
            </a:prstGeom>
            <a:solidFill>
              <a:schemeClr val="accent2"/>
            </a:solidFill>
            <a:ln w="1270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GB" sz="1050">
                  <a:solidFill>
                    <a:prstClr val="white"/>
                  </a:solidFill>
                </a:rPr>
                <a:t>Process Complete/ Sent to HR for calibration for Annual Appraisal</a:t>
              </a:r>
            </a:p>
          </p:txBody>
        </p:sp>
        <p:sp>
          <p:nvSpPr>
            <p:cNvPr id="49" name="Flowchart: Decision 48"/>
            <p:cNvSpPr/>
            <p:nvPr/>
          </p:nvSpPr>
          <p:spPr>
            <a:xfrm>
              <a:off x="5895157" y="4416538"/>
              <a:ext cx="1134089" cy="720080"/>
            </a:xfrm>
            <a:prstGeom prst="flowChartDecision">
              <a:avLst/>
            </a:prstGeom>
            <a:solidFill>
              <a:schemeClr val="accent2"/>
            </a:solidFill>
            <a:ln w="1270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defTabSz="914400"/>
              <a:r>
                <a:rPr lang="en-GB" sz="1050">
                  <a:solidFill>
                    <a:prstClr val="white"/>
                  </a:solidFill>
                </a:rPr>
                <a:t>Sign-off</a:t>
              </a:r>
            </a:p>
          </p:txBody>
        </p:sp>
        <p:sp>
          <p:nvSpPr>
            <p:cNvPr id="50" name="Rectangle 49"/>
            <p:cNvSpPr>
              <a:spLocks/>
            </p:cNvSpPr>
            <p:nvPr/>
          </p:nvSpPr>
          <p:spPr>
            <a:xfrm>
              <a:off x="3764872" y="3088603"/>
              <a:ext cx="1638402" cy="799729"/>
            </a:xfrm>
            <a:prstGeom prst="rect">
              <a:avLst/>
            </a:prstGeom>
            <a:solidFill>
              <a:schemeClr val="accent2"/>
            </a:solidFill>
            <a:ln w="1270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GB" sz="1050">
                  <a:solidFill>
                    <a:prstClr val="white"/>
                  </a:solidFill>
                </a:rPr>
                <a:t>Add/Edit / Review/Appraise and Signoff</a:t>
              </a:r>
            </a:p>
          </p:txBody>
        </p:sp>
        <p:cxnSp>
          <p:nvCxnSpPr>
            <p:cNvPr id="51" name="Elbow Connector 50"/>
            <p:cNvCxnSpPr>
              <a:cxnSpLocks/>
              <a:stCxn id="47" idx="3"/>
              <a:endCxn id="50" idx="1"/>
            </p:cNvCxnSpPr>
            <p:nvPr/>
          </p:nvCxnSpPr>
          <p:spPr>
            <a:xfrm flipV="1">
              <a:off x="3059219" y="3488468"/>
              <a:ext cx="705652" cy="1148176"/>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hape 48"/>
            <p:cNvCxnSpPr>
              <a:cxnSpLocks/>
              <a:stCxn id="50" idx="2"/>
              <a:endCxn id="49" idx="1"/>
            </p:cNvCxnSpPr>
            <p:nvPr/>
          </p:nvCxnSpPr>
          <p:spPr>
            <a:xfrm rot="16200000" flipH="1">
              <a:off x="4795492" y="3676912"/>
              <a:ext cx="888247" cy="1311084"/>
            </a:xfrm>
            <a:prstGeom prst="bentConnector2">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0" y="4184529"/>
              <a:ext cx="99060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4" name="Group 113"/>
            <p:cNvGrpSpPr/>
            <p:nvPr/>
          </p:nvGrpSpPr>
          <p:grpSpPr>
            <a:xfrm>
              <a:off x="3996595" y="1505830"/>
              <a:ext cx="763244" cy="732546"/>
              <a:chOff x="6114320" y="2203094"/>
              <a:chExt cx="567468" cy="544644"/>
            </a:xfrm>
          </p:grpSpPr>
          <p:sp>
            <p:nvSpPr>
              <p:cNvPr id="55" name="Freeform 4"/>
              <p:cNvSpPr>
                <a:spLocks/>
              </p:cNvSpPr>
              <p:nvPr/>
            </p:nvSpPr>
            <p:spPr bwMode="auto">
              <a:xfrm flipH="1">
                <a:off x="6114320" y="2524453"/>
                <a:ext cx="142484" cy="142483"/>
              </a:xfrm>
              <a:custGeom>
                <a:avLst/>
                <a:gdLst/>
                <a:ahLst/>
                <a:cxnLst>
                  <a:cxn ang="0">
                    <a:pos x="97" y="0"/>
                  </a:cxn>
                  <a:cxn ang="0">
                    <a:pos x="86" y="66"/>
                  </a:cxn>
                  <a:cxn ang="0">
                    <a:pos x="50" y="96"/>
                  </a:cxn>
                  <a:cxn ang="0">
                    <a:pos x="0" y="96"/>
                  </a:cxn>
                </a:cxnLst>
                <a:rect l="0" t="0" r="r" b="b"/>
                <a:pathLst>
                  <a:path w="97" h="97">
                    <a:moveTo>
                      <a:pt x="97" y="0"/>
                    </a:moveTo>
                    <a:cubicBezTo>
                      <a:pt x="97" y="0"/>
                      <a:pt x="89" y="58"/>
                      <a:pt x="86" y="66"/>
                    </a:cubicBezTo>
                    <a:cubicBezTo>
                      <a:pt x="82" y="75"/>
                      <a:pt x="73" y="96"/>
                      <a:pt x="50" y="96"/>
                    </a:cubicBezTo>
                    <a:cubicBezTo>
                      <a:pt x="27" y="97"/>
                      <a:pt x="0" y="96"/>
                      <a:pt x="0" y="96"/>
                    </a:cubicBezTo>
                  </a:path>
                </a:pathLst>
              </a:cu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56" name="Line 5"/>
              <p:cNvSpPr>
                <a:spLocks noChangeShapeType="1"/>
              </p:cNvSpPr>
              <p:nvPr/>
            </p:nvSpPr>
            <p:spPr bwMode="auto">
              <a:xfrm>
                <a:off x="6227197" y="2674338"/>
                <a:ext cx="38242" cy="73400"/>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57" name="Line 6"/>
              <p:cNvSpPr>
                <a:spLocks noChangeShapeType="1"/>
              </p:cNvSpPr>
              <p:nvPr/>
            </p:nvSpPr>
            <p:spPr bwMode="auto">
              <a:xfrm flipH="1">
                <a:off x="6118638" y="2674338"/>
                <a:ext cx="39476" cy="73400"/>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58" name="Freeform 7"/>
              <p:cNvSpPr>
                <a:spLocks/>
              </p:cNvSpPr>
              <p:nvPr/>
            </p:nvSpPr>
            <p:spPr bwMode="auto">
              <a:xfrm flipH="1">
                <a:off x="6545472" y="2524453"/>
                <a:ext cx="136316" cy="142483"/>
              </a:xfrm>
              <a:custGeom>
                <a:avLst/>
                <a:gdLst/>
                <a:ahLst/>
                <a:cxnLst>
                  <a:cxn ang="0">
                    <a:pos x="0" y="0"/>
                  </a:cxn>
                  <a:cxn ang="0">
                    <a:pos x="11" y="66"/>
                  </a:cxn>
                  <a:cxn ang="0">
                    <a:pos x="47" y="96"/>
                  </a:cxn>
                  <a:cxn ang="0">
                    <a:pos x="93" y="96"/>
                  </a:cxn>
                </a:cxnLst>
                <a:rect l="0" t="0" r="r" b="b"/>
                <a:pathLst>
                  <a:path w="93" h="97">
                    <a:moveTo>
                      <a:pt x="0" y="0"/>
                    </a:moveTo>
                    <a:cubicBezTo>
                      <a:pt x="0" y="0"/>
                      <a:pt x="8" y="58"/>
                      <a:pt x="11" y="66"/>
                    </a:cubicBezTo>
                    <a:cubicBezTo>
                      <a:pt x="15" y="75"/>
                      <a:pt x="24" y="96"/>
                      <a:pt x="47" y="96"/>
                    </a:cubicBezTo>
                    <a:cubicBezTo>
                      <a:pt x="70" y="97"/>
                      <a:pt x="93" y="96"/>
                      <a:pt x="93" y="96"/>
                    </a:cubicBezTo>
                  </a:path>
                </a:pathLst>
              </a:cu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59" name="Oval 9"/>
              <p:cNvSpPr>
                <a:spLocks noChangeArrowheads="1"/>
              </p:cNvSpPr>
              <p:nvPr/>
            </p:nvSpPr>
            <p:spPr bwMode="auto">
              <a:xfrm flipH="1">
                <a:off x="6568911" y="2358530"/>
                <a:ext cx="77718" cy="78335"/>
              </a:xfrm>
              <a:prstGeom prst="ellipse">
                <a:avLst/>
              </a:prstGeom>
              <a:noFill/>
              <a:ln w="1270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0" name="Line 10"/>
              <p:cNvSpPr>
                <a:spLocks noChangeShapeType="1"/>
              </p:cNvSpPr>
              <p:nvPr/>
            </p:nvSpPr>
            <p:spPr bwMode="auto">
              <a:xfrm flipH="1">
                <a:off x="6536837" y="2674338"/>
                <a:ext cx="38242" cy="73400"/>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1" name="Line 11"/>
              <p:cNvSpPr>
                <a:spLocks noChangeShapeType="1"/>
              </p:cNvSpPr>
              <p:nvPr/>
            </p:nvSpPr>
            <p:spPr bwMode="auto">
              <a:xfrm>
                <a:off x="6637994" y="2674338"/>
                <a:ext cx="38242" cy="73400"/>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2" name="Line 12"/>
              <p:cNvSpPr>
                <a:spLocks noChangeShapeType="1"/>
              </p:cNvSpPr>
              <p:nvPr/>
            </p:nvSpPr>
            <p:spPr bwMode="auto">
              <a:xfrm flipH="1">
                <a:off x="6285794" y="2557144"/>
                <a:ext cx="209716" cy="617"/>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3" name="Line 13"/>
              <p:cNvSpPr>
                <a:spLocks noChangeShapeType="1"/>
              </p:cNvSpPr>
              <p:nvPr/>
            </p:nvSpPr>
            <p:spPr bwMode="auto">
              <a:xfrm flipH="1">
                <a:off x="6334522" y="2742187"/>
                <a:ext cx="115961" cy="617"/>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4" name="Line 14"/>
              <p:cNvSpPr>
                <a:spLocks noChangeShapeType="1"/>
              </p:cNvSpPr>
              <p:nvPr/>
            </p:nvSpPr>
            <p:spPr bwMode="auto">
              <a:xfrm flipH="1">
                <a:off x="6390652" y="2557144"/>
                <a:ext cx="617" cy="185043"/>
              </a:xfrm>
              <a:prstGeom prst="lin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5" name="Freeform 15"/>
              <p:cNvSpPr>
                <a:spLocks/>
              </p:cNvSpPr>
              <p:nvPr/>
            </p:nvSpPr>
            <p:spPr bwMode="auto">
              <a:xfrm flipH="1">
                <a:off x="6161198" y="2436866"/>
                <a:ext cx="181402" cy="276255"/>
              </a:xfrm>
              <a:custGeom>
                <a:avLst/>
                <a:gdLst>
                  <a:gd name="connsiteX0" fmla="*/ 4068 w 10000"/>
                  <a:gd name="connsiteY0" fmla="*/ 9925 h 10000"/>
                  <a:gd name="connsiteX1" fmla="*/ 8644 w 10000"/>
                  <a:gd name="connsiteY1" fmla="*/ 9925 h 10000"/>
                  <a:gd name="connsiteX2" fmla="*/ 9915 w 10000"/>
                  <a:gd name="connsiteY2" fmla="*/ 8582 h 10000"/>
                  <a:gd name="connsiteX3" fmla="*/ 9915 w 10000"/>
                  <a:gd name="connsiteY3" fmla="*/ 1866 h 10000"/>
                  <a:gd name="connsiteX4" fmla="*/ 7203 w 10000"/>
                  <a:gd name="connsiteY4" fmla="*/ 1119 h 10000"/>
                  <a:gd name="connsiteX5" fmla="*/ 4068 w 10000"/>
                  <a:gd name="connsiteY5" fmla="*/ 3657 h 10000"/>
                  <a:gd name="connsiteX6" fmla="*/ 763 w 10000"/>
                  <a:gd name="connsiteY6" fmla="*/ 3657 h 10000"/>
                  <a:gd name="connsiteX7" fmla="*/ 0 w 10000"/>
                  <a:gd name="connsiteY7" fmla="*/ 4403 h 10000"/>
                  <a:gd name="connsiteX8" fmla="*/ 678 w 10000"/>
                  <a:gd name="connsiteY8" fmla="*/ 5000 h 10000"/>
                  <a:gd name="connsiteX9" fmla="*/ 4576 w 10000"/>
                  <a:gd name="connsiteY9" fmla="*/ 5000 h 10000"/>
                  <a:gd name="connsiteX10" fmla="*/ 6610 w 10000"/>
                  <a:gd name="connsiteY10" fmla="*/ 3433 h 10000"/>
                  <a:gd name="connsiteX11" fmla="*/ 6610 w 10000"/>
                  <a:gd name="connsiteY11" fmla="*/ 7985 h 10000"/>
                  <a:gd name="connsiteX12" fmla="*/ 4068 w 10000"/>
                  <a:gd name="connsiteY12" fmla="*/ 7985 h 10000"/>
                  <a:gd name="connsiteX0" fmla="*/ 633 w 10191"/>
                  <a:gd name="connsiteY0" fmla="*/ 14040 h 14040"/>
                  <a:gd name="connsiteX1" fmla="*/ 8644 w 10191"/>
                  <a:gd name="connsiteY1" fmla="*/ 9925 h 14040"/>
                  <a:gd name="connsiteX2" fmla="*/ 9915 w 10191"/>
                  <a:gd name="connsiteY2" fmla="*/ 8582 h 14040"/>
                  <a:gd name="connsiteX3" fmla="*/ 9915 w 10191"/>
                  <a:gd name="connsiteY3" fmla="*/ 1866 h 14040"/>
                  <a:gd name="connsiteX4" fmla="*/ 7203 w 10191"/>
                  <a:gd name="connsiteY4" fmla="*/ 1119 h 14040"/>
                  <a:gd name="connsiteX5" fmla="*/ 4068 w 10191"/>
                  <a:gd name="connsiteY5" fmla="*/ 3657 h 14040"/>
                  <a:gd name="connsiteX6" fmla="*/ 763 w 10191"/>
                  <a:gd name="connsiteY6" fmla="*/ 3657 h 14040"/>
                  <a:gd name="connsiteX7" fmla="*/ 0 w 10191"/>
                  <a:gd name="connsiteY7" fmla="*/ 4403 h 14040"/>
                  <a:gd name="connsiteX8" fmla="*/ 678 w 10191"/>
                  <a:gd name="connsiteY8" fmla="*/ 5000 h 14040"/>
                  <a:gd name="connsiteX9" fmla="*/ 4576 w 10191"/>
                  <a:gd name="connsiteY9" fmla="*/ 5000 h 14040"/>
                  <a:gd name="connsiteX10" fmla="*/ 6610 w 10191"/>
                  <a:gd name="connsiteY10" fmla="*/ 3433 h 14040"/>
                  <a:gd name="connsiteX11" fmla="*/ 6610 w 10191"/>
                  <a:gd name="connsiteY11" fmla="*/ 7985 h 14040"/>
                  <a:gd name="connsiteX12" fmla="*/ 4068 w 10191"/>
                  <a:gd name="connsiteY12" fmla="*/ 7985 h 14040"/>
                  <a:gd name="connsiteX0" fmla="*/ 633 w 10000"/>
                  <a:gd name="connsiteY0" fmla="*/ 14040 h 14040"/>
                  <a:gd name="connsiteX1" fmla="*/ 3045 w 10000"/>
                  <a:gd name="connsiteY1" fmla="*/ 10607 h 14040"/>
                  <a:gd name="connsiteX2" fmla="*/ 8644 w 10000"/>
                  <a:gd name="connsiteY2" fmla="*/ 9925 h 14040"/>
                  <a:gd name="connsiteX3" fmla="*/ 9915 w 10000"/>
                  <a:gd name="connsiteY3" fmla="*/ 8582 h 14040"/>
                  <a:gd name="connsiteX4" fmla="*/ 9915 w 10000"/>
                  <a:gd name="connsiteY4" fmla="*/ 1866 h 14040"/>
                  <a:gd name="connsiteX5" fmla="*/ 7203 w 10000"/>
                  <a:gd name="connsiteY5" fmla="*/ 1119 h 14040"/>
                  <a:gd name="connsiteX6" fmla="*/ 4068 w 10000"/>
                  <a:gd name="connsiteY6" fmla="*/ 3657 h 14040"/>
                  <a:gd name="connsiteX7" fmla="*/ 763 w 10000"/>
                  <a:gd name="connsiteY7" fmla="*/ 3657 h 14040"/>
                  <a:gd name="connsiteX8" fmla="*/ 0 w 10000"/>
                  <a:gd name="connsiteY8" fmla="*/ 4403 h 14040"/>
                  <a:gd name="connsiteX9" fmla="*/ 678 w 10000"/>
                  <a:gd name="connsiteY9" fmla="*/ 5000 h 14040"/>
                  <a:gd name="connsiteX10" fmla="*/ 4576 w 10000"/>
                  <a:gd name="connsiteY10" fmla="*/ 5000 h 14040"/>
                  <a:gd name="connsiteX11" fmla="*/ 6610 w 10000"/>
                  <a:gd name="connsiteY11" fmla="*/ 3433 h 14040"/>
                  <a:gd name="connsiteX12" fmla="*/ 6610 w 10000"/>
                  <a:gd name="connsiteY12" fmla="*/ 7985 h 14040"/>
                  <a:gd name="connsiteX13" fmla="*/ 4068 w 10000"/>
                  <a:gd name="connsiteY13" fmla="*/ 798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0 w 11153"/>
                  <a:gd name="connsiteY13" fmla="*/ 1270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3237 w 11153"/>
                  <a:gd name="connsiteY13" fmla="*/ 9397 h 14040"/>
                  <a:gd name="connsiteX14" fmla="*/ 0 w 11153"/>
                  <a:gd name="connsiteY14" fmla="*/ 12705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550 w 10466"/>
                  <a:gd name="connsiteY13" fmla="*/ 9397 h 14040"/>
                  <a:gd name="connsiteX14" fmla="*/ 0 w 10466"/>
                  <a:gd name="connsiteY14" fmla="*/ 13189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374 w 10466"/>
                  <a:gd name="connsiteY1" fmla="*/ 10849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237 w 10466"/>
                  <a:gd name="connsiteY1" fmla="*/ 10486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6" h="14040">
                    <a:moveTo>
                      <a:pt x="1099" y="14040"/>
                    </a:moveTo>
                    <a:lnTo>
                      <a:pt x="3237" y="10486"/>
                    </a:lnTo>
                    <a:cubicBezTo>
                      <a:pt x="4572" y="9800"/>
                      <a:pt x="7919" y="10242"/>
                      <a:pt x="9110" y="9925"/>
                    </a:cubicBezTo>
                    <a:cubicBezTo>
                      <a:pt x="10301" y="9608"/>
                      <a:pt x="10297" y="9552"/>
                      <a:pt x="10381" y="8582"/>
                    </a:cubicBezTo>
                    <a:cubicBezTo>
                      <a:pt x="10466" y="7687"/>
                      <a:pt x="10381" y="2313"/>
                      <a:pt x="10381" y="1866"/>
                    </a:cubicBezTo>
                    <a:cubicBezTo>
                      <a:pt x="10381" y="1343"/>
                      <a:pt x="9364" y="0"/>
                      <a:pt x="7669" y="1119"/>
                    </a:cubicBezTo>
                    <a:cubicBezTo>
                      <a:pt x="6991" y="1567"/>
                      <a:pt x="4703" y="3582"/>
                      <a:pt x="4534" y="3657"/>
                    </a:cubicBezTo>
                    <a:cubicBezTo>
                      <a:pt x="4449" y="3731"/>
                      <a:pt x="1229" y="3657"/>
                      <a:pt x="1229" y="3657"/>
                    </a:cubicBezTo>
                    <a:cubicBezTo>
                      <a:pt x="1229" y="3657"/>
                      <a:pt x="466" y="3806"/>
                      <a:pt x="466" y="4403"/>
                    </a:cubicBezTo>
                    <a:cubicBezTo>
                      <a:pt x="466" y="4925"/>
                      <a:pt x="1059" y="5000"/>
                      <a:pt x="1144" y="5000"/>
                    </a:cubicBezTo>
                    <a:lnTo>
                      <a:pt x="5042" y="5000"/>
                    </a:lnTo>
                    <a:lnTo>
                      <a:pt x="7076" y="3433"/>
                    </a:lnTo>
                    <a:lnTo>
                      <a:pt x="7076" y="7985"/>
                    </a:lnTo>
                    <a:lnTo>
                      <a:pt x="2413" y="9034"/>
                    </a:lnTo>
                    <a:lnTo>
                      <a:pt x="0" y="13189"/>
                    </a:lnTo>
                  </a:path>
                </a:pathLst>
              </a:cu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6" name="Oval 16"/>
              <p:cNvSpPr>
                <a:spLocks noChangeArrowheads="1"/>
              </p:cNvSpPr>
              <p:nvPr/>
            </p:nvSpPr>
            <p:spPr bwMode="auto">
              <a:xfrm flipH="1">
                <a:off x="6149479" y="2358530"/>
                <a:ext cx="77718" cy="78335"/>
              </a:xfrm>
              <a:prstGeom prst="ellipse">
                <a:avLst/>
              </a:pr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7" name="Freeform 17"/>
              <p:cNvSpPr>
                <a:spLocks/>
              </p:cNvSpPr>
              <p:nvPr/>
            </p:nvSpPr>
            <p:spPr bwMode="auto">
              <a:xfrm flipH="1">
                <a:off x="6288878" y="2446735"/>
                <a:ext cx="67233" cy="56130"/>
              </a:xfrm>
              <a:custGeom>
                <a:avLst/>
                <a:gdLst/>
                <a:ahLst/>
                <a:cxnLst>
                  <a:cxn ang="0">
                    <a:pos x="31" y="91"/>
                  </a:cxn>
                  <a:cxn ang="0">
                    <a:pos x="0" y="24"/>
                  </a:cxn>
                  <a:cxn ang="0">
                    <a:pos x="73" y="0"/>
                  </a:cxn>
                  <a:cxn ang="0">
                    <a:pos x="109" y="76"/>
                  </a:cxn>
                </a:cxnLst>
                <a:rect l="0" t="0" r="r" b="b"/>
                <a:pathLst>
                  <a:path w="109" h="91">
                    <a:moveTo>
                      <a:pt x="31" y="91"/>
                    </a:moveTo>
                    <a:lnTo>
                      <a:pt x="0" y="24"/>
                    </a:lnTo>
                    <a:lnTo>
                      <a:pt x="73" y="0"/>
                    </a:lnTo>
                    <a:lnTo>
                      <a:pt x="109" y="76"/>
                    </a:lnTo>
                  </a:path>
                </a:pathLst>
              </a:cu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8" name="Freeform 18"/>
              <p:cNvSpPr>
                <a:spLocks/>
              </p:cNvSpPr>
              <p:nvPr/>
            </p:nvSpPr>
            <p:spPr bwMode="auto">
              <a:xfrm flipH="1">
                <a:off x="6132875" y="2203094"/>
                <a:ext cx="162838" cy="122129"/>
              </a:xfrm>
              <a:custGeom>
                <a:avLst/>
                <a:gdLst/>
                <a:ahLst/>
                <a:cxnLst>
                  <a:cxn ang="0">
                    <a:pos x="59" y="69"/>
                  </a:cxn>
                  <a:cxn ang="0">
                    <a:pos x="61" y="83"/>
                  </a:cxn>
                  <a:cxn ang="0">
                    <a:pos x="37" y="63"/>
                  </a:cxn>
                  <a:cxn ang="0">
                    <a:pos x="13" y="63"/>
                  </a:cxn>
                  <a:cxn ang="0">
                    <a:pos x="2" y="50"/>
                  </a:cxn>
                  <a:cxn ang="0">
                    <a:pos x="2" y="14"/>
                  </a:cxn>
                  <a:cxn ang="0">
                    <a:pos x="13" y="0"/>
                  </a:cxn>
                  <a:cxn ang="0">
                    <a:pos x="100" y="0"/>
                  </a:cxn>
                  <a:cxn ang="0">
                    <a:pos x="110" y="14"/>
                  </a:cxn>
                  <a:cxn ang="0">
                    <a:pos x="110" y="50"/>
                  </a:cxn>
                  <a:cxn ang="0">
                    <a:pos x="97" y="62"/>
                  </a:cxn>
                  <a:cxn ang="0">
                    <a:pos x="74" y="62"/>
                  </a:cxn>
                </a:cxnLst>
                <a:rect l="0" t="0" r="r" b="b"/>
                <a:pathLst>
                  <a:path w="111" h="83">
                    <a:moveTo>
                      <a:pt x="59" y="69"/>
                    </a:moveTo>
                    <a:cubicBezTo>
                      <a:pt x="61" y="83"/>
                      <a:pt x="61" y="83"/>
                      <a:pt x="61" y="83"/>
                    </a:cubicBezTo>
                    <a:cubicBezTo>
                      <a:pt x="37" y="63"/>
                      <a:pt x="37" y="63"/>
                      <a:pt x="37" y="63"/>
                    </a:cubicBezTo>
                    <a:cubicBezTo>
                      <a:pt x="13" y="63"/>
                      <a:pt x="13" y="63"/>
                      <a:pt x="13" y="63"/>
                    </a:cubicBezTo>
                    <a:cubicBezTo>
                      <a:pt x="13" y="63"/>
                      <a:pt x="2" y="62"/>
                      <a:pt x="2" y="50"/>
                    </a:cubicBezTo>
                    <a:cubicBezTo>
                      <a:pt x="2" y="38"/>
                      <a:pt x="2" y="14"/>
                      <a:pt x="2" y="14"/>
                    </a:cubicBezTo>
                    <a:cubicBezTo>
                      <a:pt x="2" y="14"/>
                      <a:pt x="0" y="0"/>
                      <a:pt x="13" y="0"/>
                    </a:cubicBezTo>
                    <a:cubicBezTo>
                      <a:pt x="26" y="0"/>
                      <a:pt x="100" y="0"/>
                      <a:pt x="100" y="0"/>
                    </a:cubicBezTo>
                    <a:cubicBezTo>
                      <a:pt x="100" y="0"/>
                      <a:pt x="110" y="3"/>
                      <a:pt x="110" y="14"/>
                    </a:cubicBezTo>
                    <a:cubicBezTo>
                      <a:pt x="110" y="25"/>
                      <a:pt x="110" y="50"/>
                      <a:pt x="110" y="50"/>
                    </a:cubicBezTo>
                    <a:cubicBezTo>
                      <a:pt x="110" y="50"/>
                      <a:pt x="111" y="62"/>
                      <a:pt x="97" y="62"/>
                    </a:cubicBezTo>
                    <a:cubicBezTo>
                      <a:pt x="83" y="62"/>
                      <a:pt x="74" y="62"/>
                      <a:pt x="74" y="62"/>
                    </a:cubicBezTo>
                  </a:path>
                </a:pathLst>
              </a:custGeom>
              <a:noFill/>
              <a:ln w="127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sp>
            <p:nvSpPr>
              <p:cNvPr id="69" name="Freeform 15"/>
              <p:cNvSpPr>
                <a:spLocks/>
              </p:cNvSpPr>
              <p:nvPr/>
            </p:nvSpPr>
            <p:spPr bwMode="auto">
              <a:xfrm>
                <a:off x="6458854" y="2436866"/>
                <a:ext cx="181402" cy="276255"/>
              </a:xfrm>
              <a:custGeom>
                <a:avLst/>
                <a:gdLst>
                  <a:gd name="connsiteX0" fmla="*/ 4068 w 10000"/>
                  <a:gd name="connsiteY0" fmla="*/ 9925 h 10000"/>
                  <a:gd name="connsiteX1" fmla="*/ 8644 w 10000"/>
                  <a:gd name="connsiteY1" fmla="*/ 9925 h 10000"/>
                  <a:gd name="connsiteX2" fmla="*/ 9915 w 10000"/>
                  <a:gd name="connsiteY2" fmla="*/ 8582 h 10000"/>
                  <a:gd name="connsiteX3" fmla="*/ 9915 w 10000"/>
                  <a:gd name="connsiteY3" fmla="*/ 1866 h 10000"/>
                  <a:gd name="connsiteX4" fmla="*/ 7203 w 10000"/>
                  <a:gd name="connsiteY4" fmla="*/ 1119 h 10000"/>
                  <a:gd name="connsiteX5" fmla="*/ 4068 w 10000"/>
                  <a:gd name="connsiteY5" fmla="*/ 3657 h 10000"/>
                  <a:gd name="connsiteX6" fmla="*/ 763 w 10000"/>
                  <a:gd name="connsiteY6" fmla="*/ 3657 h 10000"/>
                  <a:gd name="connsiteX7" fmla="*/ 0 w 10000"/>
                  <a:gd name="connsiteY7" fmla="*/ 4403 h 10000"/>
                  <a:gd name="connsiteX8" fmla="*/ 678 w 10000"/>
                  <a:gd name="connsiteY8" fmla="*/ 5000 h 10000"/>
                  <a:gd name="connsiteX9" fmla="*/ 4576 w 10000"/>
                  <a:gd name="connsiteY9" fmla="*/ 5000 h 10000"/>
                  <a:gd name="connsiteX10" fmla="*/ 6610 w 10000"/>
                  <a:gd name="connsiteY10" fmla="*/ 3433 h 10000"/>
                  <a:gd name="connsiteX11" fmla="*/ 6610 w 10000"/>
                  <a:gd name="connsiteY11" fmla="*/ 7985 h 10000"/>
                  <a:gd name="connsiteX12" fmla="*/ 4068 w 10000"/>
                  <a:gd name="connsiteY12" fmla="*/ 7985 h 10000"/>
                  <a:gd name="connsiteX0" fmla="*/ 633 w 10191"/>
                  <a:gd name="connsiteY0" fmla="*/ 14040 h 14040"/>
                  <a:gd name="connsiteX1" fmla="*/ 8644 w 10191"/>
                  <a:gd name="connsiteY1" fmla="*/ 9925 h 14040"/>
                  <a:gd name="connsiteX2" fmla="*/ 9915 w 10191"/>
                  <a:gd name="connsiteY2" fmla="*/ 8582 h 14040"/>
                  <a:gd name="connsiteX3" fmla="*/ 9915 w 10191"/>
                  <a:gd name="connsiteY3" fmla="*/ 1866 h 14040"/>
                  <a:gd name="connsiteX4" fmla="*/ 7203 w 10191"/>
                  <a:gd name="connsiteY4" fmla="*/ 1119 h 14040"/>
                  <a:gd name="connsiteX5" fmla="*/ 4068 w 10191"/>
                  <a:gd name="connsiteY5" fmla="*/ 3657 h 14040"/>
                  <a:gd name="connsiteX6" fmla="*/ 763 w 10191"/>
                  <a:gd name="connsiteY6" fmla="*/ 3657 h 14040"/>
                  <a:gd name="connsiteX7" fmla="*/ 0 w 10191"/>
                  <a:gd name="connsiteY7" fmla="*/ 4403 h 14040"/>
                  <a:gd name="connsiteX8" fmla="*/ 678 w 10191"/>
                  <a:gd name="connsiteY8" fmla="*/ 5000 h 14040"/>
                  <a:gd name="connsiteX9" fmla="*/ 4576 w 10191"/>
                  <a:gd name="connsiteY9" fmla="*/ 5000 h 14040"/>
                  <a:gd name="connsiteX10" fmla="*/ 6610 w 10191"/>
                  <a:gd name="connsiteY10" fmla="*/ 3433 h 14040"/>
                  <a:gd name="connsiteX11" fmla="*/ 6610 w 10191"/>
                  <a:gd name="connsiteY11" fmla="*/ 7985 h 14040"/>
                  <a:gd name="connsiteX12" fmla="*/ 4068 w 10191"/>
                  <a:gd name="connsiteY12" fmla="*/ 7985 h 14040"/>
                  <a:gd name="connsiteX0" fmla="*/ 633 w 10000"/>
                  <a:gd name="connsiteY0" fmla="*/ 14040 h 14040"/>
                  <a:gd name="connsiteX1" fmla="*/ 3045 w 10000"/>
                  <a:gd name="connsiteY1" fmla="*/ 10607 h 14040"/>
                  <a:gd name="connsiteX2" fmla="*/ 8644 w 10000"/>
                  <a:gd name="connsiteY2" fmla="*/ 9925 h 14040"/>
                  <a:gd name="connsiteX3" fmla="*/ 9915 w 10000"/>
                  <a:gd name="connsiteY3" fmla="*/ 8582 h 14040"/>
                  <a:gd name="connsiteX4" fmla="*/ 9915 w 10000"/>
                  <a:gd name="connsiteY4" fmla="*/ 1866 h 14040"/>
                  <a:gd name="connsiteX5" fmla="*/ 7203 w 10000"/>
                  <a:gd name="connsiteY5" fmla="*/ 1119 h 14040"/>
                  <a:gd name="connsiteX6" fmla="*/ 4068 w 10000"/>
                  <a:gd name="connsiteY6" fmla="*/ 3657 h 14040"/>
                  <a:gd name="connsiteX7" fmla="*/ 763 w 10000"/>
                  <a:gd name="connsiteY7" fmla="*/ 3657 h 14040"/>
                  <a:gd name="connsiteX8" fmla="*/ 0 w 10000"/>
                  <a:gd name="connsiteY8" fmla="*/ 4403 h 14040"/>
                  <a:gd name="connsiteX9" fmla="*/ 678 w 10000"/>
                  <a:gd name="connsiteY9" fmla="*/ 5000 h 14040"/>
                  <a:gd name="connsiteX10" fmla="*/ 4576 w 10000"/>
                  <a:gd name="connsiteY10" fmla="*/ 5000 h 14040"/>
                  <a:gd name="connsiteX11" fmla="*/ 6610 w 10000"/>
                  <a:gd name="connsiteY11" fmla="*/ 3433 h 14040"/>
                  <a:gd name="connsiteX12" fmla="*/ 6610 w 10000"/>
                  <a:gd name="connsiteY12" fmla="*/ 7985 h 14040"/>
                  <a:gd name="connsiteX13" fmla="*/ 4068 w 10000"/>
                  <a:gd name="connsiteY13" fmla="*/ 798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0 w 11153"/>
                  <a:gd name="connsiteY13" fmla="*/ 1270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3237 w 11153"/>
                  <a:gd name="connsiteY13" fmla="*/ 9397 h 14040"/>
                  <a:gd name="connsiteX14" fmla="*/ 0 w 11153"/>
                  <a:gd name="connsiteY14" fmla="*/ 12705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550 w 10466"/>
                  <a:gd name="connsiteY13" fmla="*/ 9397 h 14040"/>
                  <a:gd name="connsiteX14" fmla="*/ 0 w 10466"/>
                  <a:gd name="connsiteY14" fmla="*/ 13189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374 w 10466"/>
                  <a:gd name="connsiteY1" fmla="*/ 10849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237 w 10466"/>
                  <a:gd name="connsiteY1" fmla="*/ 10486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6" h="14040">
                    <a:moveTo>
                      <a:pt x="1099" y="14040"/>
                    </a:moveTo>
                    <a:lnTo>
                      <a:pt x="3237" y="10486"/>
                    </a:lnTo>
                    <a:cubicBezTo>
                      <a:pt x="4572" y="9800"/>
                      <a:pt x="7919" y="10242"/>
                      <a:pt x="9110" y="9925"/>
                    </a:cubicBezTo>
                    <a:cubicBezTo>
                      <a:pt x="10301" y="9608"/>
                      <a:pt x="10297" y="9552"/>
                      <a:pt x="10381" y="8582"/>
                    </a:cubicBezTo>
                    <a:cubicBezTo>
                      <a:pt x="10466" y="7687"/>
                      <a:pt x="10381" y="2313"/>
                      <a:pt x="10381" y="1866"/>
                    </a:cubicBezTo>
                    <a:cubicBezTo>
                      <a:pt x="10381" y="1343"/>
                      <a:pt x="9364" y="0"/>
                      <a:pt x="7669" y="1119"/>
                    </a:cubicBezTo>
                    <a:cubicBezTo>
                      <a:pt x="6991" y="1567"/>
                      <a:pt x="4703" y="3582"/>
                      <a:pt x="4534" y="3657"/>
                    </a:cubicBezTo>
                    <a:cubicBezTo>
                      <a:pt x="4449" y="3731"/>
                      <a:pt x="1229" y="3657"/>
                      <a:pt x="1229" y="3657"/>
                    </a:cubicBezTo>
                    <a:cubicBezTo>
                      <a:pt x="1229" y="3657"/>
                      <a:pt x="466" y="3806"/>
                      <a:pt x="466" y="4403"/>
                    </a:cubicBezTo>
                    <a:cubicBezTo>
                      <a:pt x="466" y="4925"/>
                      <a:pt x="1059" y="5000"/>
                      <a:pt x="1144" y="5000"/>
                    </a:cubicBezTo>
                    <a:lnTo>
                      <a:pt x="5042" y="5000"/>
                    </a:lnTo>
                    <a:lnTo>
                      <a:pt x="7076" y="3433"/>
                    </a:lnTo>
                    <a:lnTo>
                      <a:pt x="7076" y="7985"/>
                    </a:lnTo>
                    <a:lnTo>
                      <a:pt x="2413" y="9034"/>
                    </a:lnTo>
                    <a:lnTo>
                      <a:pt x="0" y="13189"/>
                    </a:lnTo>
                  </a:path>
                </a:pathLst>
              </a:custGeom>
              <a:noFill/>
              <a:ln w="1270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endParaRPr>
              </a:p>
            </p:txBody>
          </p:sp>
        </p:grpSp>
        <p:cxnSp>
          <p:nvCxnSpPr>
            <p:cNvPr id="70" name="Straight Arrow Connector 69"/>
            <p:cNvCxnSpPr>
              <a:stCxn id="49" idx="3"/>
              <a:endCxn id="48" idx="1"/>
            </p:cNvCxnSpPr>
            <p:nvPr/>
          </p:nvCxnSpPr>
          <p:spPr>
            <a:xfrm flipV="1">
              <a:off x="7029246" y="4758576"/>
              <a:ext cx="929153" cy="18002"/>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1" name="Group 143"/>
            <p:cNvGrpSpPr/>
            <p:nvPr/>
          </p:nvGrpSpPr>
          <p:grpSpPr>
            <a:xfrm>
              <a:off x="8175261" y="1634553"/>
              <a:ext cx="458787" cy="603823"/>
              <a:chOff x="2579688" y="2981325"/>
              <a:chExt cx="738188" cy="971551"/>
            </a:xfrm>
          </p:grpSpPr>
          <p:sp>
            <p:nvSpPr>
              <p:cNvPr id="72" name="Freeform 16"/>
              <p:cNvSpPr>
                <a:spLocks/>
              </p:cNvSpPr>
              <p:nvPr/>
            </p:nvSpPr>
            <p:spPr bwMode="auto">
              <a:xfrm>
                <a:off x="2579688" y="3157538"/>
                <a:ext cx="565150" cy="795338"/>
              </a:xfrm>
              <a:custGeom>
                <a:avLst/>
                <a:gdLst/>
                <a:ahLst/>
                <a:cxnLst>
                  <a:cxn ang="0">
                    <a:pos x="115" y="212"/>
                  </a:cxn>
                  <a:cxn ang="0">
                    <a:pos x="6" y="212"/>
                  </a:cxn>
                  <a:cxn ang="0">
                    <a:pos x="0" y="207"/>
                  </a:cxn>
                  <a:cxn ang="0">
                    <a:pos x="0" y="24"/>
                  </a:cxn>
                  <a:cxn ang="0">
                    <a:pos x="6" y="19"/>
                  </a:cxn>
                  <a:cxn ang="0">
                    <a:pos x="40" y="19"/>
                  </a:cxn>
                  <a:cxn ang="0">
                    <a:pos x="40" y="6"/>
                  </a:cxn>
                  <a:cxn ang="0">
                    <a:pos x="46" y="0"/>
                  </a:cxn>
                  <a:cxn ang="0">
                    <a:pos x="106" y="0"/>
                  </a:cxn>
                  <a:cxn ang="0">
                    <a:pos x="112" y="6"/>
                  </a:cxn>
                  <a:cxn ang="0">
                    <a:pos x="112" y="19"/>
                  </a:cxn>
                  <a:cxn ang="0">
                    <a:pos x="146" y="19"/>
                  </a:cxn>
                  <a:cxn ang="0">
                    <a:pos x="151" y="24"/>
                  </a:cxn>
                  <a:cxn ang="0">
                    <a:pos x="151" y="172"/>
                  </a:cxn>
                  <a:cxn ang="0">
                    <a:pos x="115" y="212"/>
                  </a:cxn>
                </a:cxnLst>
                <a:rect l="0" t="0" r="r" b="b"/>
                <a:pathLst>
                  <a:path w="151" h="212">
                    <a:moveTo>
                      <a:pt x="115" y="212"/>
                    </a:moveTo>
                    <a:cubicBezTo>
                      <a:pt x="6" y="212"/>
                      <a:pt x="6" y="212"/>
                      <a:pt x="6" y="212"/>
                    </a:cubicBezTo>
                    <a:cubicBezTo>
                      <a:pt x="3" y="212"/>
                      <a:pt x="0" y="210"/>
                      <a:pt x="0" y="207"/>
                    </a:cubicBezTo>
                    <a:cubicBezTo>
                      <a:pt x="0" y="24"/>
                      <a:pt x="0" y="24"/>
                      <a:pt x="0" y="24"/>
                    </a:cubicBezTo>
                    <a:cubicBezTo>
                      <a:pt x="0" y="22"/>
                      <a:pt x="3" y="19"/>
                      <a:pt x="6" y="19"/>
                    </a:cubicBezTo>
                    <a:cubicBezTo>
                      <a:pt x="40" y="19"/>
                      <a:pt x="40" y="19"/>
                      <a:pt x="40" y="19"/>
                    </a:cubicBezTo>
                    <a:cubicBezTo>
                      <a:pt x="40" y="6"/>
                      <a:pt x="40" y="6"/>
                      <a:pt x="40" y="6"/>
                    </a:cubicBezTo>
                    <a:cubicBezTo>
                      <a:pt x="40" y="2"/>
                      <a:pt x="43" y="0"/>
                      <a:pt x="46" y="0"/>
                    </a:cubicBezTo>
                    <a:cubicBezTo>
                      <a:pt x="106" y="0"/>
                      <a:pt x="106" y="0"/>
                      <a:pt x="106" y="0"/>
                    </a:cubicBezTo>
                    <a:cubicBezTo>
                      <a:pt x="109" y="0"/>
                      <a:pt x="112" y="2"/>
                      <a:pt x="112" y="6"/>
                    </a:cubicBezTo>
                    <a:cubicBezTo>
                      <a:pt x="112" y="19"/>
                      <a:pt x="112" y="19"/>
                      <a:pt x="112" y="19"/>
                    </a:cubicBezTo>
                    <a:cubicBezTo>
                      <a:pt x="146" y="19"/>
                      <a:pt x="146" y="19"/>
                      <a:pt x="146" y="19"/>
                    </a:cubicBezTo>
                    <a:cubicBezTo>
                      <a:pt x="149" y="19"/>
                      <a:pt x="151" y="22"/>
                      <a:pt x="151" y="24"/>
                    </a:cubicBezTo>
                    <a:cubicBezTo>
                      <a:pt x="151" y="172"/>
                      <a:pt x="151" y="172"/>
                      <a:pt x="151" y="172"/>
                    </a:cubicBezTo>
                    <a:lnTo>
                      <a:pt x="115" y="212"/>
                    </a:lnTo>
                    <a:close/>
                  </a:path>
                </a:pathLst>
              </a:cu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3" name="Freeform 17"/>
              <p:cNvSpPr>
                <a:spLocks/>
              </p:cNvSpPr>
              <p:nvPr/>
            </p:nvSpPr>
            <p:spPr bwMode="auto">
              <a:xfrm>
                <a:off x="2701926" y="3686175"/>
                <a:ext cx="282575" cy="119063"/>
              </a:xfrm>
              <a:custGeom>
                <a:avLst/>
                <a:gdLst/>
                <a:ahLst/>
                <a:cxnLst>
                  <a:cxn ang="0">
                    <a:pos x="0" y="14"/>
                  </a:cxn>
                  <a:cxn ang="0">
                    <a:pos x="36" y="75"/>
                  </a:cxn>
                  <a:cxn ang="0">
                    <a:pos x="178" y="0"/>
                  </a:cxn>
                </a:cxnLst>
                <a:rect l="0" t="0" r="r" b="b"/>
                <a:pathLst>
                  <a:path w="178" h="75">
                    <a:moveTo>
                      <a:pt x="0" y="14"/>
                    </a:moveTo>
                    <a:lnTo>
                      <a:pt x="36" y="75"/>
                    </a:lnTo>
                    <a:lnTo>
                      <a:pt x="178" y="0"/>
                    </a:lnTo>
                  </a:path>
                </a:pathLst>
              </a:cu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4" name="Line 18"/>
              <p:cNvSpPr>
                <a:spLocks noChangeShapeType="1"/>
              </p:cNvSpPr>
              <p:nvPr/>
            </p:nvSpPr>
            <p:spPr bwMode="auto">
              <a:xfrm>
                <a:off x="2676526" y="3325813"/>
                <a:ext cx="344488" cy="1588"/>
              </a:xfrm>
              <a:prstGeom prst="line">
                <a:avLst/>
              </a:pr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5" name="Line 19"/>
              <p:cNvSpPr>
                <a:spLocks noChangeShapeType="1"/>
              </p:cNvSpPr>
              <p:nvPr/>
            </p:nvSpPr>
            <p:spPr bwMode="auto">
              <a:xfrm>
                <a:off x="2676526" y="3427413"/>
                <a:ext cx="344488" cy="1588"/>
              </a:xfrm>
              <a:prstGeom prst="line">
                <a:avLst/>
              </a:pr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6" name="Line 20"/>
              <p:cNvSpPr>
                <a:spLocks noChangeShapeType="1"/>
              </p:cNvSpPr>
              <p:nvPr/>
            </p:nvSpPr>
            <p:spPr bwMode="auto">
              <a:xfrm>
                <a:off x="2676526" y="3535363"/>
                <a:ext cx="344488" cy="1588"/>
              </a:xfrm>
              <a:prstGeom prst="line">
                <a:avLst/>
              </a:pr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7" name="Freeform 21"/>
              <p:cNvSpPr>
                <a:spLocks/>
              </p:cNvSpPr>
              <p:nvPr/>
            </p:nvSpPr>
            <p:spPr bwMode="auto">
              <a:xfrm>
                <a:off x="3003551" y="3787775"/>
                <a:ext cx="130175" cy="153988"/>
              </a:xfrm>
              <a:custGeom>
                <a:avLst/>
                <a:gdLst/>
                <a:ahLst/>
                <a:cxnLst>
                  <a:cxn ang="0">
                    <a:pos x="0" y="97"/>
                  </a:cxn>
                  <a:cxn ang="0">
                    <a:pos x="0" y="0"/>
                  </a:cxn>
                  <a:cxn ang="0">
                    <a:pos x="82" y="0"/>
                  </a:cxn>
                </a:cxnLst>
                <a:rect l="0" t="0" r="r" b="b"/>
                <a:pathLst>
                  <a:path w="82" h="97">
                    <a:moveTo>
                      <a:pt x="0" y="97"/>
                    </a:moveTo>
                    <a:lnTo>
                      <a:pt x="0" y="0"/>
                    </a:lnTo>
                    <a:lnTo>
                      <a:pt x="82" y="0"/>
                    </a:lnTo>
                  </a:path>
                </a:pathLst>
              </a:cu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8" name="Line 22"/>
              <p:cNvSpPr>
                <a:spLocks noChangeShapeType="1"/>
              </p:cNvSpPr>
              <p:nvPr/>
            </p:nvSpPr>
            <p:spPr bwMode="auto">
              <a:xfrm>
                <a:off x="2728913" y="3228975"/>
                <a:ext cx="269875" cy="1588"/>
              </a:xfrm>
              <a:prstGeom prst="line">
                <a:avLst/>
              </a:pr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79" name="Freeform 23"/>
              <p:cNvSpPr>
                <a:spLocks/>
              </p:cNvSpPr>
              <p:nvPr/>
            </p:nvSpPr>
            <p:spPr bwMode="auto">
              <a:xfrm>
                <a:off x="2579688" y="3070225"/>
                <a:ext cx="647700" cy="720725"/>
              </a:xfrm>
              <a:custGeom>
                <a:avLst/>
                <a:gdLst/>
                <a:ahLst/>
                <a:cxnLst>
                  <a:cxn ang="0">
                    <a:pos x="0" y="0"/>
                  </a:cxn>
                  <a:cxn ang="0">
                    <a:pos x="408" y="0"/>
                  </a:cxn>
                  <a:cxn ang="0">
                    <a:pos x="408" y="454"/>
                  </a:cxn>
                </a:cxnLst>
                <a:rect l="0" t="0" r="r" b="b"/>
                <a:pathLst>
                  <a:path w="408" h="454">
                    <a:moveTo>
                      <a:pt x="0" y="0"/>
                    </a:moveTo>
                    <a:lnTo>
                      <a:pt x="408" y="0"/>
                    </a:lnTo>
                    <a:lnTo>
                      <a:pt x="408" y="454"/>
                    </a:lnTo>
                  </a:path>
                </a:pathLst>
              </a:cu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0" name="Freeform 24"/>
              <p:cNvSpPr>
                <a:spLocks/>
              </p:cNvSpPr>
              <p:nvPr/>
            </p:nvSpPr>
            <p:spPr bwMode="auto">
              <a:xfrm>
                <a:off x="2579688" y="2981325"/>
                <a:ext cx="738188" cy="719138"/>
              </a:xfrm>
              <a:custGeom>
                <a:avLst/>
                <a:gdLst/>
                <a:ahLst/>
                <a:cxnLst>
                  <a:cxn ang="0">
                    <a:pos x="0" y="0"/>
                  </a:cxn>
                  <a:cxn ang="0">
                    <a:pos x="465" y="0"/>
                  </a:cxn>
                  <a:cxn ang="0">
                    <a:pos x="465" y="453"/>
                  </a:cxn>
                </a:cxnLst>
                <a:rect l="0" t="0" r="r" b="b"/>
                <a:pathLst>
                  <a:path w="465" h="453">
                    <a:moveTo>
                      <a:pt x="0" y="0"/>
                    </a:moveTo>
                    <a:lnTo>
                      <a:pt x="465" y="0"/>
                    </a:lnTo>
                    <a:lnTo>
                      <a:pt x="465" y="453"/>
                    </a:lnTo>
                  </a:path>
                </a:pathLst>
              </a:custGeom>
              <a:noFill/>
              <a:ln w="12700" cap="rnd">
                <a:solidFill>
                  <a:srgbClr val="00A0D6"/>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nvGrpSpPr>
            <p:cNvPr id="81" name="Group 131"/>
            <p:cNvGrpSpPr/>
            <p:nvPr/>
          </p:nvGrpSpPr>
          <p:grpSpPr>
            <a:xfrm>
              <a:off x="226591" y="2865845"/>
              <a:ext cx="1254363" cy="1118780"/>
              <a:chOff x="226591" y="2865845"/>
              <a:chExt cx="1254363" cy="1118780"/>
            </a:xfrm>
          </p:grpSpPr>
          <p:sp>
            <p:nvSpPr>
              <p:cNvPr id="82" name="Content Placeholder 17"/>
              <p:cNvSpPr txBox="1">
                <a:spLocks/>
              </p:cNvSpPr>
              <p:nvPr/>
            </p:nvSpPr>
            <p:spPr>
              <a:xfrm>
                <a:off x="226591" y="2865845"/>
                <a:ext cx="1254363" cy="489460"/>
              </a:xfrm>
              <a:prstGeom prst="rect">
                <a:avLst/>
              </a:prstGeom>
            </p:spPr>
            <p:txBody>
              <a:bodyPr vert="horz" wrap="square" lIns="0" tIns="0" rIns="0" bIns="0" rtlCol="0">
                <a:spAutoFit/>
              </a:bodyPr>
              <a:lstStyle/>
              <a:p>
                <a:pPr algn="ctr" defTabSz="914342">
                  <a:buClr>
                    <a:srgbClr val="E47E1A"/>
                  </a:buClr>
                  <a:defRPr/>
                </a:pPr>
                <a:r>
                  <a:rPr lang="en-GB" sz="1200" b="1">
                    <a:solidFill>
                      <a:srgbClr val="40B3D6"/>
                    </a:solidFill>
                  </a:rPr>
                  <a:t>Performance Reviewer</a:t>
                </a:r>
              </a:p>
            </p:txBody>
          </p:sp>
          <p:grpSp>
            <p:nvGrpSpPr>
              <p:cNvPr id="83" name="Group 152"/>
              <p:cNvGrpSpPr/>
              <p:nvPr/>
            </p:nvGrpSpPr>
            <p:grpSpPr>
              <a:xfrm>
                <a:off x="512429" y="3378850"/>
                <a:ext cx="479424" cy="605775"/>
                <a:chOff x="2254251" y="3027363"/>
                <a:chExt cx="644525" cy="814388"/>
              </a:xfrm>
            </p:grpSpPr>
            <p:sp>
              <p:nvSpPr>
                <p:cNvPr id="84" name="Freeform 29"/>
                <p:cNvSpPr>
                  <a:spLocks noEditPoints="1"/>
                </p:cNvSpPr>
                <p:nvPr/>
              </p:nvSpPr>
              <p:spPr bwMode="auto">
                <a:xfrm>
                  <a:off x="2430463" y="3027363"/>
                  <a:ext cx="468313" cy="627063"/>
                </a:xfrm>
                <a:custGeom>
                  <a:avLst/>
                  <a:gdLst/>
                  <a:ahLst/>
                  <a:cxnLst>
                    <a:cxn ang="0">
                      <a:pos x="0" y="95"/>
                    </a:cxn>
                    <a:cxn ang="0">
                      <a:pos x="6" y="84"/>
                    </a:cxn>
                    <a:cxn ang="0">
                      <a:pos x="37" y="72"/>
                    </a:cxn>
                    <a:cxn ang="0">
                      <a:pos x="50" y="118"/>
                    </a:cxn>
                    <a:cxn ang="0">
                      <a:pos x="53" y="88"/>
                    </a:cxn>
                    <a:cxn ang="0">
                      <a:pos x="57" y="85"/>
                    </a:cxn>
                    <a:cxn ang="0">
                      <a:pos x="61" y="88"/>
                    </a:cxn>
                    <a:cxn ang="0">
                      <a:pos x="64" y="118"/>
                    </a:cxn>
                    <a:cxn ang="0">
                      <a:pos x="78" y="72"/>
                    </a:cxn>
                    <a:cxn ang="0">
                      <a:pos x="108" y="84"/>
                    </a:cxn>
                    <a:cxn ang="0">
                      <a:pos x="115" y="96"/>
                    </a:cxn>
                    <a:cxn ang="0">
                      <a:pos x="125" y="167"/>
                    </a:cxn>
                    <a:cxn ang="0">
                      <a:pos x="60" y="167"/>
                    </a:cxn>
                    <a:cxn ang="0">
                      <a:pos x="57" y="0"/>
                    </a:cxn>
                    <a:cxn ang="0">
                      <a:pos x="83" y="25"/>
                    </a:cxn>
                    <a:cxn ang="0">
                      <a:pos x="57" y="65"/>
                    </a:cxn>
                    <a:cxn ang="0">
                      <a:pos x="31" y="25"/>
                    </a:cxn>
                    <a:cxn ang="0">
                      <a:pos x="57" y="0"/>
                    </a:cxn>
                  </a:cxnLst>
                  <a:rect l="0" t="0" r="r" b="b"/>
                  <a:pathLst>
                    <a:path w="125" h="167">
                      <a:moveTo>
                        <a:pt x="0" y="95"/>
                      </a:moveTo>
                      <a:cubicBezTo>
                        <a:pt x="1" y="91"/>
                        <a:pt x="3" y="87"/>
                        <a:pt x="6" y="84"/>
                      </a:cubicBezTo>
                      <a:cubicBezTo>
                        <a:pt x="7" y="83"/>
                        <a:pt x="34" y="73"/>
                        <a:pt x="37" y="72"/>
                      </a:cubicBezTo>
                      <a:cubicBezTo>
                        <a:pt x="40" y="83"/>
                        <a:pt x="45" y="108"/>
                        <a:pt x="50" y="118"/>
                      </a:cubicBezTo>
                      <a:cubicBezTo>
                        <a:pt x="51" y="114"/>
                        <a:pt x="53" y="93"/>
                        <a:pt x="53" y="88"/>
                      </a:cubicBezTo>
                      <a:cubicBezTo>
                        <a:pt x="54" y="87"/>
                        <a:pt x="56" y="86"/>
                        <a:pt x="57" y="85"/>
                      </a:cubicBezTo>
                      <a:cubicBezTo>
                        <a:pt x="59" y="86"/>
                        <a:pt x="60" y="87"/>
                        <a:pt x="61" y="88"/>
                      </a:cubicBezTo>
                      <a:cubicBezTo>
                        <a:pt x="62" y="93"/>
                        <a:pt x="64" y="114"/>
                        <a:pt x="64" y="118"/>
                      </a:cubicBezTo>
                      <a:cubicBezTo>
                        <a:pt x="69" y="108"/>
                        <a:pt x="75" y="83"/>
                        <a:pt x="78" y="72"/>
                      </a:cubicBezTo>
                      <a:cubicBezTo>
                        <a:pt x="81" y="73"/>
                        <a:pt x="107" y="83"/>
                        <a:pt x="108" y="84"/>
                      </a:cubicBezTo>
                      <a:cubicBezTo>
                        <a:pt x="112" y="88"/>
                        <a:pt x="114" y="92"/>
                        <a:pt x="115" y="96"/>
                      </a:cubicBezTo>
                      <a:cubicBezTo>
                        <a:pt x="125" y="167"/>
                        <a:pt x="125" y="167"/>
                        <a:pt x="125" y="167"/>
                      </a:cubicBezTo>
                      <a:cubicBezTo>
                        <a:pt x="60" y="167"/>
                        <a:pt x="60" y="167"/>
                        <a:pt x="60" y="167"/>
                      </a:cubicBezTo>
                      <a:moveTo>
                        <a:pt x="57" y="0"/>
                      </a:moveTo>
                      <a:cubicBezTo>
                        <a:pt x="73" y="0"/>
                        <a:pt x="83" y="12"/>
                        <a:pt x="83" y="25"/>
                      </a:cubicBezTo>
                      <a:cubicBezTo>
                        <a:pt x="83" y="38"/>
                        <a:pt x="73" y="65"/>
                        <a:pt x="57" y="65"/>
                      </a:cubicBezTo>
                      <a:cubicBezTo>
                        <a:pt x="41" y="65"/>
                        <a:pt x="31" y="38"/>
                        <a:pt x="31" y="25"/>
                      </a:cubicBezTo>
                      <a:cubicBezTo>
                        <a:pt x="31" y="12"/>
                        <a:pt x="41" y="0"/>
                        <a:pt x="57" y="0"/>
                      </a:cubicBezTo>
                      <a:close/>
                    </a:path>
                  </a:pathLst>
                </a:cu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5" name="Line 30"/>
                <p:cNvSpPr>
                  <a:spLocks noChangeShapeType="1"/>
                </p:cNvSpPr>
                <p:nvPr/>
              </p:nvSpPr>
              <p:spPr bwMode="auto">
                <a:xfrm>
                  <a:off x="2590801" y="3544888"/>
                  <a:ext cx="1588" cy="1588"/>
                </a:xfrm>
                <a:prstGeom prst="line">
                  <a:avLst/>
                </a:pr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6" name="Freeform 31"/>
                <p:cNvSpPr>
                  <a:spLocks/>
                </p:cNvSpPr>
                <p:nvPr/>
              </p:nvSpPr>
              <p:spPr bwMode="auto">
                <a:xfrm>
                  <a:off x="2254251" y="3544888"/>
                  <a:ext cx="336550" cy="296863"/>
                </a:xfrm>
                <a:custGeom>
                  <a:avLst/>
                  <a:gdLst/>
                  <a:ahLst/>
                  <a:cxnLst>
                    <a:cxn ang="0">
                      <a:pos x="0" y="135"/>
                    </a:cxn>
                    <a:cxn ang="0">
                      <a:pos x="0" y="187"/>
                    </a:cxn>
                    <a:cxn ang="0">
                      <a:pos x="212" y="187"/>
                    </a:cxn>
                    <a:cxn ang="0">
                      <a:pos x="212" y="0"/>
                    </a:cxn>
                  </a:cxnLst>
                  <a:rect l="0" t="0" r="r" b="b"/>
                  <a:pathLst>
                    <a:path w="212" h="187">
                      <a:moveTo>
                        <a:pt x="0" y="135"/>
                      </a:moveTo>
                      <a:lnTo>
                        <a:pt x="0" y="187"/>
                      </a:lnTo>
                      <a:lnTo>
                        <a:pt x="212" y="187"/>
                      </a:lnTo>
                      <a:lnTo>
                        <a:pt x="212" y="0"/>
                      </a:lnTo>
                    </a:path>
                  </a:pathLst>
                </a:cu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7" name="Freeform 32"/>
                <p:cNvSpPr>
                  <a:spLocks/>
                </p:cNvSpPr>
                <p:nvPr/>
              </p:nvSpPr>
              <p:spPr bwMode="auto">
                <a:xfrm>
                  <a:off x="2254251" y="3421063"/>
                  <a:ext cx="336550" cy="211138"/>
                </a:xfrm>
                <a:custGeom>
                  <a:avLst/>
                  <a:gdLst/>
                  <a:ahLst/>
                  <a:cxnLst>
                    <a:cxn ang="0">
                      <a:pos x="165" y="0"/>
                    </a:cxn>
                    <a:cxn ang="0">
                      <a:pos x="165" y="74"/>
                    </a:cxn>
                    <a:cxn ang="0">
                      <a:pos x="212" y="78"/>
                    </a:cxn>
                    <a:cxn ang="0">
                      <a:pos x="165" y="0"/>
                    </a:cxn>
                    <a:cxn ang="0">
                      <a:pos x="0" y="0"/>
                    </a:cxn>
                    <a:cxn ang="0">
                      <a:pos x="0" y="133"/>
                    </a:cxn>
                  </a:cxnLst>
                  <a:rect l="0" t="0" r="r" b="b"/>
                  <a:pathLst>
                    <a:path w="212" h="133">
                      <a:moveTo>
                        <a:pt x="165" y="0"/>
                      </a:moveTo>
                      <a:lnTo>
                        <a:pt x="165" y="74"/>
                      </a:lnTo>
                      <a:lnTo>
                        <a:pt x="212" y="78"/>
                      </a:lnTo>
                      <a:lnTo>
                        <a:pt x="165" y="0"/>
                      </a:lnTo>
                      <a:lnTo>
                        <a:pt x="0" y="0"/>
                      </a:lnTo>
                      <a:lnTo>
                        <a:pt x="0" y="133"/>
                      </a:lnTo>
                    </a:path>
                  </a:pathLst>
                </a:cu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8" name="Freeform 33"/>
                <p:cNvSpPr>
                  <a:spLocks/>
                </p:cNvSpPr>
                <p:nvPr/>
              </p:nvSpPr>
              <p:spPr bwMode="auto">
                <a:xfrm>
                  <a:off x="2254251" y="3552825"/>
                  <a:ext cx="333375" cy="63500"/>
                </a:xfrm>
                <a:custGeom>
                  <a:avLst/>
                  <a:gdLst/>
                  <a:ahLst/>
                  <a:cxnLst>
                    <a:cxn ang="0">
                      <a:pos x="0" y="7"/>
                    </a:cxn>
                    <a:cxn ang="0">
                      <a:pos x="15" y="7"/>
                    </a:cxn>
                    <a:cxn ang="0">
                      <a:pos x="24" y="17"/>
                    </a:cxn>
                    <a:cxn ang="0">
                      <a:pos x="32" y="7"/>
                    </a:cxn>
                    <a:cxn ang="0">
                      <a:pos x="82" y="7"/>
                    </a:cxn>
                    <a:cxn ang="0">
                      <a:pos x="89" y="0"/>
                    </a:cxn>
                  </a:cxnLst>
                  <a:rect l="0" t="0" r="r" b="b"/>
                  <a:pathLst>
                    <a:path w="89" h="17">
                      <a:moveTo>
                        <a:pt x="0" y="7"/>
                      </a:moveTo>
                      <a:cubicBezTo>
                        <a:pt x="15" y="7"/>
                        <a:pt x="15" y="7"/>
                        <a:pt x="15" y="7"/>
                      </a:cubicBezTo>
                      <a:cubicBezTo>
                        <a:pt x="15" y="7"/>
                        <a:pt x="23" y="7"/>
                        <a:pt x="24" y="17"/>
                      </a:cubicBezTo>
                      <a:cubicBezTo>
                        <a:pt x="24" y="17"/>
                        <a:pt x="26" y="7"/>
                        <a:pt x="32" y="7"/>
                      </a:cubicBezTo>
                      <a:cubicBezTo>
                        <a:pt x="38" y="7"/>
                        <a:pt x="82" y="7"/>
                        <a:pt x="82" y="7"/>
                      </a:cubicBezTo>
                      <a:cubicBezTo>
                        <a:pt x="82" y="7"/>
                        <a:pt x="89" y="6"/>
                        <a:pt x="89" y="0"/>
                      </a:cubicBezTo>
                    </a:path>
                  </a:pathLst>
                </a:cu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89" name="Line 34"/>
                <p:cNvSpPr>
                  <a:spLocks noChangeShapeType="1"/>
                </p:cNvSpPr>
                <p:nvPr/>
              </p:nvSpPr>
              <p:spPr bwMode="auto">
                <a:xfrm>
                  <a:off x="2355851" y="3643313"/>
                  <a:ext cx="193675" cy="1588"/>
                </a:xfrm>
                <a:prstGeom prst="line">
                  <a:avLst/>
                </a:pr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0" name="Line 35"/>
                <p:cNvSpPr>
                  <a:spLocks noChangeShapeType="1"/>
                </p:cNvSpPr>
                <p:nvPr/>
              </p:nvSpPr>
              <p:spPr bwMode="auto">
                <a:xfrm>
                  <a:off x="2355851" y="3690938"/>
                  <a:ext cx="193675" cy="1588"/>
                </a:xfrm>
                <a:prstGeom prst="line">
                  <a:avLst/>
                </a:pr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1" name="Line 36"/>
                <p:cNvSpPr>
                  <a:spLocks noChangeShapeType="1"/>
                </p:cNvSpPr>
                <p:nvPr/>
              </p:nvSpPr>
              <p:spPr bwMode="auto">
                <a:xfrm>
                  <a:off x="2355851" y="3740150"/>
                  <a:ext cx="193675" cy="1588"/>
                </a:xfrm>
                <a:prstGeom prst="line">
                  <a:avLst/>
                </a:pr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2" name="Line 37"/>
                <p:cNvSpPr>
                  <a:spLocks noChangeShapeType="1"/>
                </p:cNvSpPr>
                <p:nvPr/>
              </p:nvSpPr>
              <p:spPr bwMode="auto">
                <a:xfrm>
                  <a:off x="2355851" y="3789363"/>
                  <a:ext cx="193675" cy="1588"/>
                </a:xfrm>
                <a:prstGeom prst="line">
                  <a:avLst/>
                </a:prstGeom>
                <a:noFill/>
                <a:ln w="12700"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grpSp>
          <p:nvGrpSpPr>
            <p:cNvPr id="93" name="Group 133"/>
            <p:cNvGrpSpPr/>
            <p:nvPr/>
          </p:nvGrpSpPr>
          <p:grpSpPr>
            <a:xfrm>
              <a:off x="2094716" y="1549899"/>
              <a:ext cx="580276" cy="632722"/>
              <a:chOff x="7862888" y="481013"/>
              <a:chExt cx="1914525" cy="2087563"/>
            </a:xfrm>
          </p:grpSpPr>
          <p:sp>
            <p:nvSpPr>
              <p:cNvPr id="94" name="Freeform 257"/>
              <p:cNvSpPr>
                <a:spLocks/>
              </p:cNvSpPr>
              <p:nvPr/>
            </p:nvSpPr>
            <p:spPr bwMode="auto">
              <a:xfrm>
                <a:off x="7862888" y="931863"/>
                <a:ext cx="1698625" cy="1636713"/>
              </a:xfrm>
              <a:custGeom>
                <a:avLst/>
                <a:gdLst/>
                <a:ahLst/>
                <a:cxnLst>
                  <a:cxn ang="0">
                    <a:pos x="130" y="273"/>
                  </a:cxn>
                  <a:cxn ang="0">
                    <a:pos x="147" y="258"/>
                  </a:cxn>
                  <a:cxn ang="0">
                    <a:pos x="162" y="175"/>
                  </a:cxn>
                  <a:cxn ang="0">
                    <a:pos x="166" y="219"/>
                  </a:cxn>
                  <a:cxn ang="0">
                    <a:pos x="170" y="270"/>
                  </a:cxn>
                  <a:cxn ang="0">
                    <a:pos x="188" y="270"/>
                  </a:cxn>
                  <a:cxn ang="0">
                    <a:pos x="179" y="171"/>
                  </a:cxn>
                  <a:cxn ang="0">
                    <a:pos x="243" y="171"/>
                  </a:cxn>
                  <a:cxn ang="0">
                    <a:pos x="258" y="163"/>
                  </a:cxn>
                  <a:cxn ang="0">
                    <a:pos x="276" y="135"/>
                  </a:cxn>
                  <a:cxn ang="0">
                    <a:pos x="276" y="39"/>
                  </a:cxn>
                  <a:cxn ang="0">
                    <a:pos x="233" y="8"/>
                  </a:cxn>
                  <a:cxn ang="0">
                    <a:pos x="212" y="41"/>
                  </a:cxn>
                  <a:cxn ang="0">
                    <a:pos x="214" y="40"/>
                  </a:cxn>
                  <a:cxn ang="0">
                    <a:pos x="233" y="27"/>
                  </a:cxn>
                  <a:cxn ang="0">
                    <a:pos x="233" y="27"/>
                  </a:cxn>
                  <a:cxn ang="0">
                    <a:pos x="233" y="27"/>
                  </a:cxn>
                  <a:cxn ang="0">
                    <a:pos x="233" y="27"/>
                  </a:cxn>
                  <a:cxn ang="0">
                    <a:pos x="250" y="24"/>
                  </a:cxn>
                  <a:cxn ang="0">
                    <a:pos x="253" y="42"/>
                  </a:cxn>
                  <a:cxn ang="0">
                    <a:pos x="231" y="61"/>
                  </a:cxn>
                  <a:cxn ang="0">
                    <a:pos x="216" y="68"/>
                  </a:cxn>
                  <a:cxn ang="0">
                    <a:pos x="213" y="122"/>
                  </a:cxn>
                  <a:cxn ang="0">
                    <a:pos x="213" y="135"/>
                  </a:cxn>
                  <a:cxn ang="0">
                    <a:pos x="175" y="135"/>
                  </a:cxn>
                  <a:cxn ang="0">
                    <a:pos x="172" y="127"/>
                  </a:cxn>
                  <a:cxn ang="0">
                    <a:pos x="178" y="127"/>
                  </a:cxn>
                  <a:cxn ang="0">
                    <a:pos x="183" y="122"/>
                  </a:cxn>
                  <a:cxn ang="0">
                    <a:pos x="183" y="106"/>
                  </a:cxn>
                  <a:cxn ang="0">
                    <a:pos x="178" y="101"/>
                  </a:cxn>
                  <a:cxn ang="0">
                    <a:pos x="10" y="101"/>
                  </a:cxn>
                  <a:cxn ang="0">
                    <a:pos x="5" y="106"/>
                  </a:cxn>
                  <a:cxn ang="0">
                    <a:pos x="5" y="122"/>
                  </a:cxn>
                  <a:cxn ang="0">
                    <a:pos x="10" y="127"/>
                  </a:cxn>
                  <a:cxn ang="0">
                    <a:pos x="16" y="127"/>
                  </a:cxn>
                  <a:cxn ang="0">
                    <a:pos x="12" y="141"/>
                  </a:cxn>
                  <a:cxn ang="0">
                    <a:pos x="0" y="270"/>
                  </a:cxn>
                  <a:cxn ang="0">
                    <a:pos x="18" y="270"/>
                  </a:cxn>
                  <a:cxn ang="0">
                    <a:pos x="22" y="219"/>
                  </a:cxn>
                  <a:cxn ang="0">
                    <a:pos x="29" y="143"/>
                  </a:cxn>
                  <a:cxn ang="0">
                    <a:pos x="33" y="133"/>
                  </a:cxn>
                  <a:cxn ang="0">
                    <a:pos x="43" y="127"/>
                  </a:cxn>
                  <a:cxn ang="0">
                    <a:pos x="145" y="127"/>
                  </a:cxn>
                  <a:cxn ang="0">
                    <a:pos x="155" y="133"/>
                  </a:cxn>
                  <a:cxn ang="0">
                    <a:pos x="156" y="135"/>
                  </a:cxn>
                  <a:cxn ang="0">
                    <a:pos x="148" y="135"/>
                  </a:cxn>
                  <a:cxn ang="0">
                    <a:pos x="131" y="150"/>
                  </a:cxn>
                  <a:cxn ang="0">
                    <a:pos x="112" y="252"/>
                  </a:cxn>
                </a:cxnLst>
                <a:rect l="0" t="0" r="r" b="b"/>
                <a:pathLst>
                  <a:path w="283" h="273">
                    <a:moveTo>
                      <a:pt x="130" y="273"/>
                    </a:moveTo>
                    <a:cubicBezTo>
                      <a:pt x="138" y="273"/>
                      <a:pt x="146" y="267"/>
                      <a:pt x="147" y="258"/>
                    </a:cubicBezTo>
                    <a:cubicBezTo>
                      <a:pt x="162" y="175"/>
                      <a:pt x="162" y="175"/>
                      <a:pt x="162" y="175"/>
                    </a:cubicBezTo>
                    <a:cubicBezTo>
                      <a:pt x="163" y="189"/>
                      <a:pt x="165" y="203"/>
                      <a:pt x="166" y="219"/>
                    </a:cubicBezTo>
                    <a:cubicBezTo>
                      <a:pt x="168" y="241"/>
                      <a:pt x="169" y="260"/>
                      <a:pt x="170" y="270"/>
                    </a:cubicBezTo>
                    <a:cubicBezTo>
                      <a:pt x="188" y="270"/>
                      <a:pt x="188" y="270"/>
                      <a:pt x="188" y="270"/>
                    </a:cubicBezTo>
                    <a:cubicBezTo>
                      <a:pt x="186" y="254"/>
                      <a:pt x="182" y="206"/>
                      <a:pt x="179" y="171"/>
                    </a:cubicBezTo>
                    <a:cubicBezTo>
                      <a:pt x="243" y="171"/>
                      <a:pt x="243" y="171"/>
                      <a:pt x="243" y="171"/>
                    </a:cubicBezTo>
                    <a:cubicBezTo>
                      <a:pt x="249" y="171"/>
                      <a:pt x="255" y="168"/>
                      <a:pt x="258" y="163"/>
                    </a:cubicBezTo>
                    <a:cubicBezTo>
                      <a:pt x="266" y="158"/>
                      <a:pt x="273" y="148"/>
                      <a:pt x="276" y="135"/>
                    </a:cubicBezTo>
                    <a:cubicBezTo>
                      <a:pt x="283" y="103"/>
                      <a:pt x="283" y="70"/>
                      <a:pt x="276" y="39"/>
                    </a:cubicBezTo>
                    <a:cubicBezTo>
                      <a:pt x="271" y="14"/>
                      <a:pt x="249" y="0"/>
                      <a:pt x="233" y="8"/>
                    </a:cubicBezTo>
                    <a:cubicBezTo>
                      <a:pt x="220" y="14"/>
                      <a:pt x="213" y="28"/>
                      <a:pt x="212" y="41"/>
                    </a:cubicBezTo>
                    <a:cubicBezTo>
                      <a:pt x="213" y="41"/>
                      <a:pt x="214" y="41"/>
                      <a:pt x="214" y="40"/>
                    </a:cubicBezTo>
                    <a:cubicBezTo>
                      <a:pt x="226" y="34"/>
                      <a:pt x="231" y="28"/>
                      <a:pt x="233" y="27"/>
                    </a:cubicBezTo>
                    <a:cubicBezTo>
                      <a:pt x="233" y="27"/>
                      <a:pt x="233" y="27"/>
                      <a:pt x="233" y="27"/>
                    </a:cubicBezTo>
                    <a:cubicBezTo>
                      <a:pt x="233" y="27"/>
                      <a:pt x="233" y="27"/>
                      <a:pt x="233" y="27"/>
                    </a:cubicBezTo>
                    <a:cubicBezTo>
                      <a:pt x="233" y="27"/>
                      <a:pt x="233" y="27"/>
                      <a:pt x="233" y="27"/>
                    </a:cubicBezTo>
                    <a:cubicBezTo>
                      <a:pt x="237" y="21"/>
                      <a:pt x="245" y="20"/>
                      <a:pt x="250" y="24"/>
                    </a:cubicBezTo>
                    <a:cubicBezTo>
                      <a:pt x="256" y="28"/>
                      <a:pt x="257" y="36"/>
                      <a:pt x="253" y="42"/>
                    </a:cubicBezTo>
                    <a:cubicBezTo>
                      <a:pt x="253" y="43"/>
                      <a:pt x="246" y="52"/>
                      <a:pt x="231" y="61"/>
                    </a:cubicBezTo>
                    <a:cubicBezTo>
                      <a:pt x="226" y="63"/>
                      <a:pt x="221" y="66"/>
                      <a:pt x="216" y="68"/>
                    </a:cubicBezTo>
                    <a:cubicBezTo>
                      <a:pt x="218" y="86"/>
                      <a:pt x="217" y="104"/>
                      <a:pt x="213" y="122"/>
                    </a:cubicBezTo>
                    <a:cubicBezTo>
                      <a:pt x="212" y="126"/>
                      <a:pt x="212" y="131"/>
                      <a:pt x="213" y="135"/>
                    </a:cubicBezTo>
                    <a:cubicBezTo>
                      <a:pt x="175" y="135"/>
                      <a:pt x="175" y="135"/>
                      <a:pt x="175" y="135"/>
                    </a:cubicBezTo>
                    <a:cubicBezTo>
                      <a:pt x="175" y="132"/>
                      <a:pt x="174" y="129"/>
                      <a:pt x="172" y="127"/>
                    </a:cubicBezTo>
                    <a:cubicBezTo>
                      <a:pt x="178" y="127"/>
                      <a:pt x="178" y="127"/>
                      <a:pt x="178" y="127"/>
                    </a:cubicBezTo>
                    <a:cubicBezTo>
                      <a:pt x="181" y="127"/>
                      <a:pt x="183" y="125"/>
                      <a:pt x="183" y="122"/>
                    </a:cubicBezTo>
                    <a:cubicBezTo>
                      <a:pt x="183" y="106"/>
                      <a:pt x="183" y="106"/>
                      <a:pt x="183" y="106"/>
                    </a:cubicBezTo>
                    <a:cubicBezTo>
                      <a:pt x="183" y="103"/>
                      <a:pt x="181" y="101"/>
                      <a:pt x="178" y="101"/>
                    </a:cubicBezTo>
                    <a:cubicBezTo>
                      <a:pt x="10" y="101"/>
                      <a:pt x="10" y="101"/>
                      <a:pt x="10" y="101"/>
                    </a:cubicBezTo>
                    <a:cubicBezTo>
                      <a:pt x="7" y="101"/>
                      <a:pt x="5" y="103"/>
                      <a:pt x="5" y="106"/>
                    </a:cubicBezTo>
                    <a:cubicBezTo>
                      <a:pt x="5" y="122"/>
                      <a:pt x="5" y="122"/>
                      <a:pt x="5" y="122"/>
                    </a:cubicBezTo>
                    <a:cubicBezTo>
                      <a:pt x="5" y="125"/>
                      <a:pt x="7" y="127"/>
                      <a:pt x="10" y="127"/>
                    </a:cubicBezTo>
                    <a:cubicBezTo>
                      <a:pt x="16" y="127"/>
                      <a:pt x="16" y="127"/>
                      <a:pt x="16" y="127"/>
                    </a:cubicBezTo>
                    <a:cubicBezTo>
                      <a:pt x="14" y="131"/>
                      <a:pt x="12" y="136"/>
                      <a:pt x="12" y="141"/>
                    </a:cubicBezTo>
                    <a:cubicBezTo>
                      <a:pt x="9" y="170"/>
                      <a:pt x="2" y="248"/>
                      <a:pt x="0" y="270"/>
                    </a:cubicBezTo>
                    <a:cubicBezTo>
                      <a:pt x="18" y="270"/>
                      <a:pt x="18" y="270"/>
                      <a:pt x="18" y="270"/>
                    </a:cubicBezTo>
                    <a:cubicBezTo>
                      <a:pt x="19" y="260"/>
                      <a:pt x="21" y="241"/>
                      <a:pt x="22" y="219"/>
                    </a:cubicBezTo>
                    <a:cubicBezTo>
                      <a:pt x="25" y="188"/>
                      <a:pt x="28" y="159"/>
                      <a:pt x="29" y="143"/>
                    </a:cubicBezTo>
                    <a:cubicBezTo>
                      <a:pt x="30" y="138"/>
                      <a:pt x="31" y="136"/>
                      <a:pt x="33" y="133"/>
                    </a:cubicBezTo>
                    <a:cubicBezTo>
                      <a:pt x="35" y="131"/>
                      <a:pt x="39" y="129"/>
                      <a:pt x="43" y="127"/>
                    </a:cubicBezTo>
                    <a:cubicBezTo>
                      <a:pt x="145" y="127"/>
                      <a:pt x="145" y="127"/>
                      <a:pt x="145" y="127"/>
                    </a:cubicBezTo>
                    <a:cubicBezTo>
                      <a:pt x="150" y="129"/>
                      <a:pt x="153" y="131"/>
                      <a:pt x="155" y="133"/>
                    </a:cubicBezTo>
                    <a:cubicBezTo>
                      <a:pt x="156" y="134"/>
                      <a:pt x="156" y="135"/>
                      <a:pt x="156" y="135"/>
                    </a:cubicBezTo>
                    <a:cubicBezTo>
                      <a:pt x="148" y="135"/>
                      <a:pt x="148" y="135"/>
                      <a:pt x="148" y="135"/>
                    </a:cubicBezTo>
                    <a:cubicBezTo>
                      <a:pt x="140" y="135"/>
                      <a:pt x="133" y="141"/>
                      <a:pt x="131" y="150"/>
                    </a:cubicBezTo>
                    <a:cubicBezTo>
                      <a:pt x="112" y="252"/>
                      <a:pt x="112" y="252"/>
                      <a:pt x="112" y="252"/>
                    </a:cubicBezTo>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5" name="Freeform 258"/>
              <p:cNvSpPr>
                <a:spLocks/>
              </p:cNvSpPr>
              <p:nvPr/>
            </p:nvSpPr>
            <p:spPr bwMode="auto">
              <a:xfrm>
                <a:off x="8061325" y="841375"/>
                <a:ext cx="792163" cy="671513"/>
              </a:xfrm>
              <a:custGeom>
                <a:avLst/>
                <a:gdLst/>
                <a:ahLst/>
                <a:cxnLst>
                  <a:cxn ang="0">
                    <a:pos x="28" y="112"/>
                  </a:cxn>
                  <a:cxn ang="0">
                    <a:pos x="129" y="112"/>
                  </a:cxn>
                  <a:cxn ang="0">
                    <a:pos x="132" y="109"/>
                  </a:cxn>
                  <a:cxn ang="0">
                    <a:pos x="132" y="103"/>
                  </a:cxn>
                  <a:cxn ang="0">
                    <a:pos x="129" y="99"/>
                  </a:cxn>
                  <a:cxn ang="0">
                    <a:pos x="46" y="99"/>
                  </a:cxn>
                  <a:cxn ang="0">
                    <a:pos x="46" y="98"/>
                  </a:cxn>
                  <a:cxn ang="0">
                    <a:pos x="13" y="3"/>
                  </a:cxn>
                  <a:cxn ang="0">
                    <a:pos x="8" y="0"/>
                  </a:cxn>
                  <a:cxn ang="0">
                    <a:pos x="3" y="2"/>
                  </a:cxn>
                  <a:cxn ang="0">
                    <a:pos x="0" y="7"/>
                  </a:cxn>
                  <a:cxn ang="0">
                    <a:pos x="32" y="99"/>
                  </a:cxn>
                  <a:cxn ang="0">
                    <a:pos x="28" y="99"/>
                  </a:cxn>
                </a:cxnLst>
                <a:rect l="0" t="0" r="r" b="b"/>
                <a:pathLst>
                  <a:path w="132" h="112">
                    <a:moveTo>
                      <a:pt x="28" y="112"/>
                    </a:moveTo>
                    <a:cubicBezTo>
                      <a:pt x="129" y="112"/>
                      <a:pt x="129" y="112"/>
                      <a:pt x="129" y="112"/>
                    </a:cubicBezTo>
                    <a:cubicBezTo>
                      <a:pt x="131" y="112"/>
                      <a:pt x="132" y="111"/>
                      <a:pt x="132" y="109"/>
                    </a:cubicBezTo>
                    <a:cubicBezTo>
                      <a:pt x="132" y="103"/>
                      <a:pt x="132" y="103"/>
                      <a:pt x="132" y="103"/>
                    </a:cubicBezTo>
                    <a:cubicBezTo>
                      <a:pt x="132" y="101"/>
                      <a:pt x="131" y="99"/>
                      <a:pt x="129" y="99"/>
                    </a:cubicBezTo>
                    <a:cubicBezTo>
                      <a:pt x="46" y="99"/>
                      <a:pt x="46" y="99"/>
                      <a:pt x="46" y="99"/>
                    </a:cubicBezTo>
                    <a:cubicBezTo>
                      <a:pt x="46" y="99"/>
                      <a:pt x="46" y="99"/>
                      <a:pt x="46" y="98"/>
                    </a:cubicBezTo>
                    <a:cubicBezTo>
                      <a:pt x="13" y="3"/>
                      <a:pt x="13" y="3"/>
                      <a:pt x="13" y="3"/>
                    </a:cubicBezTo>
                    <a:cubicBezTo>
                      <a:pt x="12" y="1"/>
                      <a:pt x="10" y="0"/>
                      <a:pt x="8" y="0"/>
                    </a:cubicBezTo>
                    <a:cubicBezTo>
                      <a:pt x="3" y="2"/>
                      <a:pt x="3" y="2"/>
                      <a:pt x="3" y="2"/>
                    </a:cubicBezTo>
                    <a:cubicBezTo>
                      <a:pt x="1" y="3"/>
                      <a:pt x="0" y="5"/>
                      <a:pt x="0" y="7"/>
                    </a:cubicBezTo>
                    <a:cubicBezTo>
                      <a:pt x="32" y="99"/>
                      <a:pt x="32" y="99"/>
                      <a:pt x="32" y="99"/>
                    </a:cubicBezTo>
                    <a:cubicBezTo>
                      <a:pt x="28" y="99"/>
                      <a:pt x="28" y="99"/>
                      <a:pt x="28" y="99"/>
                    </a:cubicBezTo>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6" name="Freeform 259"/>
              <p:cNvSpPr>
                <a:spLocks/>
              </p:cNvSpPr>
              <p:nvPr/>
            </p:nvSpPr>
            <p:spPr bwMode="auto">
              <a:xfrm>
                <a:off x="8948738" y="481013"/>
                <a:ext cx="479425" cy="474663"/>
              </a:xfrm>
              <a:custGeom>
                <a:avLst/>
                <a:gdLst/>
                <a:ahLst/>
                <a:cxnLst>
                  <a:cxn ang="0">
                    <a:pos x="48" y="74"/>
                  </a:cxn>
                  <a:cxn ang="0">
                    <a:pos x="75" y="31"/>
                  </a:cxn>
                  <a:cxn ang="0">
                    <a:pos x="31" y="4"/>
                  </a:cxn>
                  <a:cxn ang="0">
                    <a:pos x="5" y="47"/>
                  </a:cxn>
                  <a:cxn ang="0">
                    <a:pos x="48" y="74"/>
                  </a:cxn>
                </a:cxnLst>
                <a:rect l="0" t="0" r="r" b="b"/>
                <a:pathLst>
                  <a:path w="80" h="79">
                    <a:moveTo>
                      <a:pt x="48" y="74"/>
                    </a:moveTo>
                    <a:cubicBezTo>
                      <a:pt x="67" y="70"/>
                      <a:pt x="80" y="50"/>
                      <a:pt x="75" y="31"/>
                    </a:cubicBezTo>
                    <a:cubicBezTo>
                      <a:pt x="70" y="12"/>
                      <a:pt x="51" y="0"/>
                      <a:pt x="31" y="4"/>
                    </a:cubicBezTo>
                    <a:cubicBezTo>
                      <a:pt x="12" y="8"/>
                      <a:pt x="0" y="28"/>
                      <a:pt x="5" y="47"/>
                    </a:cubicBezTo>
                    <a:cubicBezTo>
                      <a:pt x="9" y="66"/>
                      <a:pt x="29" y="79"/>
                      <a:pt x="48" y="74"/>
                    </a:cubicBezTo>
                    <a:close/>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7" name="Freeform 260"/>
              <p:cNvSpPr>
                <a:spLocks/>
              </p:cNvSpPr>
              <p:nvPr/>
            </p:nvSpPr>
            <p:spPr bwMode="auto">
              <a:xfrm>
                <a:off x="8583613" y="1189038"/>
                <a:ext cx="539750" cy="192088"/>
              </a:xfrm>
              <a:custGeom>
                <a:avLst/>
                <a:gdLst/>
                <a:ahLst/>
                <a:cxnLst>
                  <a:cxn ang="0">
                    <a:pos x="90" y="0"/>
                  </a:cxn>
                  <a:cxn ang="0">
                    <a:pos x="87" y="2"/>
                  </a:cxn>
                  <a:cxn ang="0">
                    <a:pos x="30" y="13"/>
                  </a:cxn>
                  <a:cxn ang="0">
                    <a:pos x="11" y="12"/>
                  </a:cxn>
                  <a:cxn ang="0">
                    <a:pos x="10" y="12"/>
                  </a:cxn>
                  <a:cxn ang="0">
                    <a:pos x="0" y="21"/>
                  </a:cxn>
                  <a:cxn ang="0">
                    <a:pos x="9" y="31"/>
                  </a:cxn>
                  <a:cxn ang="0">
                    <a:pos x="30" y="32"/>
                  </a:cxn>
                  <a:cxn ang="0">
                    <a:pos x="30" y="32"/>
                  </a:cxn>
                  <a:cxn ang="0">
                    <a:pos x="90" y="21"/>
                  </a:cxn>
                </a:cxnLst>
                <a:rect l="0" t="0" r="r" b="b"/>
                <a:pathLst>
                  <a:path w="90" h="32">
                    <a:moveTo>
                      <a:pt x="90" y="0"/>
                    </a:moveTo>
                    <a:cubicBezTo>
                      <a:pt x="89" y="1"/>
                      <a:pt x="88" y="1"/>
                      <a:pt x="87" y="2"/>
                    </a:cubicBezTo>
                    <a:cubicBezTo>
                      <a:pt x="72" y="9"/>
                      <a:pt x="52" y="13"/>
                      <a:pt x="30" y="13"/>
                    </a:cubicBezTo>
                    <a:cubicBezTo>
                      <a:pt x="24" y="13"/>
                      <a:pt x="17" y="12"/>
                      <a:pt x="11" y="12"/>
                    </a:cubicBezTo>
                    <a:cubicBezTo>
                      <a:pt x="10" y="12"/>
                      <a:pt x="10" y="12"/>
                      <a:pt x="10" y="12"/>
                    </a:cubicBezTo>
                    <a:cubicBezTo>
                      <a:pt x="5" y="12"/>
                      <a:pt x="1" y="16"/>
                      <a:pt x="0" y="21"/>
                    </a:cubicBezTo>
                    <a:cubicBezTo>
                      <a:pt x="0" y="26"/>
                      <a:pt x="4" y="31"/>
                      <a:pt x="9" y="31"/>
                    </a:cubicBezTo>
                    <a:cubicBezTo>
                      <a:pt x="16" y="31"/>
                      <a:pt x="23" y="32"/>
                      <a:pt x="30" y="32"/>
                    </a:cubicBezTo>
                    <a:cubicBezTo>
                      <a:pt x="30" y="32"/>
                      <a:pt x="30" y="32"/>
                      <a:pt x="30" y="32"/>
                    </a:cubicBezTo>
                    <a:cubicBezTo>
                      <a:pt x="56" y="32"/>
                      <a:pt x="76" y="27"/>
                      <a:pt x="90" y="21"/>
                    </a:cubicBezTo>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sp>
            <p:nvSpPr>
              <p:cNvPr id="98" name="Freeform 261"/>
              <p:cNvSpPr>
                <a:spLocks/>
              </p:cNvSpPr>
              <p:nvPr/>
            </p:nvSpPr>
            <p:spPr bwMode="auto">
              <a:xfrm>
                <a:off x="9069388" y="2011363"/>
                <a:ext cx="708025" cy="527050"/>
              </a:xfrm>
              <a:custGeom>
                <a:avLst/>
                <a:gdLst/>
                <a:ahLst/>
                <a:cxnLst>
                  <a:cxn ang="0">
                    <a:pos x="0" y="332"/>
                  </a:cxn>
                  <a:cxn ang="0">
                    <a:pos x="446" y="332"/>
                  </a:cxn>
                  <a:cxn ang="0">
                    <a:pos x="389" y="0"/>
                  </a:cxn>
                  <a:cxn ang="0">
                    <a:pos x="56" y="0"/>
                  </a:cxn>
                  <a:cxn ang="0">
                    <a:pos x="0" y="332"/>
                  </a:cxn>
                  <a:cxn ang="0">
                    <a:pos x="0" y="332"/>
                  </a:cxn>
                </a:cxnLst>
                <a:rect l="0" t="0" r="r" b="b"/>
                <a:pathLst>
                  <a:path w="446" h="332">
                    <a:moveTo>
                      <a:pt x="0" y="332"/>
                    </a:moveTo>
                    <a:lnTo>
                      <a:pt x="446" y="332"/>
                    </a:lnTo>
                    <a:lnTo>
                      <a:pt x="389" y="0"/>
                    </a:lnTo>
                    <a:lnTo>
                      <a:pt x="56" y="0"/>
                    </a:lnTo>
                    <a:lnTo>
                      <a:pt x="0" y="332"/>
                    </a:lnTo>
                    <a:lnTo>
                      <a:pt x="0" y="332"/>
                    </a:lnTo>
                    <a:close/>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endParaRPr>
              </a:p>
            </p:txBody>
          </p:sp>
        </p:grpSp>
      </p:grpSp>
      <p:grpSp>
        <p:nvGrpSpPr>
          <p:cNvPr id="185375" name="Group 185374"/>
          <p:cNvGrpSpPr/>
          <p:nvPr/>
        </p:nvGrpSpPr>
        <p:grpSpPr>
          <a:xfrm>
            <a:off x="2203680" y="629868"/>
            <a:ext cx="1173986" cy="952240"/>
            <a:chOff x="2195318" y="629868"/>
            <a:chExt cx="877885" cy="952240"/>
          </a:xfrm>
          <a:solidFill>
            <a:srgbClr val="669900"/>
          </a:solidFill>
        </p:grpSpPr>
        <p:sp>
          <p:nvSpPr>
            <p:cNvPr id="129" name="Teardrop 128"/>
            <p:cNvSpPr/>
            <p:nvPr/>
          </p:nvSpPr>
          <p:spPr bwMode="auto">
            <a:xfrm rot="8100000">
              <a:off x="2195318" y="629868"/>
              <a:ext cx="877885" cy="952240"/>
            </a:xfrm>
            <a:prstGeom prst="teardrop">
              <a:avLst/>
            </a:prstGeom>
            <a:grpFill/>
            <a:ln w="635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77925" tIns="38963" rIns="77925" bIns="38963" numCol="1" rtlCol="0" anchor="ctr" anchorCtr="0" compatLnSpc="1">
              <a:prstTxWarp prst="textNoShape">
                <a:avLst/>
              </a:prstTxWarp>
            </a:bodyPr>
            <a:lstStyle/>
            <a:p>
              <a:pPr algn="ctr" defTabSz="779252" eaLnBrk="0" fontAlgn="base" hangingPunct="0">
                <a:spcBef>
                  <a:spcPct val="0"/>
                </a:spcBef>
                <a:spcAft>
                  <a:spcPct val="0"/>
                </a:spcAft>
              </a:pPr>
              <a:endParaRPr lang="en-US" b="1">
                <a:cs typeface="Arial" charset="0"/>
              </a:endParaRPr>
            </a:p>
          </p:txBody>
        </p:sp>
        <p:sp>
          <p:nvSpPr>
            <p:cNvPr id="185374" name="Rectangle 185373"/>
            <p:cNvSpPr/>
            <p:nvPr/>
          </p:nvSpPr>
          <p:spPr>
            <a:xfrm>
              <a:off x="2303185" y="916125"/>
              <a:ext cx="680957" cy="380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Objective Setting</a:t>
              </a:r>
            </a:p>
          </p:txBody>
        </p:sp>
      </p:grpSp>
      <p:grpSp>
        <p:nvGrpSpPr>
          <p:cNvPr id="132" name="Group 131"/>
          <p:cNvGrpSpPr/>
          <p:nvPr/>
        </p:nvGrpSpPr>
        <p:grpSpPr>
          <a:xfrm>
            <a:off x="4930707" y="233189"/>
            <a:ext cx="1084432" cy="931967"/>
            <a:chOff x="2141295" y="602979"/>
            <a:chExt cx="813612" cy="931967"/>
          </a:xfrm>
          <a:solidFill>
            <a:schemeClr val="accent2"/>
          </a:solidFill>
        </p:grpSpPr>
        <p:sp>
          <p:nvSpPr>
            <p:cNvPr id="133" name="Teardrop 132"/>
            <p:cNvSpPr/>
            <p:nvPr/>
          </p:nvSpPr>
          <p:spPr bwMode="auto">
            <a:xfrm rot="8100000">
              <a:off x="2141295" y="602979"/>
              <a:ext cx="813612" cy="931967"/>
            </a:xfrm>
            <a:prstGeom prst="teardrop">
              <a:avLst/>
            </a:prstGeom>
            <a:grpFill/>
            <a:ln w="635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77925" tIns="38963" rIns="77925" bIns="38963" numCol="1" rtlCol="0" anchor="ctr" anchorCtr="0" compatLnSpc="1">
              <a:prstTxWarp prst="textNoShape">
                <a:avLst/>
              </a:prstTxWarp>
            </a:bodyPr>
            <a:lstStyle/>
            <a:p>
              <a:pPr algn="ctr" defTabSz="779252" eaLnBrk="0" fontAlgn="base" hangingPunct="0">
                <a:spcBef>
                  <a:spcPct val="0"/>
                </a:spcBef>
                <a:spcAft>
                  <a:spcPct val="0"/>
                </a:spcAft>
              </a:pPr>
              <a:endParaRPr lang="en-US" b="1">
                <a:cs typeface="Arial" charset="0"/>
              </a:endParaRPr>
            </a:p>
          </p:txBody>
        </p:sp>
        <p:sp>
          <p:nvSpPr>
            <p:cNvPr id="134" name="Rectangle 133"/>
            <p:cNvSpPr/>
            <p:nvPr/>
          </p:nvSpPr>
          <p:spPr>
            <a:xfrm>
              <a:off x="2216272" y="916125"/>
              <a:ext cx="625982" cy="2983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Mid-Year</a:t>
              </a:r>
            </a:p>
            <a:p>
              <a:pPr algn="ctr"/>
              <a:r>
                <a:rPr lang="en-US" sz="1050" b="1"/>
                <a:t>Reviews</a:t>
              </a:r>
            </a:p>
          </p:txBody>
        </p:sp>
      </p:grpSp>
      <p:grpSp>
        <p:nvGrpSpPr>
          <p:cNvPr id="135" name="Group 134"/>
          <p:cNvGrpSpPr/>
          <p:nvPr/>
        </p:nvGrpSpPr>
        <p:grpSpPr>
          <a:xfrm>
            <a:off x="7764825" y="497804"/>
            <a:ext cx="813612" cy="821754"/>
            <a:chOff x="2170530" y="697052"/>
            <a:chExt cx="813612" cy="821754"/>
          </a:xfrm>
          <a:solidFill>
            <a:schemeClr val="accent5"/>
          </a:solidFill>
        </p:grpSpPr>
        <p:sp>
          <p:nvSpPr>
            <p:cNvPr id="136" name="Teardrop 135"/>
            <p:cNvSpPr/>
            <p:nvPr/>
          </p:nvSpPr>
          <p:spPr bwMode="auto">
            <a:xfrm rot="8100000">
              <a:off x="2170530" y="697052"/>
              <a:ext cx="813612" cy="821754"/>
            </a:xfrm>
            <a:prstGeom prst="teardrop">
              <a:avLst/>
            </a:prstGeom>
            <a:grpFill/>
            <a:ln w="635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77925" tIns="38963" rIns="77925" bIns="38963" numCol="1" rtlCol="0" anchor="ctr" anchorCtr="0" compatLnSpc="1">
              <a:prstTxWarp prst="textNoShape">
                <a:avLst/>
              </a:prstTxWarp>
            </a:bodyPr>
            <a:lstStyle/>
            <a:p>
              <a:pPr algn="ctr" defTabSz="779252" eaLnBrk="0" fontAlgn="base" hangingPunct="0">
                <a:spcBef>
                  <a:spcPct val="0"/>
                </a:spcBef>
                <a:spcAft>
                  <a:spcPct val="0"/>
                </a:spcAft>
              </a:pPr>
              <a:endParaRPr lang="en-US" b="1">
                <a:cs typeface="Arial" charset="0"/>
              </a:endParaRPr>
            </a:p>
          </p:txBody>
        </p:sp>
        <p:sp>
          <p:nvSpPr>
            <p:cNvPr id="137" name="Rectangle 136"/>
            <p:cNvSpPr/>
            <p:nvPr/>
          </p:nvSpPr>
          <p:spPr>
            <a:xfrm>
              <a:off x="2216272" y="916124"/>
              <a:ext cx="734309" cy="353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Year-end</a:t>
              </a:r>
            </a:p>
            <a:p>
              <a:pPr algn="ctr"/>
              <a:r>
                <a:rPr lang="en-US" sz="1050" b="1"/>
                <a:t>Review Begins</a:t>
              </a:r>
            </a:p>
          </p:txBody>
        </p:sp>
      </p:grpSp>
      <p:grpSp>
        <p:nvGrpSpPr>
          <p:cNvPr id="138" name="Group 137"/>
          <p:cNvGrpSpPr/>
          <p:nvPr/>
        </p:nvGrpSpPr>
        <p:grpSpPr>
          <a:xfrm>
            <a:off x="799709" y="714690"/>
            <a:ext cx="1029844" cy="1018800"/>
            <a:chOff x="2170530" y="697052"/>
            <a:chExt cx="813612" cy="821754"/>
          </a:xfrm>
          <a:solidFill>
            <a:schemeClr val="accent5"/>
          </a:solidFill>
        </p:grpSpPr>
        <p:sp>
          <p:nvSpPr>
            <p:cNvPr id="139" name="Teardrop 138"/>
            <p:cNvSpPr/>
            <p:nvPr/>
          </p:nvSpPr>
          <p:spPr bwMode="auto">
            <a:xfrm rot="8100000">
              <a:off x="2170530" y="697052"/>
              <a:ext cx="813612" cy="821754"/>
            </a:xfrm>
            <a:prstGeom prst="teardrop">
              <a:avLst/>
            </a:prstGeom>
            <a:grpFill/>
            <a:ln w="635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none" lIns="77925" tIns="38963" rIns="77925" bIns="38963" numCol="1" rtlCol="0" anchor="ctr" anchorCtr="0" compatLnSpc="1">
              <a:prstTxWarp prst="textNoShape">
                <a:avLst/>
              </a:prstTxWarp>
            </a:bodyPr>
            <a:lstStyle/>
            <a:p>
              <a:pPr algn="ctr" defTabSz="779252" eaLnBrk="0" fontAlgn="base" hangingPunct="0">
                <a:spcBef>
                  <a:spcPct val="0"/>
                </a:spcBef>
                <a:spcAft>
                  <a:spcPct val="0"/>
                </a:spcAft>
              </a:pPr>
              <a:endParaRPr lang="en-US" b="1">
                <a:cs typeface="Arial" charset="0"/>
              </a:endParaRPr>
            </a:p>
          </p:txBody>
        </p:sp>
        <p:sp>
          <p:nvSpPr>
            <p:cNvPr id="140" name="Rectangle 139"/>
            <p:cNvSpPr/>
            <p:nvPr/>
          </p:nvSpPr>
          <p:spPr>
            <a:xfrm>
              <a:off x="2216272" y="916124"/>
              <a:ext cx="734309" cy="353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Year-end</a:t>
              </a:r>
            </a:p>
            <a:p>
              <a:pPr algn="ctr"/>
              <a:r>
                <a:rPr lang="en-US" sz="1050" b="1"/>
                <a:t>Review Complete</a:t>
              </a:r>
            </a:p>
          </p:txBody>
        </p:sp>
      </p:grpSp>
      <p:sp>
        <p:nvSpPr>
          <p:cNvPr id="2" name="Rectangle 1">
            <a:extLst>
              <a:ext uri="{FF2B5EF4-FFF2-40B4-BE49-F238E27FC236}">
                <a16:creationId xmlns:a16="http://schemas.microsoft.com/office/drawing/2014/main" id="{848E7FD1-F1BF-4A31-87F6-E9792B00FD9F}"/>
              </a:ext>
            </a:extLst>
          </p:cNvPr>
          <p:cNvSpPr/>
          <p:nvPr/>
        </p:nvSpPr>
        <p:spPr>
          <a:xfrm>
            <a:off x="5682853" y="1844585"/>
            <a:ext cx="1190401" cy="1154162"/>
          </a:xfrm>
          <a:prstGeom prst="rect">
            <a:avLst/>
          </a:prstGeom>
        </p:spPr>
        <p:txBody>
          <a:bodyPr wrap="square">
            <a:spAutoFit/>
          </a:bodyPr>
          <a:lstStyle/>
          <a:p>
            <a:pPr marL="139303" indent="-139303">
              <a:buFont typeface="Arial" panose="020B0604020202020204" pitchFamily="34" charset="0"/>
              <a:buChar char="•"/>
            </a:pPr>
            <a:r>
              <a:rPr lang="en-US" sz="1150" dirty="0">
                <a:solidFill>
                  <a:sysClr val="windowText" lastClr="000000">
                    <a:hueOff val="0"/>
                    <a:satOff val="0"/>
                    <a:lumOff val="0"/>
                    <a:alphaOff val="0"/>
                  </a:sysClr>
                </a:solidFill>
                <a:latin typeface="Arial"/>
              </a:rPr>
              <a:t>Employees continue working to satisfy their performance objectives</a:t>
            </a:r>
            <a:endParaRPr lang="en-US" sz="1150" dirty="0"/>
          </a:p>
        </p:txBody>
      </p:sp>
    </p:spTree>
    <p:extLst>
      <p:ext uri="{BB962C8B-B14F-4D97-AF65-F5344CB8AC3E}">
        <p14:creationId xmlns:p14="http://schemas.microsoft.com/office/powerpoint/2010/main" val="2596404598"/>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EA22DA5-DE85-45EF-A26D-2751C0C3A519}"/>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30D73E93-AEA6-495D-9648-F9E8AC7D2E8E}"/>
              </a:ext>
            </a:extLst>
          </p:cNvPr>
          <p:cNvSpPr>
            <a:spLocks noGrp="1"/>
          </p:cNvSpPr>
          <p:nvPr>
            <p:ph type="body" sz="quarter" idx="13"/>
          </p:nvPr>
        </p:nvSpPr>
        <p:spPr/>
        <p:txBody>
          <a:bodyPr/>
          <a:lstStyle/>
          <a:p>
            <a:endParaRPr lang="en-US"/>
          </a:p>
        </p:txBody>
      </p:sp>
      <p:sp>
        <p:nvSpPr>
          <p:cNvPr id="4" name="Title 3"/>
          <p:cNvSpPr>
            <a:spLocks noGrp="1"/>
          </p:cNvSpPr>
          <p:nvPr>
            <p:ph type="title"/>
          </p:nvPr>
        </p:nvSpPr>
        <p:spPr>
          <a:xfrm>
            <a:off x="25808" y="223334"/>
            <a:ext cx="8892484" cy="863600"/>
          </a:xfrm>
        </p:spPr>
        <p:txBody>
          <a:bodyPr/>
          <a:lstStyle/>
          <a:p>
            <a:pPr marL="287020">
              <a:defRPr/>
            </a:pPr>
            <a:r>
              <a:rPr lang="en-GB" sz="3000"/>
              <a:t>Finding </a:t>
            </a:r>
            <a:r>
              <a:rPr lang="en-GB" sz="3000" err="1"/>
              <a:t>MyPath</a:t>
            </a:r>
            <a:endParaRPr lang="en-GB" sz="3000" err="1">
              <a:ea typeface="Verdana"/>
              <a:cs typeface="Verdana"/>
            </a:endParaRPr>
          </a:p>
        </p:txBody>
      </p:sp>
      <p:cxnSp>
        <p:nvCxnSpPr>
          <p:cNvPr id="43014" name="Straight Arrow Connector 9"/>
          <p:cNvCxnSpPr>
            <a:cxnSpLocks noChangeShapeType="1"/>
            <a:stCxn id="6" idx="3"/>
          </p:cNvCxnSpPr>
          <p:nvPr/>
        </p:nvCxnSpPr>
        <p:spPr bwMode="auto">
          <a:xfrm>
            <a:off x="3388638" y="1380044"/>
            <a:ext cx="2734222" cy="396085"/>
          </a:xfrm>
          <a:prstGeom prst="straightConnector1">
            <a:avLst/>
          </a:prstGeom>
          <a:noFill/>
          <a:ln w="31750"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43015" name="Straight Arrow Connector 10"/>
          <p:cNvCxnSpPr>
            <a:cxnSpLocks noChangeShapeType="1"/>
            <a:stCxn id="38" idx="1"/>
            <a:endCxn id="8" idx="3"/>
          </p:cNvCxnSpPr>
          <p:nvPr/>
        </p:nvCxnSpPr>
        <p:spPr bwMode="auto">
          <a:xfrm flipH="1">
            <a:off x="3352673" y="2205038"/>
            <a:ext cx="3004471" cy="236255"/>
          </a:xfrm>
          <a:prstGeom prst="straightConnector1">
            <a:avLst/>
          </a:prstGeom>
          <a:noFill/>
          <a:ln w="31750"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43017" name="Straight Arrow Connector 18"/>
          <p:cNvCxnSpPr>
            <a:cxnSpLocks noChangeShapeType="1"/>
            <a:stCxn id="8" idx="2"/>
          </p:cNvCxnSpPr>
          <p:nvPr/>
        </p:nvCxnSpPr>
        <p:spPr bwMode="auto">
          <a:xfrm>
            <a:off x="2523998" y="2621469"/>
            <a:ext cx="1908170" cy="2087573"/>
          </a:xfrm>
          <a:prstGeom prst="straightConnector1">
            <a:avLst/>
          </a:prstGeom>
          <a:noFill/>
          <a:ln w="3175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23" name="Rectangle 22"/>
          <p:cNvSpPr/>
          <p:nvPr/>
        </p:nvSpPr>
        <p:spPr bwMode="auto">
          <a:xfrm>
            <a:off x="6321431" y="2852741"/>
            <a:ext cx="2519363" cy="1296987"/>
          </a:xfrm>
          <a:prstGeom prst="rect">
            <a:avLst/>
          </a:prstGeom>
          <a:noFill/>
          <a:ln w="22225" cap="flat" cmpd="sng" algn="ctr">
            <a:solidFill>
              <a:srgbClr val="FF0000"/>
            </a:solidFill>
            <a:prstDash val="solid"/>
            <a:round/>
            <a:headEnd type="none" w="med" len="med"/>
            <a:tailEnd type="none" w="med" len="med"/>
          </a:ln>
          <a:effectLst/>
        </p:spPr>
        <p:txBody>
          <a:bodyPr wrap="none" anchor="ctr"/>
          <a:lstStyle/>
          <a:p>
            <a:pPr algn="r" defTabSz="914400">
              <a:lnSpc>
                <a:spcPct val="85000"/>
              </a:lnSpc>
              <a:defRPr/>
            </a:pPr>
            <a:r>
              <a:rPr lang="en-GB" sz="1600" b="1">
                <a:solidFill>
                  <a:srgbClr val="FF0000"/>
                </a:solidFill>
                <a:latin typeface="+mn-lt"/>
                <a:cs typeface="Arial" charset="0"/>
              </a:rPr>
              <a:t>5. Log in</a:t>
            </a:r>
          </a:p>
        </p:txBody>
      </p:sp>
      <p:cxnSp>
        <p:nvCxnSpPr>
          <p:cNvPr id="43019" name="Straight Arrow Connector 23"/>
          <p:cNvCxnSpPr>
            <a:cxnSpLocks noChangeShapeType="1"/>
            <a:stCxn id="14" idx="3"/>
            <a:endCxn id="23" idx="2"/>
          </p:cNvCxnSpPr>
          <p:nvPr/>
        </p:nvCxnSpPr>
        <p:spPr bwMode="auto">
          <a:xfrm>
            <a:off x="1804418" y="3440782"/>
            <a:ext cx="5776695" cy="708946"/>
          </a:xfrm>
          <a:prstGeom prst="straightConnector1">
            <a:avLst/>
          </a:prstGeom>
          <a:noFill/>
          <a:ln w="3175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38" name="L-Shape 37"/>
          <p:cNvSpPr/>
          <p:nvPr/>
        </p:nvSpPr>
        <p:spPr bwMode="auto">
          <a:xfrm>
            <a:off x="5816600" y="1512888"/>
            <a:ext cx="1081088" cy="692150"/>
          </a:xfrm>
          <a:prstGeom prst="corner">
            <a:avLst>
              <a:gd name="adj1" fmla="val 46059"/>
              <a:gd name="adj2" fmla="val 57881"/>
            </a:avLst>
          </a:prstGeom>
          <a:noFill/>
          <a:ln w="22225" cap="flat" cmpd="sng" algn="ctr">
            <a:solidFill>
              <a:srgbClr val="FF0000"/>
            </a:solidFill>
            <a:prstDash val="solid"/>
            <a:round/>
            <a:headEnd type="none" w="med" len="med"/>
            <a:tailEnd type="none" w="med" len="med"/>
          </a:ln>
          <a:effectLst/>
        </p:spPr>
        <p:txBody>
          <a:bodyPr wrap="none" anchor="ctr"/>
          <a:lstStyle/>
          <a:p>
            <a:pPr algn="ctr" defTabSz="914400">
              <a:lnSpc>
                <a:spcPct val="85000"/>
              </a:lnSpc>
              <a:defRPr/>
            </a:pPr>
            <a:r>
              <a:rPr lang="en-GB" sz="1600" b="1">
                <a:solidFill>
                  <a:srgbClr val="FF0000"/>
                </a:solidFill>
                <a:cs typeface="Arial" charset="0"/>
              </a:rPr>
              <a:t>2 People</a:t>
            </a:r>
            <a:endParaRPr lang="en-GB" sz="1600" b="1">
              <a:solidFill>
                <a:srgbClr val="FF0000"/>
              </a:solidFill>
              <a:latin typeface="+mn-lt"/>
              <a:cs typeface="Arial" charset="0"/>
            </a:endParaRPr>
          </a:p>
        </p:txBody>
      </p:sp>
      <p:grpSp>
        <p:nvGrpSpPr>
          <p:cNvPr id="12" name="Group 11"/>
          <p:cNvGrpSpPr/>
          <p:nvPr/>
        </p:nvGrpSpPr>
        <p:grpSpPr>
          <a:xfrm>
            <a:off x="963431" y="1181603"/>
            <a:ext cx="8267178" cy="4980901"/>
            <a:chOff x="4256033" y="1412875"/>
            <a:chExt cx="8267178" cy="4980901"/>
          </a:xfrm>
        </p:grpSpPr>
        <p:pic>
          <p:nvPicPr>
            <p:cNvPr id="19558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3151" r="18630" b="9695"/>
            <a:stretch/>
          </p:blipFill>
          <p:spPr bwMode="auto">
            <a:xfrm>
              <a:off x="4256033" y="1412875"/>
              <a:ext cx="8267178" cy="4980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4806950" y="1467647"/>
              <a:ext cx="1874290" cy="287338"/>
            </a:xfrm>
            <a:prstGeom prst="rect">
              <a:avLst/>
            </a:prstGeom>
            <a:noFill/>
            <a:ln w="22225" cap="flat" cmpd="sng" algn="ctr">
              <a:solidFill>
                <a:srgbClr val="FF0000"/>
              </a:solidFill>
              <a:prstDash val="solid"/>
              <a:round/>
              <a:headEnd type="none" w="med" len="med"/>
              <a:tailEnd type="none" w="med" len="med"/>
            </a:ln>
            <a:effectLst/>
          </p:spPr>
          <p:txBody>
            <a:bodyPr wrap="none" anchor="ctr"/>
            <a:lstStyle/>
            <a:p>
              <a:pPr defTabSz="914400">
                <a:lnSpc>
                  <a:spcPct val="85000"/>
                </a:lnSpc>
                <a:defRPr/>
              </a:pPr>
              <a:endParaRPr lang="en-GB" sz="1600" b="1">
                <a:solidFill>
                  <a:srgbClr val="FF0000"/>
                </a:solidFill>
                <a:latin typeface="+mn-lt"/>
                <a:cs typeface="Arial" charset="0"/>
              </a:endParaRPr>
            </a:p>
          </p:txBody>
        </p:sp>
        <p:sp>
          <p:nvSpPr>
            <p:cNvPr id="8" name="Rectangle 7"/>
            <p:cNvSpPr/>
            <p:nvPr/>
          </p:nvSpPr>
          <p:spPr bwMode="auto">
            <a:xfrm>
              <a:off x="4987924" y="2492389"/>
              <a:ext cx="1657351" cy="360352"/>
            </a:xfrm>
            <a:prstGeom prst="rect">
              <a:avLst/>
            </a:prstGeom>
            <a:noFill/>
            <a:ln w="22225" cap="flat" cmpd="sng" algn="ctr">
              <a:solidFill>
                <a:srgbClr val="FF0000"/>
              </a:solidFill>
              <a:prstDash val="solid"/>
              <a:round/>
              <a:headEnd type="none" w="med" len="med"/>
              <a:tailEnd type="none" w="med" len="med"/>
            </a:ln>
            <a:effectLst/>
          </p:spPr>
          <p:txBody>
            <a:bodyPr wrap="none" anchor="ctr"/>
            <a:lstStyle/>
            <a:p>
              <a:pPr defTabSz="914400">
                <a:lnSpc>
                  <a:spcPct val="85000"/>
                </a:lnSpc>
                <a:defRPr/>
              </a:pPr>
              <a:endParaRPr lang="en-GB" sz="1600" b="1">
                <a:solidFill>
                  <a:srgbClr val="FF0000"/>
                </a:solidFill>
                <a:latin typeface="+mn-lt"/>
                <a:cs typeface="Arial" charset="0"/>
              </a:endParaRPr>
            </a:p>
          </p:txBody>
        </p:sp>
        <p:sp>
          <p:nvSpPr>
            <p:cNvPr id="14" name="Rectangle 13"/>
            <p:cNvSpPr/>
            <p:nvPr/>
          </p:nvSpPr>
          <p:spPr bwMode="auto">
            <a:xfrm>
              <a:off x="4430710" y="3356990"/>
              <a:ext cx="666310" cy="630128"/>
            </a:xfrm>
            <a:prstGeom prst="rect">
              <a:avLst/>
            </a:prstGeom>
            <a:noFill/>
            <a:ln w="22225" cap="flat" cmpd="sng" algn="ctr">
              <a:solidFill>
                <a:srgbClr val="FF0000"/>
              </a:solidFill>
              <a:prstDash val="solid"/>
              <a:round/>
              <a:headEnd type="none" w="med" len="med"/>
              <a:tailEnd type="none" w="med" len="med"/>
            </a:ln>
            <a:effectLst/>
          </p:spPr>
          <p:txBody>
            <a:bodyPr wrap="none" anchor="ctr"/>
            <a:lstStyle/>
            <a:p>
              <a:pPr defTabSz="914400">
                <a:lnSpc>
                  <a:spcPct val="85000"/>
                </a:lnSpc>
                <a:defRPr/>
              </a:pPr>
              <a:endParaRPr lang="en-GB" sz="1600" b="1">
                <a:solidFill>
                  <a:srgbClr val="FF0000"/>
                </a:solidFill>
                <a:latin typeface="+mn-lt"/>
                <a:cs typeface="Arial" charset="0"/>
              </a:endParaRPr>
            </a:p>
          </p:txBody>
        </p:sp>
      </p:grpSp>
    </p:spTree>
    <p:extLst>
      <p:ext uri="{BB962C8B-B14F-4D97-AF65-F5344CB8AC3E}">
        <p14:creationId xmlns:p14="http://schemas.microsoft.com/office/powerpoint/2010/main" val="1375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68D04C-888E-4F91-A560-9D9EE3A406E0}"/>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8F34159B-06DF-43A3-BFC8-B34B4D147FE6}"/>
              </a:ext>
            </a:extLst>
          </p:cNvPr>
          <p:cNvSpPr>
            <a:spLocks noGrp="1"/>
          </p:cNvSpPr>
          <p:nvPr>
            <p:ph type="body" sz="quarter" idx="13"/>
          </p:nvPr>
        </p:nvSpPr>
        <p:spPr/>
        <p:txBody>
          <a:bodyPr/>
          <a:lstStyle/>
          <a:p>
            <a:endParaRPr lang="en-US"/>
          </a:p>
        </p:txBody>
      </p:sp>
      <p:sp>
        <p:nvSpPr>
          <p:cNvPr id="2" name="Title 1"/>
          <p:cNvSpPr>
            <a:spLocks noGrp="1"/>
          </p:cNvSpPr>
          <p:nvPr>
            <p:ph type="title"/>
          </p:nvPr>
        </p:nvSpPr>
        <p:spPr/>
        <p:txBody>
          <a:bodyPr>
            <a:normAutofit/>
          </a:bodyPr>
          <a:lstStyle/>
          <a:p>
            <a:pPr>
              <a:defRPr/>
            </a:pPr>
            <a:r>
              <a:rPr lang="en-GB" sz="3000"/>
              <a:t>Demo:</a:t>
            </a:r>
            <a:endParaRPr lang="en-GB" sz="3000">
              <a:ea typeface="Verdana"/>
              <a:cs typeface="Verdana"/>
            </a:endParaRPr>
          </a:p>
        </p:txBody>
      </p:sp>
      <p:pic>
        <p:nvPicPr>
          <p:cNvPr id="710659" name="Picture 3"/>
          <p:cNvPicPr>
            <a:picLocks noChangeAspect="1" noChangeArrowheads="1"/>
          </p:cNvPicPr>
          <p:nvPr/>
        </p:nvPicPr>
        <p:blipFill>
          <a:blip r:embed="rId2"/>
          <a:srcRect/>
          <a:stretch>
            <a:fillRect/>
          </a:stretch>
        </p:blipFill>
        <p:spPr bwMode="auto">
          <a:xfrm>
            <a:off x="1065220" y="1412875"/>
            <a:ext cx="7591425" cy="38877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86515616"/>
      </p:ext>
    </p:extLst>
  </p:cSld>
  <p:clrMapOvr>
    <a:masterClrMapping/>
  </p:clrMapOvr>
  <p:transition spd="slow">
    <p:pull/>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2398">
              <a:defRPr/>
            </a:pPr>
            <a:r>
              <a:rPr lang="en-US" b="1">
                <a:solidFill>
                  <a:schemeClr val="accent5"/>
                </a:solidFill>
                <a:cs typeface="Calibri"/>
              </a:rPr>
              <a:t>Objective Setting: Steps</a:t>
            </a:r>
            <a:endParaRPr lang="en-US">
              <a:solidFill>
                <a:schemeClr val="accent5"/>
              </a:solidFill>
            </a:endParaRPr>
          </a:p>
        </p:txBody>
      </p:sp>
      <p:sp>
        <p:nvSpPr>
          <p:cNvPr id="30723" name="Content Placeholder 17"/>
          <p:cNvSpPr txBox="1">
            <a:spLocks/>
          </p:cNvSpPr>
          <p:nvPr/>
        </p:nvSpPr>
        <p:spPr bwMode="auto">
          <a:xfrm>
            <a:off x="768350" y="4884738"/>
            <a:ext cx="990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defRPr sz="2000">
                <a:solidFill>
                  <a:schemeClr val="tx1"/>
                </a:solidFill>
                <a:latin typeface="Arial" pitchFamily="34" charset="0"/>
              </a:defRPr>
            </a:lvl1pPr>
            <a:lvl2pPr defTabSz="912813">
              <a:defRPr>
                <a:solidFill>
                  <a:schemeClr val="tx1"/>
                </a:solidFill>
                <a:latin typeface="Arial" pitchFamily="34" charset="0"/>
              </a:defRPr>
            </a:lvl2pPr>
            <a:lvl3pPr defTabSz="912813">
              <a:defRPr sz="1600">
                <a:solidFill>
                  <a:schemeClr val="tx1"/>
                </a:solidFill>
                <a:latin typeface="Arial" pitchFamily="34" charset="0"/>
              </a:defRPr>
            </a:lvl3pPr>
            <a:lvl4pPr defTabSz="912813">
              <a:defRPr sz="1400">
                <a:solidFill>
                  <a:schemeClr val="tx1"/>
                </a:solidFill>
                <a:latin typeface="Arial" pitchFamily="34" charset="0"/>
              </a:defRPr>
            </a:lvl4pPr>
            <a:lvl5pPr defTabSz="912813">
              <a:defRPr sz="1600">
                <a:solidFill>
                  <a:srgbClr val="494949"/>
                </a:solidFill>
                <a:latin typeface="Arial" pitchFamily="34" charset="0"/>
              </a:defRPr>
            </a:lvl5pPr>
            <a:lvl6pPr marL="20637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6pPr>
            <a:lvl7pPr marL="25209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7pPr>
            <a:lvl8pPr marL="29781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8pPr>
            <a:lvl9pPr marL="34353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9pPr>
          </a:lstStyle>
          <a:p>
            <a:pPr algn="ctr">
              <a:buClr>
                <a:srgbClr val="0098CC"/>
              </a:buClr>
            </a:pPr>
            <a:r>
              <a:rPr lang="en-GB" sz="1200" b="1">
                <a:solidFill>
                  <a:srgbClr val="0098CC"/>
                </a:solidFill>
              </a:rPr>
              <a:t>Employee</a:t>
            </a:r>
          </a:p>
        </p:txBody>
      </p:sp>
      <p:grpSp>
        <p:nvGrpSpPr>
          <p:cNvPr id="30724" name="Group 36"/>
          <p:cNvGrpSpPr>
            <a:grpSpLocks/>
          </p:cNvGrpSpPr>
          <p:nvPr/>
        </p:nvGrpSpPr>
        <p:grpSpPr bwMode="auto">
          <a:xfrm>
            <a:off x="1074738" y="5216539"/>
            <a:ext cx="377826" cy="466725"/>
            <a:chOff x="345028" y="5391214"/>
            <a:chExt cx="400050" cy="466725"/>
          </a:xfrm>
        </p:grpSpPr>
        <p:sp>
          <p:nvSpPr>
            <p:cNvPr id="63" name="Oval 3415"/>
            <p:cNvSpPr>
              <a:spLocks noChangeArrowheads="1"/>
            </p:cNvSpPr>
            <p:nvPr/>
          </p:nvSpPr>
          <p:spPr bwMode="auto">
            <a:xfrm>
              <a:off x="461008" y="5391214"/>
              <a:ext cx="163046" cy="188913"/>
            </a:xfrm>
            <a:prstGeom prst="ellipse">
              <a:avLst/>
            </a:prstGeom>
            <a:noFill/>
            <a:ln w="12700" cap="rnd">
              <a:solidFill>
                <a:schemeClr val="accent5"/>
              </a:solidFill>
              <a:prstDash val="solid"/>
              <a:round/>
              <a:headEnd/>
              <a:tailEnd/>
            </a:ln>
          </p:spPr>
          <p:txBody>
            <a:bodyPr/>
            <a:lstStyle/>
            <a:p>
              <a:pPr>
                <a:defRPr/>
              </a:pPr>
              <a:endParaRPr lang="en-US" sz="1800">
                <a:solidFill>
                  <a:srgbClr val="00234B"/>
                </a:solidFill>
                <a:cs typeface="Arial" charset="0"/>
              </a:endParaRPr>
            </a:p>
          </p:txBody>
        </p:sp>
        <p:sp>
          <p:nvSpPr>
            <p:cNvPr id="64" name="Freeform 3416"/>
            <p:cNvSpPr>
              <a:spLocks/>
            </p:cNvSpPr>
            <p:nvPr/>
          </p:nvSpPr>
          <p:spPr bwMode="auto">
            <a:xfrm>
              <a:off x="345028" y="5580127"/>
              <a:ext cx="400050" cy="277812"/>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a:lstStyle/>
            <a:p>
              <a:pPr>
                <a:defRPr/>
              </a:pPr>
              <a:endParaRPr lang="en-US" sz="1800">
                <a:solidFill>
                  <a:srgbClr val="00234B"/>
                </a:solidFill>
                <a:cs typeface="Arial" charset="0"/>
              </a:endParaRPr>
            </a:p>
          </p:txBody>
        </p:sp>
        <p:sp>
          <p:nvSpPr>
            <p:cNvPr id="65" name="Freeform 3417"/>
            <p:cNvSpPr>
              <a:spLocks/>
            </p:cNvSpPr>
            <p:nvPr/>
          </p:nvSpPr>
          <p:spPr bwMode="auto">
            <a:xfrm>
              <a:off x="629097" y="5703952"/>
              <a:ext cx="30256" cy="153987"/>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a:lstStyle/>
            <a:p>
              <a:pPr>
                <a:defRPr/>
              </a:pPr>
              <a:endParaRPr lang="en-US" sz="1800">
                <a:solidFill>
                  <a:srgbClr val="00234B"/>
                </a:solidFill>
                <a:cs typeface="Arial" charset="0"/>
              </a:endParaRPr>
            </a:p>
          </p:txBody>
        </p:sp>
        <p:sp>
          <p:nvSpPr>
            <p:cNvPr id="66" name="Freeform 3418"/>
            <p:cNvSpPr>
              <a:spLocks/>
            </p:cNvSpPr>
            <p:nvPr/>
          </p:nvSpPr>
          <p:spPr bwMode="auto">
            <a:xfrm>
              <a:off x="430752" y="5703952"/>
              <a:ext cx="30256" cy="153987"/>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a:lstStyle/>
            <a:p>
              <a:pPr>
                <a:defRPr/>
              </a:pPr>
              <a:endParaRPr lang="en-US" sz="1800">
                <a:solidFill>
                  <a:srgbClr val="00234B"/>
                </a:solidFill>
                <a:cs typeface="Arial" charset="0"/>
              </a:endParaRPr>
            </a:p>
          </p:txBody>
        </p:sp>
      </p:grpSp>
      <p:sp>
        <p:nvSpPr>
          <p:cNvPr id="67" name="Rectangle 66"/>
          <p:cNvSpPr>
            <a:spLocks/>
          </p:cNvSpPr>
          <p:nvPr/>
        </p:nvSpPr>
        <p:spPr bwMode="auto">
          <a:xfrm>
            <a:off x="2193859" y="4960158"/>
            <a:ext cx="1245964" cy="64754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Enter Objectives</a:t>
            </a:r>
          </a:p>
        </p:txBody>
      </p:sp>
      <p:sp>
        <p:nvSpPr>
          <p:cNvPr id="68" name="Rectangle 67"/>
          <p:cNvSpPr/>
          <p:nvPr/>
        </p:nvSpPr>
        <p:spPr bwMode="auto">
          <a:xfrm>
            <a:off x="8061276" y="4972030"/>
            <a:ext cx="1107469" cy="64754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Objective Setting Complete</a:t>
            </a:r>
          </a:p>
        </p:txBody>
      </p:sp>
      <p:sp>
        <p:nvSpPr>
          <p:cNvPr id="69" name="Flowchart: Decision 68"/>
          <p:cNvSpPr/>
          <p:nvPr/>
        </p:nvSpPr>
        <p:spPr bwMode="auto">
          <a:xfrm>
            <a:off x="5755522" y="4923654"/>
            <a:ext cx="1576017" cy="758618"/>
          </a:xfrm>
          <a:prstGeom prst="flowChartDecision">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Review Objective </a:t>
            </a:r>
          </a:p>
        </p:txBody>
      </p:sp>
      <p:sp>
        <p:nvSpPr>
          <p:cNvPr id="70" name="Rectangle 69"/>
          <p:cNvSpPr>
            <a:spLocks/>
          </p:cNvSpPr>
          <p:nvPr/>
        </p:nvSpPr>
        <p:spPr bwMode="auto">
          <a:xfrm>
            <a:off x="4106237" y="3747608"/>
            <a:ext cx="1245964" cy="64754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Add/Edit Objectives</a:t>
            </a:r>
          </a:p>
          <a:p>
            <a:pPr algn="ctr">
              <a:defRPr/>
            </a:pPr>
            <a:r>
              <a:rPr lang="en-GB" sz="1050" b="1">
                <a:solidFill>
                  <a:prstClr val="white"/>
                </a:solidFill>
              </a:rPr>
              <a:t> and Signoff</a:t>
            </a:r>
          </a:p>
        </p:txBody>
      </p:sp>
      <p:cxnSp>
        <p:nvCxnSpPr>
          <p:cNvPr id="71" name="Elbow Connector 70"/>
          <p:cNvCxnSpPr/>
          <p:nvPr/>
        </p:nvCxnSpPr>
        <p:spPr bwMode="auto">
          <a:xfrm flipV="1">
            <a:off x="3440115" y="4071938"/>
            <a:ext cx="666751" cy="1211262"/>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hape 48"/>
          <p:cNvCxnSpPr/>
          <p:nvPr/>
        </p:nvCxnSpPr>
        <p:spPr bwMode="auto">
          <a:xfrm rot="16200000" flipH="1">
            <a:off x="4789488" y="4335470"/>
            <a:ext cx="906462" cy="1027112"/>
          </a:xfrm>
          <a:prstGeom prst="bentConnector2">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bwMode="auto">
          <a:xfrm>
            <a:off x="554037" y="4632325"/>
            <a:ext cx="889476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bwMode="auto">
          <a:xfrm flipV="1">
            <a:off x="7331075" y="5295900"/>
            <a:ext cx="730250" cy="635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741" name="Content Placeholder 17"/>
          <p:cNvSpPr txBox="1">
            <a:spLocks/>
          </p:cNvSpPr>
          <p:nvPr/>
        </p:nvSpPr>
        <p:spPr bwMode="auto">
          <a:xfrm>
            <a:off x="768350" y="3479800"/>
            <a:ext cx="990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defRPr sz="2000">
                <a:solidFill>
                  <a:schemeClr val="tx1"/>
                </a:solidFill>
                <a:latin typeface="Arial" pitchFamily="34" charset="0"/>
              </a:defRPr>
            </a:lvl1pPr>
            <a:lvl2pPr defTabSz="912813">
              <a:defRPr>
                <a:solidFill>
                  <a:schemeClr val="tx1"/>
                </a:solidFill>
                <a:latin typeface="Arial" pitchFamily="34" charset="0"/>
              </a:defRPr>
            </a:lvl2pPr>
            <a:lvl3pPr defTabSz="912813">
              <a:defRPr sz="1600">
                <a:solidFill>
                  <a:schemeClr val="tx1"/>
                </a:solidFill>
                <a:latin typeface="Arial" pitchFamily="34" charset="0"/>
              </a:defRPr>
            </a:lvl3pPr>
            <a:lvl4pPr defTabSz="912813">
              <a:defRPr sz="1400">
                <a:solidFill>
                  <a:schemeClr val="tx1"/>
                </a:solidFill>
                <a:latin typeface="Arial" pitchFamily="34" charset="0"/>
              </a:defRPr>
            </a:lvl4pPr>
            <a:lvl5pPr defTabSz="912813">
              <a:defRPr sz="1600">
                <a:solidFill>
                  <a:srgbClr val="494949"/>
                </a:solidFill>
                <a:latin typeface="Arial" pitchFamily="34" charset="0"/>
              </a:defRPr>
            </a:lvl5pPr>
            <a:lvl6pPr marL="20637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6pPr>
            <a:lvl7pPr marL="25209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7pPr>
            <a:lvl8pPr marL="29781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8pPr>
            <a:lvl9pPr marL="3435350" indent="-190500" defTabSz="912813" eaLnBrk="0" fontAlgn="base" hangingPunct="0">
              <a:spcBef>
                <a:spcPct val="0"/>
              </a:spcBef>
              <a:spcAft>
                <a:spcPct val="0"/>
              </a:spcAft>
              <a:buClr>
                <a:srgbClr val="B1B1B1"/>
              </a:buClr>
              <a:buChar char="–"/>
              <a:defRPr sz="1600">
                <a:solidFill>
                  <a:srgbClr val="494949"/>
                </a:solidFill>
                <a:latin typeface="Arial" pitchFamily="34" charset="0"/>
              </a:defRPr>
            </a:lvl9pPr>
          </a:lstStyle>
          <a:p>
            <a:pPr algn="ctr">
              <a:buClr>
                <a:srgbClr val="0098CC"/>
              </a:buClr>
            </a:pPr>
            <a:r>
              <a:rPr lang="en-GB" sz="1200" b="1">
                <a:solidFill>
                  <a:srgbClr val="691E7C"/>
                </a:solidFill>
              </a:rPr>
              <a:t>Performance Reviewer</a:t>
            </a:r>
          </a:p>
        </p:txBody>
      </p:sp>
      <p:grpSp>
        <p:nvGrpSpPr>
          <p:cNvPr id="30742" name="Group 152"/>
          <p:cNvGrpSpPr>
            <a:grpSpLocks/>
          </p:cNvGrpSpPr>
          <p:nvPr/>
        </p:nvGrpSpPr>
        <p:grpSpPr bwMode="auto">
          <a:xfrm>
            <a:off x="1038227" y="3886201"/>
            <a:ext cx="452438" cy="606425"/>
            <a:chOff x="2254251" y="3027363"/>
            <a:chExt cx="644525" cy="814388"/>
          </a:xfrm>
        </p:grpSpPr>
        <p:sp>
          <p:nvSpPr>
            <p:cNvPr id="78" name="Freeform 29"/>
            <p:cNvSpPr>
              <a:spLocks noEditPoints="1"/>
            </p:cNvSpPr>
            <p:nvPr/>
          </p:nvSpPr>
          <p:spPr bwMode="auto">
            <a:xfrm>
              <a:off x="2430647" y="3027363"/>
              <a:ext cx="468129" cy="626780"/>
            </a:xfrm>
            <a:custGeom>
              <a:avLst/>
              <a:gdLst/>
              <a:ahLst/>
              <a:cxnLst>
                <a:cxn ang="0">
                  <a:pos x="0" y="95"/>
                </a:cxn>
                <a:cxn ang="0">
                  <a:pos x="6" y="84"/>
                </a:cxn>
                <a:cxn ang="0">
                  <a:pos x="37" y="72"/>
                </a:cxn>
                <a:cxn ang="0">
                  <a:pos x="50" y="118"/>
                </a:cxn>
                <a:cxn ang="0">
                  <a:pos x="53" y="88"/>
                </a:cxn>
                <a:cxn ang="0">
                  <a:pos x="57" y="85"/>
                </a:cxn>
                <a:cxn ang="0">
                  <a:pos x="61" y="88"/>
                </a:cxn>
                <a:cxn ang="0">
                  <a:pos x="64" y="118"/>
                </a:cxn>
                <a:cxn ang="0">
                  <a:pos x="78" y="72"/>
                </a:cxn>
                <a:cxn ang="0">
                  <a:pos x="108" y="84"/>
                </a:cxn>
                <a:cxn ang="0">
                  <a:pos x="115" y="96"/>
                </a:cxn>
                <a:cxn ang="0">
                  <a:pos x="125" y="167"/>
                </a:cxn>
                <a:cxn ang="0">
                  <a:pos x="60" y="167"/>
                </a:cxn>
                <a:cxn ang="0">
                  <a:pos x="57" y="0"/>
                </a:cxn>
                <a:cxn ang="0">
                  <a:pos x="83" y="25"/>
                </a:cxn>
                <a:cxn ang="0">
                  <a:pos x="57" y="65"/>
                </a:cxn>
                <a:cxn ang="0">
                  <a:pos x="31" y="25"/>
                </a:cxn>
                <a:cxn ang="0">
                  <a:pos x="57" y="0"/>
                </a:cxn>
              </a:cxnLst>
              <a:rect l="0" t="0" r="r" b="b"/>
              <a:pathLst>
                <a:path w="125" h="167">
                  <a:moveTo>
                    <a:pt x="0" y="95"/>
                  </a:moveTo>
                  <a:cubicBezTo>
                    <a:pt x="1" y="91"/>
                    <a:pt x="3" y="87"/>
                    <a:pt x="6" y="84"/>
                  </a:cubicBezTo>
                  <a:cubicBezTo>
                    <a:pt x="7" y="83"/>
                    <a:pt x="34" y="73"/>
                    <a:pt x="37" y="72"/>
                  </a:cubicBezTo>
                  <a:cubicBezTo>
                    <a:pt x="40" y="83"/>
                    <a:pt x="45" y="108"/>
                    <a:pt x="50" y="118"/>
                  </a:cubicBezTo>
                  <a:cubicBezTo>
                    <a:pt x="51" y="114"/>
                    <a:pt x="53" y="93"/>
                    <a:pt x="53" y="88"/>
                  </a:cubicBezTo>
                  <a:cubicBezTo>
                    <a:pt x="54" y="87"/>
                    <a:pt x="56" y="86"/>
                    <a:pt x="57" y="85"/>
                  </a:cubicBezTo>
                  <a:cubicBezTo>
                    <a:pt x="59" y="86"/>
                    <a:pt x="60" y="87"/>
                    <a:pt x="61" y="88"/>
                  </a:cubicBezTo>
                  <a:cubicBezTo>
                    <a:pt x="62" y="93"/>
                    <a:pt x="64" y="114"/>
                    <a:pt x="64" y="118"/>
                  </a:cubicBezTo>
                  <a:cubicBezTo>
                    <a:pt x="69" y="108"/>
                    <a:pt x="75" y="83"/>
                    <a:pt x="78" y="72"/>
                  </a:cubicBezTo>
                  <a:cubicBezTo>
                    <a:pt x="81" y="73"/>
                    <a:pt x="107" y="83"/>
                    <a:pt x="108" y="84"/>
                  </a:cubicBezTo>
                  <a:cubicBezTo>
                    <a:pt x="112" y="88"/>
                    <a:pt x="114" y="92"/>
                    <a:pt x="115" y="96"/>
                  </a:cubicBezTo>
                  <a:cubicBezTo>
                    <a:pt x="125" y="167"/>
                    <a:pt x="125" y="167"/>
                    <a:pt x="125" y="167"/>
                  </a:cubicBezTo>
                  <a:cubicBezTo>
                    <a:pt x="60" y="167"/>
                    <a:pt x="60" y="167"/>
                    <a:pt x="60" y="167"/>
                  </a:cubicBezTo>
                  <a:moveTo>
                    <a:pt x="57" y="0"/>
                  </a:moveTo>
                  <a:cubicBezTo>
                    <a:pt x="73" y="0"/>
                    <a:pt x="83" y="12"/>
                    <a:pt x="83" y="25"/>
                  </a:cubicBezTo>
                  <a:cubicBezTo>
                    <a:pt x="83" y="38"/>
                    <a:pt x="73" y="65"/>
                    <a:pt x="57" y="65"/>
                  </a:cubicBezTo>
                  <a:cubicBezTo>
                    <a:pt x="41" y="65"/>
                    <a:pt x="31" y="38"/>
                    <a:pt x="31" y="25"/>
                  </a:cubicBezTo>
                  <a:cubicBezTo>
                    <a:pt x="31" y="12"/>
                    <a:pt x="41" y="0"/>
                    <a:pt x="57" y="0"/>
                  </a:cubicBezTo>
                  <a:close/>
                </a:path>
              </a:pathLst>
            </a:cu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79" name="Line 30"/>
            <p:cNvSpPr>
              <a:spLocks noChangeShapeType="1"/>
            </p:cNvSpPr>
            <p:nvPr/>
          </p:nvSpPr>
          <p:spPr bwMode="auto">
            <a:xfrm>
              <a:off x="2591214" y="3545417"/>
              <a:ext cx="0" cy="2131"/>
            </a:xfrm>
            <a:prstGeom prst="line">
              <a:avLst/>
            </a:pr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0" name="Freeform 31"/>
            <p:cNvSpPr>
              <a:spLocks/>
            </p:cNvSpPr>
            <p:nvPr/>
          </p:nvSpPr>
          <p:spPr bwMode="auto">
            <a:xfrm>
              <a:off x="2254251" y="3545417"/>
              <a:ext cx="336963" cy="296334"/>
            </a:xfrm>
            <a:custGeom>
              <a:avLst/>
              <a:gdLst/>
              <a:ahLst/>
              <a:cxnLst>
                <a:cxn ang="0">
                  <a:pos x="0" y="135"/>
                </a:cxn>
                <a:cxn ang="0">
                  <a:pos x="0" y="187"/>
                </a:cxn>
                <a:cxn ang="0">
                  <a:pos x="212" y="187"/>
                </a:cxn>
                <a:cxn ang="0">
                  <a:pos x="212" y="0"/>
                </a:cxn>
              </a:cxnLst>
              <a:rect l="0" t="0" r="r" b="b"/>
              <a:pathLst>
                <a:path w="212" h="187">
                  <a:moveTo>
                    <a:pt x="0" y="135"/>
                  </a:moveTo>
                  <a:lnTo>
                    <a:pt x="0" y="187"/>
                  </a:lnTo>
                  <a:lnTo>
                    <a:pt x="212" y="187"/>
                  </a:lnTo>
                  <a:lnTo>
                    <a:pt x="212" y="0"/>
                  </a:lnTo>
                </a:path>
              </a:pathLst>
            </a:cu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1" name="Freeform 32"/>
            <p:cNvSpPr>
              <a:spLocks/>
            </p:cNvSpPr>
            <p:nvPr/>
          </p:nvSpPr>
          <p:spPr bwMode="auto">
            <a:xfrm>
              <a:off x="2254251" y="3421766"/>
              <a:ext cx="336963" cy="211058"/>
            </a:xfrm>
            <a:custGeom>
              <a:avLst/>
              <a:gdLst/>
              <a:ahLst/>
              <a:cxnLst>
                <a:cxn ang="0">
                  <a:pos x="165" y="0"/>
                </a:cxn>
                <a:cxn ang="0">
                  <a:pos x="165" y="74"/>
                </a:cxn>
                <a:cxn ang="0">
                  <a:pos x="212" y="78"/>
                </a:cxn>
                <a:cxn ang="0">
                  <a:pos x="165" y="0"/>
                </a:cxn>
                <a:cxn ang="0">
                  <a:pos x="0" y="0"/>
                </a:cxn>
                <a:cxn ang="0">
                  <a:pos x="0" y="133"/>
                </a:cxn>
              </a:cxnLst>
              <a:rect l="0" t="0" r="r" b="b"/>
              <a:pathLst>
                <a:path w="212" h="133">
                  <a:moveTo>
                    <a:pt x="165" y="0"/>
                  </a:moveTo>
                  <a:lnTo>
                    <a:pt x="165" y="74"/>
                  </a:lnTo>
                  <a:lnTo>
                    <a:pt x="212" y="78"/>
                  </a:lnTo>
                  <a:lnTo>
                    <a:pt x="165" y="0"/>
                  </a:lnTo>
                  <a:lnTo>
                    <a:pt x="0" y="0"/>
                  </a:lnTo>
                  <a:lnTo>
                    <a:pt x="0" y="133"/>
                  </a:lnTo>
                </a:path>
              </a:pathLst>
            </a:cu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2" name="Freeform 33"/>
            <p:cNvSpPr>
              <a:spLocks/>
            </p:cNvSpPr>
            <p:nvPr/>
          </p:nvSpPr>
          <p:spPr bwMode="auto">
            <a:xfrm>
              <a:off x="2254251" y="3553944"/>
              <a:ext cx="332440" cy="63957"/>
            </a:xfrm>
            <a:custGeom>
              <a:avLst/>
              <a:gdLst/>
              <a:ahLst/>
              <a:cxnLst>
                <a:cxn ang="0">
                  <a:pos x="0" y="7"/>
                </a:cxn>
                <a:cxn ang="0">
                  <a:pos x="15" y="7"/>
                </a:cxn>
                <a:cxn ang="0">
                  <a:pos x="24" y="17"/>
                </a:cxn>
                <a:cxn ang="0">
                  <a:pos x="32" y="7"/>
                </a:cxn>
                <a:cxn ang="0">
                  <a:pos x="82" y="7"/>
                </a:cxn>
                <a:cxn ang="0">
                  <a:pos x="89" y="0"/>
                </a:cxn>
              </a:cxnLst>
              <a:rect l="0" t="0" r="r" b="b"/>
              <a:pathLst>
                <a:path w="89" h="17">
                  <a:moveTo>
                    <a:pt x="0" y="7"/>
                  </a:moveTo>
                  <a:cubicBezTo>
                    <a:pt x="15" y="7"/>
                    <a:pt x="15" y="7"/>
                    <a:pt x="15" y="7"/>
                  </a:cubicBezTo>
                  <a:cubicBezTo>
                    <a:pt x="15" y="7"/>
                    <a:pt x="23" y="7"/>
                    <a:pt x="24" y="17"/>
                  </a:cubicBezTo>
                  <a:cubicBezTo>
                    <a:pt x="24" y="17"/>
                    <a:pt x="26" y="7"/>
                    <a:pt x="32" y="7"/>
                  </a:cubicBezTo>
                  <a:cubicBezTo>
                    <a:pt x="38" y="7"/>
                    <a:pt x="82" y="7"/>
                    <a:pt x="82" y="7"/>
                  </a:cubicBezTo>
                  <a:cubicBezTo>
                    <a:pt x="82" y="7"/>
                    <a:pt x="89" y="6"/>
                    <a:pt x="89" y="0"/>
                  </a:cubicBezTo>
                </a:path>
              </a:pathLst>
            </a:cu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3" name="Line 34"/>
            <p:cNvSpPr>
              <a:spLocks noChangeShapeType="1"/>
            </p:cNvSpPr>
            <p:nvPr/>
          </p:nvSpPr>
          <p:spPr bwMode="auto">
            <a:xfrm>
              <a:off x="2356019" y="3643484"/>
              <a:ext cx="192226" cy="2131"/>
            </a:xfrm>
            <a:prstGeom prst="line">
              <a:avLst/>
            </a:pr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4" name="Line 35"/>
            <p:cNvSpPr>
              <a:spLocks noChangeShapeType="1"/>
            </p:cNvSpPr>
            <p:nvPr/>
          </p:nvSpPr>
          <p:spPr bwMode="auto">
            <a:xfrm>
              <a:off x="2356019" y="3690386"/>
              <a:ext cx="192226" cy="2131"/>
            </a:xfrm>
            <a:prstGeom prst="line">
              <a:avLst/>
            </a:pr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5" name="Line 36"/>
            <p:cNvSpPr>
              <a:spLocks noChangeShapeType="1"/>
            </p:cNvSpPr>
            <p:nvPr/>
          </p:nvSpPr>
          <p:spPr bwMode="auto">
            <a:xfrm>
              <a:off x="2356019" y="3739420"/>
              <a:ext cx="192226" cy="2133"/>
            </a:xfrm>
            <a:prstGeom prst="line">
              <a:avLst/>
            </a:pr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sp>
          <p:nvSpPr>
            <p:cNvPr id="86" name="Line 37"/>
            <p:cNvSpPr>
              <a:spLocks noChangeShapeType="1"/>
            </p:cNvSpPr>
            <p:nvPr/>
          </p:nvSpPr>
          <p:spPr bwMode="auto">
            <a:xfrm>
              <a:off x="2356019" y="3788454"/>
              <a:ext cx="192226" cy="2131"/>
            </a:xfrm>
            <a:prstGeom prst="line">
              <a:avLst/>
            </a:prstGeom>
            <a:noFill/>
            <a:ln w="12700" cap="rnd">
              <a:solidFill>
                <a:schemeClr val="accent4">
                  <a:lumMod val="75000"/>
                </a:schemeClr>
              </a:solidFill>
              <a:prstDash val="solid"/>
              <a:round/>
              <a:headEnd/>
              <a:tailEnd/>
            </a:ln>
          </p:spPr>
          <p:txBody>
            <a:bodyPr/>
            <a:lstStyle/>
            <a:p>
              <a:pPr>
                <a:defRPr/>
              </a:pPr>
              <a:endParaRPr lang="en-US" sz="1800">
                <a:solidFill>
                  <a:srgbClr val="00234B"/>
                </a:solidFill>
                <a:cs typeface="Arial" charset="0"/>
              </a:endParaRPr>
            </a:p>
          </p:txBody>
        </p:sp>
      </p:grpSp>
      <p:cxnSp>
        <p:nvCxnSpPr>
          <p:cNvPr id="87" name="Shape 48"/>
          <p:cNvCxnSpPr/>
          <p:nvPr/>
        </p:nvCxnSpPr>
        <p:spPr bwMode="auto">
          <a:xfrm rot="16200000" flipV="1">
            <a:off x="5521332" y="3902083"/>
            <a:ext cx="852487" cy="1192212"/>
          </a:xfrm>
          <a:prstGeom prst="bentConnector2">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bwMode="auto">
          <a:xfrm>
            <a:off x="554037" y="3390914"/>
            <a:ext cx="8894763" cy="2505075"/>
          </a:xfrm>
          <a:prstGeom prst="rect">
            <a:avLst/>
          </a:prstGeom>
          <a:ln w="28575">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56830">
              <a:defRPr/>
            </a:pPr>
            <a:endParaRPr lang="en-US" sz="2400">
              <a:solidFill>
                <a:srgbClr val="9F958F">
                  <a:lumMod val="50000"/>
                </a:srgbClr>
              </a:solidFill>
            </a:endParaRPr>
          </a:p>
        </p:txBody>
      </p:sp>
      <p:sp>
        <p:nvSpPr>
          <p:cNvPr id="32" name="Rounded Rectangle 31"/>
          <p:cNvSpPr/>
          <p:nvPr/>
        </p:nvSpPr>
        <p:spPr>
          <a:xfrm>
            <a:off x="5213350" y="1295400"/>
            <a:ext cx="4235450" cy="1752600"/>
          </a:xfrm>
          <a:prstGeom prst="roundRect">
            <a:avLst/>
          </a:prstGeom>
          <a:ln w="28575">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defTabSz="914400">
              <a:buClr>
                <a:srgbClr val="ED771A"/>
              </a:buClr>
              <a:defRPr/>
            </a:pPr>
            <a:r>
              <a:rPr lang="en-US" sz="1800">
                <a:solidFill>
                  <a:srgbClr val="00234B"/>
                </a:solidFill>
                <a:cs typeface="Calibri" pitchFamily="34" charset="0"/>
              </a:rPr>
              <a:t>Employee gets as opportunity to sign off and complete the objective setting after discussion with reviewer</a:t>
            </a:r>
            <a:endParaRPr lang="en-US"/>
          </a:p>
          <a:p>
            <a:pPr marL="342900" indent="-342900" defTabSz="914400">
              <a:buClr>
                <a:srgbClr val="ED771A"/>
              </a:buClr>
              <a:defRPr/>
            </a:pPr>
            <a:endParaRPr lang="en-GB" sz="1600">
              <a:solidFill>
                <a:srgbClr val="00234B"/>
              </a:solidFill>
              <a:cs typeface="Calibri" pitchFamily="34" charset="0"/>
            </a:endParaRPr>
          </a:p>
        </p:txBody>
      </p:sp>
      <p:sp>
        <p:nvSpPr>
          <p:cNvPr id="33" name="Notched Right Arrow 32"/>
          <p:cNvSpPr/>
          <p:nvPr/>
        </p:nvSpPr>
        <p:spPr>
          <a:xfrm rot="5400000">
            <a:off x="7620000" y="3200400"/>
            <a:ext cx="2133600" cy="1066800"/>
          </a:xfrm>
          <a:prstGeom prst="notchedRightArrow">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2400" err="1">
              <a:solidFill>
                <a:srgbClr val="9F958F">
                  <a:lumMod val="50000"/>
                </a:srgbClr>
              </a:solidFill>
            </a:endParaRPr>
          </a:p>
        </p:txBody>
      </p:sp>
      <p:graphicFrame>
        <p:nvGraphicFramePr>
          <p:cNvPr id="34" name="Diagram 33"/>
          <p:cNvGraphicFramePr/>
          <p:nvPr/>
        </p:nvGraphicFramePr>
        <p:xfrm>
          <a:off x="259310" y="1295400"/>
          <a:ext cx="4817659" cy="17753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748" name="TextBox 35"/>
          <p:cNvSpPr txBox="1">
            <a:spLocks noChangeArrowheads="1"/>
          </p:cNvSpPr>
          <p:nvPr/>
        </p:nvSpPr>
        <p:spPr bwMode="auto">
          <a:xfrm>
            <a:off x="3276600" y="5943600"/>
            <a:ext cx="38811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a:defRPr>
                <a:solidFill>
                  <a:schemeClr val="tx1"/>
                </a:solidFill>
                <a:latin typeface="Arial" pitchFamily="34" charset="0"/>
              </a:defRPr>
            </a:lvl2pPr>
            <a:lvl3pPr>
              <a:defRPr sz="1600">
                <a:solidFill>
                  <a:schemeClr val="tx1"/>
                </a:solidFill>
                <a:latin typeface="Arial" pitchFamily="34" charset="0"/>
              </a:defRPr>
            </a:lvl3pPr>
            <a:lvl4pPr>
              <a:defRPr sz="1400">
                <a:solidFill>
                  <a:schemeClr val="tx1"/>
                </a:solidFill>
                <a:latin typeface="Arial" pitchFamily="34" charset="0"/>
              </a:defRPr>
            </a:lvl4pPr>
            <a:lvl5pPr>
              <a:defRPr sz="1600">
                <a:solidFill>
                  <a:srgbClr val="494949"/>
                </a:solidFill>
                <a:latin typeface="Arial" pitchFamily="34" charset="0"/>
              </a:defRPr>
            </a:lvl5pPr>
            <a:lvl6pPr marL="2063750" indent="-190500" eaLnBrk="0" fontAlgn="base" hangingPunct="0">
              <a:spcBef>
                <a:spcPct val="0"/>
              </a:spcBef>
              <a:spcAft>
                <a:spcPct val="0"/>
              </a:spcAft>
              <a:buClr>
                <a:srgbClr val="B1B1B1"/>
              </a:buClr>
              <a:buChar char="–"/>
              <a:defRPr sz="1600">
                <a:solidFill>
                  <a:srgbClr val="494949"/>
                </a:solidFill>
                <a:latin typeface="Arial" pitchFamily="34" charset="0"/>
              </a:defRPr>
            </a:lvl6pPr>
            <a:lvl7pPr marL="2520950" indent="-190500" eaLnBrk="0" fontAlgn="base" hangingPunct="0">
              <a:spcBef>
                <a:spcPct val="0"/>
              </a:spcBef>
              <a:spcAft>
                <a:spcPct val="0"/>
              </a:spcAft>
              <a:buClr>
                <a:srgbClr val="B1B1B1"/>
              </a:buClr>
              <a:buChar char="–"/>
              <a:defRPr sz="1600">
                <a:solidFill>
                  <a:srgbClr val="494949"/>
                </a:solidFill>
                <a:latin typeface="Arial" pitchFamily="34" charset="0"/>
              </a:defRPr>
            </a:lvl7pPr>
            <a:lvl8pPr marL="2978150" indent="-190500" eaLnBrk="0" fontAlgn="base" hangingPunct="0">
              <a:spcBef>
                <a:spcPct val="0"/>
              </a:spcBef>
              <a:spcAft>
                <a:spcPct val="0"/>
              </a:spcAft>
              <a:buClr>
                <a:srgbClr val="B1B1B1"/>
              </a:buClr>
              <a:buChar char="–"/>
              <a:defRPr sz="1600">
                <a:solidFill>
                  <a:srgbClr val="494949"/>
                </a:solidFill>
                <a:latin typeface="Arial" pitchFamily="34" charset="0"/>
              </a:defRPr>
            </a:lvl8pPr>
            <a:lvl9pPr marL="3435350" indent="-190500" eaLnBrk="0" fontAlgn="base" hangingPunct="0">
              <a:spcBef>
                <a:spcPct val="0"/>
              </a:spcBef>
              <a:spcAft>
                <a:spcPct val="0"/>
              </a:spcAft>
              <a:buClr>
                <a:srgbClr val="B1B1B1"/>
              </a:buClr>
              <a:buChar char="–"/>
              <a:defRPr sz="1600">
                <a:solidFill>
                  <a:srgbClr val="494949"/>
                </a:solidFill>
                <a:latin typeface="Arial" pitchFamily="34" charset="0"/>
              </a:defRPr>
            </a:lvl9pPr>
          </a:lstStyle>
          <a:p>
            <a:pPr defTabSz="914400"/>
            <a:r>
              <a:rPr lang="en-US" sz="1400">
                <a:solidFill>
                  <a:srgbClr val="00234B"/>
                </a:solidFill>
              </a:rPr>
              <a:t>**</a:t>
            </a:r>
            <a:r>
              <a:rPr lang="en-US" sz="1600" i="1">
                <a:solidFill>
                  <a:srgbClr val="00234B"/>
                </a:solidFill>
              </a:rPr>
              <a:t>No validation on sum of KPI weightings</a:t>
            </a:r>
            <a:endParaRPr lang="en-US" sz="1600" i="1">
              <a:solidFill>
                <a:srgbClr val="514A46"/>
              </a:solidFill>
            </a:endParaRPr>
          </a:p>
        </p:txBody>
      </p:sp>
    </p:spTree>
    <p:extLst>
      <p:ext uri="{BB962C8B-B14F-4D97-AF65-F5344CB8AC3E}">
        <p14:creationId xmlns:p14="http://schemas.microsoft.com/office/powerpoint/2010/main" val="14111639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2">
                                            <p:bg/>
                                          </p:spTgt>
                                        </p:tgtEl>
                                        <p:attrNameLst>
                                          <p:attrName>style.visibility</p:attrName>
                                        </p:attrNameLst>
                                      </p:cBhvr>
                                      <p:to>
                                        <p:strVal val="visible"/>
                                      </p:to>
                                    </p:set>
                                    <p:anim calcmode="lin" valueType="num">
                                      <p:cBhvr additive="base">
                                        <p:cTn id="7" dur="500" fill="hold"/>
                                        <p:tgtEl>
                                          <p:spTgt spid="32">
                                            <p:bg/>
                                          </p:spTgt>
                                        </p:tgtEl>
                                        <p:attrNameLst>
                                          <p:attrName>ppt_x</p:attrName>
                                        </p:attrNameLst>
                                      </p:cBhvr>
                                      <p:tavLst>
                                        <p:tav tm="0">
                                          <p:val>
                                            <p:strVal val="#ppt_x"/>
                                          </p:val>
                                        </p:tav>
                                        <p:tav tm="100000">
                                          <p:val>
                                            <p:strVal val="#ppt_x"/>
                                          </p:val>
                                        </p:tav>
                                      </p:tavLst>
                                    </p:anim>
                                    <p:anim calcmode="lin" valueType="num">
                                      <p:cBhvr additive="base">
                                        <p:cTn id="8" dur="500" fill="hold"/>
                                        <p:tgtEl>
                                          <p:spTgt spid="32">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2">
                                            <p:txEl>
                                              <p:pRg st="0" end="0"/>
                                            </p:txEl>
                                          </p:spTgt>
                                        </p:tgtEl>
                                        <p:attrNameLst>
                                          <p:attrName>style.visibility</p:attrName>
                                        </p:attrNameLst>
                                      </p:cBhvr>
                                      <p:to>
                                        <p:strVal val="visible"/>
                                      </p:to>
                                    </p:set>
                                    <p:anim calcmode="lin" valueType="num">
                                      <p:cBhvr additive="base">
                                        <p:cTn id="11"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2">
                                            <p:txEl>
                                              <p:pRg st="0" end="0"/>
                                            </p:txEl>
                                          </p:spTgt>
                                        </p:tgtEl>
                                        <p:attrNameLst>
                                          <p:attrName>ppt_y</p:attrName>
                                        </p:attrNameLst>
                                      </p:cBhvr>
                                      <p:tavLst>
                                        <p:tav tm="0">
                                          <p:val>
                                            <p:strVal val="1+#ppt_h/2"/>
                                          </p:val>
                                        </p:tav>
                                        <p:tav tm="100000">
                                          <p:val>
                                            <p:strVal val="#ppt_y"/>
                                          </p:val>
                                        </p:tav>
                                      </p:tavLst>
                                    </p:anim>
                                  </p:childTnLst>
                                </p:cTn>
                              </p:par>
                            </p:childTnLst>
                          </p:cTn>
                        </p:par>
                        <p:par>
                          <p:cTn id="13" fill="hold" nodeType="afterGroup">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3"/>
                                        </p:tgtEl>
                                        <p:attrNameLst>
                                          <p:attrName>style.visibility</p:attrName>
                                        </p:attrNameLst>
                                      </p:cBhvr>
                                      <p:to>
                                        <p:strVal val="visible"/>
                                      </p:to>
                                    </p:set>
                                    <p:anim calcmode="lin" valueType="num">
                                      <p:cBhvr additive="base">
                                        <p:cTn id="16" dur="1000" fill="hold"/>
                                        <p:tgtEl>
                                          <p:spTgt spid="33"/>
                                        </p:tgtEl>
                                        <p:attrNameLst>
                                          <p:attrName>ppt_x</p:attrName>
                                        </p:attrNameLst>
                                      </p:cBhvr>
                                      <p:tavLst>
                                        <p:tav tm="0">
                                          <p:val>
                                            <p:strVal val="#ppt_x"/>
                                          </p:val>
                                        </p:tav>
                                        <p:tav tm="100000">
                                          <p:val>
                                            <p:strVal val="#ppt_x"/>
                                          </p:val>
                                        </p:tav>
                                      </p:tavLst>
                                    </p:anim>
                                    <p:anim calcmode="lin" valueType="num">
                                      <p:cBhvr additive="base">
                                        <p:cTn id="17" dur="100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build="allAtOnce" animBg="1"/>
      <p:bldP spid="3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2398">
              <a:defRPr/>
            </a:pPr>
            <a:r>
              <a:rPr lang="en-US" b="1">
                <a:solidFill>
                  <a:schemeClr val="accent5"/>
                </a:solidFill>
                <a:cs typeface="Calibri" pitchFamily="34" charset="0"/>
              </a:rPr>
              <a:t>Mid Year Assessment</a:t>
            </a:r>
            <a:endParaRPr lang="en-US"/>
          </a:p>
        </p:txBody>
      </p:sp>
      <p:sp>
        <p:nvSpPr>
          <p:cNvPr id="101" name="Rounded Rectangle 100"/>
          <p:cNvSpPr/>
          <p:nvPr/>
        </p:nvSpPr>
        <p:spPr>
          <a:xfrm>
            <a:off x="508000" y="1296988"/>
            <a:ext cx="9018588" cy="982662"/>
          </a:xfrm>
          <a:prstGeom prst="roundRect">
            <a:avLst/>
          </a:prstGeom>
          <a:ln w="28575">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marL="342900" indent="-342900" defTabSz="956830">
              <a:lnSpc>
                <a:spcPct val="150000"/>
              </a:lnSpc>
              <a:buClr>
                <a:srgbClr val="ED771A"/>
              </a:buClr>
              <a:buFont typeface="Wingdings" pitchFamily="2" charset="2"/>
              <a:buChar char="§"/>
              <a:defRPr/>
            </a:pPr>
            <a:r>
              <a:rPr lang="en-US" sz="1500">
                <a:solidFill>
                  <a:srgbClr val="00234B"/>
                </a:solidFill>
              </a:rPr>
              <a:t>In line with the global and industry practice there will be enhanced f</a:t>
            </a:r>
            <a:r>
              <a:rPr lang="en-US" sz="1500">
                <a:solidFill>
                  <a:srgbClr val="00234B"/>
                </a:solidFill>
                <a:cs typeface="Calibri" pitchFamily="34" charset="0"/>
              </a:rPr>
              <a:t>ocus on feedback</a:t>
            </a:r>
            <a:endParaRPr lang="en-US" sz="1500">
              <a:solidFill>
                <a:srgbClr val="00234B"/>
              </a:solidFill>
            </a:endParaRPr>
          </a:p>
          <a:p>
            <a:pPr marL="342900" indent="-342900" defTabSz="956830">
              <a:lnSpc>
                <a:spcPct val="150000"/>
              </a:lnSpc>
              <a:buClr>
                <a:srgbClr val="ED771A"/>
              </a:buClr>
              <a:buFont typeface="Wingdings" pitchFamily="2" charset="2"/>
              <a:buChar char="§"/>
              <a:defRPr/>
            </a:pPr>
            <a:r>
              <a:rPr lang="en-US" sz="1500">
                <a:solidFill>
                  <a:srgbClr val="00234B"/>
                </a:solidFill>
                <a:cs typeface="Calibri" pitchFamily="34" charset="0"/>
              </a:rPr>
              <a:t>Alignment to objectives changed or added in the mid year review will be important </a:t>
            </a:r>
          </a:p>
        </p:txBody>
      </p:sp>
      <p:graphicFrame>
        <p:nvGraphicFramePr>
          <p:cNvPr id="7" name="Table 6"/>
          <p:cNvGraphicFramePr>
            <a:graphicFrameLocks noGrp="1"/>
          </p:cNvGraphicFramePr>
          <p:nvPr>
            <p:extLst>
              <p:ext uri="{D42A27DB-BD31-4B8C-83A1-F6EECF244321}">
                <p14:modId xmlns:p14="http://schemas.microsoft.com/office/powerpoint/2010/main" val="1921367243"/>
              </p:ext>
            </p:extLst>
          </p:nvPr>
        </p:nvGraphicFramePr>
        <p:xfrm>
          <a:off x="1812925" y="6278319"/>
          <a:ext cx="7010399" cy="414494"/>
        </p:xfrm>
        <a:graphic>
          <a:graphicData uri="http://schemas.openxmlformats.org/drawingml/2006/table">
            <a:tbl>
              <a:tblPr firstRow="1" bandRow="1">
                <a:tableStyleId>{5C22544A-7EE6-4342-B048-85BDC9FD1C3A}</a:tableStyleId>
              </a:tblPr>
              <a:tblGrid>
                <a:gridCol w="7010399">
                  <a:extLst>
                    <a:ext uri="{9D8B030D-6E8A-4147-A177-3AD203B41FA5}">
                      <a16:colId xmlns:a16="http://schemas.microsoft.com/office/drawing/2014/main" val="20000"/>
                    </a:ext>
                  </a:extLst>
                </a:gridCol>
              </a:tblGrid>
              <a:tr h="414494">
                <a:tc>
                  <a:txBody>
                    <a:bodyPr/>
                    <a:lstStyle/>
                    <a:p>
                      <a:pPr marL="0" marR="0" indent="0" algn="l" defTabSz="913926" rtl="0" eaLnBrk="1" fontAlgn="auto" latinLnBrk="0" hangingPunct="1">
                        <a:lnSpc>
                          <a:spcPct val="100000"/>
                        </a:lnSpc>
                        <a:spcBef>
                          <a:spcPts val="0"/>
                        </a:spcBef>
                        <a:spcAft>
                          <a:spcPts val="0"/>
                        </a:spcAft>
                        <a:buClrTx/>
                        <a:buSzTx/>
                        <a:buFontTx/>
                        <a:buNone/>
                        <a:tabLst/>
                        <a:defRPr/>
                      </a:pPr>
                      <a:r>
                        <a:rPr lang="en-US" sz="1400" b="0" kern="1200">
                          <a:solidFill>
                            <a:schemeClr val="dk1"/>
                          </a:solidFill>
                          <a:latin typeface="+mn-lt"/>
                          <a:ea typeface="Gulim"/>
                          <a:cs typeface="Gulim"/>
                        </a:rPr>
                        <a:t>Both employee &amp; reviewer can upload</a:t>
                      </a:r>
                    </a:p>
                  </a:txBody>
                  <a:tcPr marL="114300" marR="114300" marT="0" marB="0" anchor="ctr">
                    <a:solidFill>
                      <a:srgbClr val="FFCDAB"/>
                    </a:solidFill>
                  </a:tcPr>
                </a:tc>
                <a:extLst>
                  <a:ext uri="{0D108BD9-81ED-4DB2-BD59-A6C34878D82A}">
                    <a16:rowId xmlns:a16="http://schemas.microsoft.com/office/drawing/2014/main" val="10000"/>
                  </a:ext>
                </a:extLst>
              </a:tr>
            </a:tbl>
          </a:graphicData>
        </a:graphic>
      </p:graphicFrame>
      <p:sp>
        <p:nvSpPr>
          <p:cNvPr id="8" name="Flowchart: Decision 7"/>
          <p:cNvSpPr/>
          <p:nvPr/>
        </p:nvSpPr>
        <p:spPr>
          <a:xfrm>
            <a:off x="-158777" y="5507909"/>
            <a:ext cx="3190837" cy="596201"/>
          </a:xfrm>
          <a:prstGeom prst="flowChartDecision">
            <a:avLst/>
          </a:prstGeom>
          <a:solidFill>
            <a:srgbClr val="FF66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anchor="ctr"/>
          <a:lstStyle/>
          <a:p>
            <a:pPr algn="ctr" defTabSz="956830">
              <a:defRPr/>
            </a:pPr>
            <a:r>
              <a:rPr lang="en-US" sz="1400" b="1">
                <a:solidFill>
                  <a:prstClr val="white"/>
                </a:solidFill>
              </a:rPr>
              <a:t>Attachment</a:t>
            </a:r>
          </a:p>
        </p:txBody>
      </p:sp>
      <p:grpSp>
        <p:nvGrpSpPr>
          <p:cNvPr id="3" name="Group 92"/>
          <p:cNvGrpSpPr>
            <a:grpSpLocks/>
          </p:cNvGrpSpPr>
          <p:nvPr/>
        </p:nvGrpSpPr>
        <p:grpSpPr bwMode="auto">
          <a:xfrm>
            <a:off x="558806" y="2374901"/>
            <a:ext cx="8926513" cy="3070225"/>
            <a:chOff x="709684" y="2333787"/>
            <a:chExt cx="8775510" cy="3070726"/>
          </a:xfrm>
        </p:grpSpPr>
        <p:grpSp>
          <p:nvGrpSpPr>
            <p:cNvPr id="31759" name="Group 85"/>
            <p:cNvGrpSpPr>
              <a:grpSpLocks/>
            </p:cNvGrpSpPr>
            <p:nvPr/>
          </p:nvGrpSpPr>
          <p:grpSpPr bwMode="auto">
            <a:xfrm>
              <a:off x="709684" y="2419410"/>
              <a:ext cx="8775510" cy="2915049"/>
              <a:chOff x="166616" y="1219200"/>
              <a:chExt cx="9739384" cy="3971925"/>
            </a:xfrm>
          </p:grpSpPr>
          <p:sp>
            <p:nvSpPr>
              <p:cNvPr id="12" name="Rounded Rectangle 11"/>
              <p:cNvSpPr/>
              <p:nvPr/>
            </p:nvSpPr>
            <p:spPr>
              <a:xfrm>
                <a:off x="5522151" y="1225849"/>
                <a:ext cx="1752847" cy="166150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13" name="Oval 12"/>
              <p:cNvSpPr/>
              <p:nvPr/>
            </p:nvSpPr>
            <p:spPr>
              <a:xfrm>
                <a:off x="6240957" y="1219358"/>
                <a:ext cx="313503" cy="3136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3</a:t>
                </a:r>
              </a:p>
            </p:txBody>
          </p:sp>
          <p:sp>
            <p:nvSpPr>
              <p:cNvPr id="14" name="Rectangle 6"/>
              <p:cNvSpPr>
                <a:spLocks/>
              </p:cNvSpPr>
              <p:nvPr/>
            </p:nvSpPr>
            <p:spPr>
              <a:xfrm>
                <a:off x="5617415" y="2275483"/>
                <a:ext cx="1560587" cy="50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Mid Year Signoff (Employee)</a:t>
                </a:r>
              </a:p>
            </p:txBody>
          </p:sp>
          <p:sp>
            <p:nvSpPr>
              <p:cNvPr id="15" name="Rounded Rectangle 14"/>
              <p:cNvSpPr/>
              <p:nvPr/>
            </p:nvSpPr>
            <p:spPr>
              <a:xfrm>
                <a:off x="3514692" y="1225849"/>
                <a:ext cx="1754578" cy="166150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16" name="Oval 15"/>
              <p:cNvSpPr/>
              <p:nvPr/>
            </p:nvSpPr>
            <p:spPr>
              <a:xfrm>
                <a:off x="4233497" y="1219358"/>
                <a:ext cx="315235" cy="3136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2</a:t>
                </a:r>
              </a:p>
            </p:txBody>
          </p:sp>
          <p:sp>
            <p:nvSpPr>
              <p:cNvPr id="17" name="Rectangle 5"/>
              <p:cNvSpPr/>
              <p:nvPr/>
            </p:nvSpPr>
            <p:spPr>
              <a:xfrm>
                <a:off x="3568385" y="2149654"/>
                <a:ext cx="1647191" cy="754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Mid Year Assessment Signoff (Reviewer)</a:t>
                </a:r>
              </a:p>
            </p:txBody>
          </p:sp>
          <p:grpSp>
            <p:nvGrpSpPr>
              <p:cNvPr id="31767" name="Group 75"/>
              <p:cNvGrpSpPr>
                <a:grpSpLocks/>
              </p:cNvGrpSpPr>
              <p:nvPr/>
            </p:nvGrpSpPr>
            <p:grpSpPr bwMode="auto">
              <a:xfrm>
                <a:off x="4043363" y="1603375"/>
                <a:ext cx="696912" cy="573088"/>
                <a:chOff x="26430288" y="6035675"/>
                <a:chExt cx="763587" cy="627062"/>
              </a:xfrm>
            </p:grpSpPr>
            <p:sp>
              <p:nvSpPr>
                <p:cNvPr id="80" name="Freeform 4129"/>
                <p:cNvSpPr>
                  <a:spLocks/>
                </p:cNvSpPr>
                <p:nvPr/>
              </p:nvSpPr>
              <p:spPr bwMode="auto">
                <a:xfrm>
                  <a:off x="26429858" y="6143370"/>
                  <a:ext cx="404226" cy="518409"/>
                </a:xfrm>
                <a:custGeom>
                  <a:avLst/>
                  <a:gdLst/>
                  <a:ahLst/>
                  <a:cxnLst>
                    <a:cxn ang="0">
                      <a:pos x="71" y="121"/>
                    </a:cxn>
                    <a:cxn ang="0">
                      <a:pos x="3" y="121"/>
                    </a:cxn>
                    <a:cxn ang="0">
                      <a:pos x="0" y="118"/>
                    </a:cxn>
                    <a:cxn ang="0">
                      <a:pos x="0" y="3"/>
                    </a:cxn>
                    <a:cxn ang="0">
                      <a:pos x="3" y="0"/>
                    </a:cxn>
                    <a:cxn ang="0">
                      <a:pos x="91" y="0"/>
                    </a:cxn>
                    <a:cxn ang="0">
                      <a:pos x="94" y="3"/>
                    </a:cxn>
                    <a:cxn ang="0">
                      <a:pos x="94" y="96"/>
                    </a:cxn>
                    <a:cxn ang="0">
                      <a:pos x="71" y="121"/>
                    </a:cxn>
                  </a:cxnLst>
                  <a:rect l="0" t="0" r="r" b="b"/>
                  <a:pathLst>
                    <a:path w="94" h="121">
                      <a:moveTo>
                        <a:pt x="71" y="121"/>
                      </a:moveTo>
                      <a:cubicBezTo>
                        <a:pt x="3" y="121"/>
                        <a:pt x="3" y="121"/>
                        <a:pt x="3" y="121"/>
                      </a:cubicBezTo>
                      <a:cubicBezTo>
                        <a:pt x="1" y="121"/>
                        <a:pt x="0" y="119"/>
                        <a:pt x="0" y="118"/>
                      </a:cubicBezTo>
                      <a:cubicBezTo>
                        <a:pt x="0" y="3"/>
                        <a:pt x="0" y="3"/>
                        <a:pt x="0" y="3"/>
                      </a:cubicBezTo>
                      <a:cubicBezTo>
                        <a:pt x="0" y="1"/>
                        <a:pt x="1" y="0"/>
                        <a:pt x="3" y="0"/>
                      </a:cubicBezTo>
                      <a:cubicBezTo>
                        <a:pt x="91" y="0"/>
                        <a:pt x="91" y="0"/>
                        <a:pt x="91" y="0"/>
                      </a:cubicBezTo>
                      <a:cubicBezTo>
                        <a:pt x="93" y="0"/>
                        <a:pt x="94" y="1"/>
                        <a:pt x="94" y="3"/>
                      </a:cubicBezTo>
                      <a:cubicBezTo>
                        <a:pt x="94" y="96"/>
                        <a:pt x="94" y="96"/>
                        <a:pt x="94" y="96"/>
                      </a:cubicBezTo>
                      <a:lnTo>
                        <a:pt x="71" y="121"/>
                      </a:lnTo>
                      <a:close/>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1" name="Freeform 4130"/>
                <p:cNvSpPr>
                  <a:spLocks/>
                </p:cNvSpPr>
                <p:nvPr/>
              </p:nvSpPr>
              <p:spPr bwMode="auto">
                <a:xfrm>
                  <a:off x="26549418" y="6493711"/>
                  <a:ext cx="161310" cy="89952"/>
                </a:xfrm>
                <a:custGeom>
                  <a:avLst/>
                  <a:gdLst/>
                  <a:ahLst/>
                  <a:cxnLst>
                    <a:cxn ang="0">
                      <a:pos x="0" y="36"/>
                    </a:cxn>
                    <a:cxn ang="0">
                      <a:pos x="24" y="57"/>
                    </a:cxn>
                    <a:cxn ang="0">
                      <a:pos x="100" y="0"/>
                    </a:cxn>
                  </a:cxnLst>
                  <a:rect l="0" t="0" r="r" b="b"/>
                  <a:pathLst>
                    <a:path w="100" h="57">
                      <a:moveTo>
                        <a:pt x="0" y="36"/>
                      </a:moveTo>
                      <a:lnTo>
                        <a:pt x="24" y="57"/>
                      </a:lnTo>
                      <a:lnTo>
                        <a:pt x="100" y="0"/>
                      </a:lnTo>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2" name="Line 4131"/>
                <p:cNvSpPr>
                  <a:spLocks noChangeShapeType="1"/>
                </p:cNvSpPr>
                <p:nvPr/>
              </p:nvSpPr>
              <p:spPr bwMode="auto">
                <a:xfrm>
                  <a:off x="26507667" y="6228588"/>
                  <a:ext cx="220142" cy="2366"/>
                </a:xfrm>
                <a:prstGeom prst="line">
                  <a:avLst/>
                </a:pr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3" name="Line 4132"/>
                <p:cNvSpPr>
                  <a:spLocks noChangeShapeType="1"/>
                </p:cNvSpPr>
                <p:nvPr/>
              </p:nvSpPr>
              <p:spPr bwMode="auto">
                <a:xfrm>
                  <a:off x="26507667" y="6292501"/>
                  <a:ext cx="220142" cy="2368"/>
                </a:xfrm>
                <a:prstGeom prst="line">
                  <a:avLst/>
                </a:pr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4" name="Line 4133"/>
                <p:cNvSpPr>
                  <a:spLocks noChangeShapeType="1"/>
                </p:cNvSpPr>
                <p:nvPr/>
              </p:nvSpPr>
              <p:spPr bwMode="auto">
                <a:xfrm>
                  <a:off x="26507667" y="6361150"/>
                  <a:ext cx="220142" cy="2366"/>
                </a:xfrm>
                <a:prstGeom prst="line">
                  <a:avLst/>
                </a:pr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5" name="Line 4134"/>
                <p:cNvSpPr>
                  <a:spLocks noChangeShapeType="1"/>
                </p:cNvSpPr>
                <p:nvPr/>
              </p:nvSpPr>
              <p:spPr bwMode="auto">
                <a:xfrm>
                  <a:off x="26507667" y="6439266"/>
                  <a:ext cx="129049" cy="0"/>
                </a:xfrm>
                <a:prstGeom prst="line">
                  <a:avLst/>
                </a:pr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6" name="Freeform 4135"/>
                <p:cNvSpPr>
                  <a:spLocks/>
                </p:cNvSpPr>
                <p:nvPr/>
              </p:nvSpPr>
              <p:spPr bwMode="auto">
                <a:xfrm>
                  <a:off x="26729706" y="6543421"/>
                  <a:ext cx="94889" cy="108890"/>
                </a:xfrm>
                <a:custGeom>
                  <a:avLst/>
                  <a:gdLst/>
                  <a:ahLst/>
                  <a:cxnLst>
                    <a:cxn ang="0">
                      <a:pos x="0" y="70"/>
                    </a:cxn>
                    <a:cxn ang="0">
                      <a:pos x="0" y="0"/>
                    </a:cxn>
                    <a:cxn ang="0">
                      <a:pos x="60" y="0"/>
                    </a:cxn>
                  </a:cxnLst>
                  <a:rect l="0" t="0" r="r" b="b"/>
                  <a:pathLst>
                    <a:path w="60" h="70">
                      <a:moveTo>
                        <a:pt x="0" y="70"/>
                      </a:moveTo>
                      <a:lnTo>
                        <a:pt x="0" y="0"/>
                      </a:lnTo>
                      <a:lnTo>
                        <a:pt x="60" y="0"/>
                      </a:lnTo>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7" name="Line 4136"/>
                <p:cNvSpPr>
                  <a:spLocks noChangeShapeType="1"/>
                </p:cNvSpPr>
                <p:nvPr/>
              </p:nvSpPr>
              <p:spPr bwMode="auto">
                <a:xfrm>
                  <a:off x="26532337" y="6143370"/>
                  <a:ext cx="195471" cy="2366"/>
                </a:xfrm>
                <a:prstGeom prst="line">
                  <a:avLst/>
                </a:pr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88" name="Freeform 4137"/>
                <p:cNvSpPr>
                  <a:spLocks/>
                </p:cNvSpPr>
                <p:nvPr/>
              </p:nvSpPr>
              <p:spPr bwMode="auto">
                <a:xfrm>
                  <a:off x="26839776" y="6036847"/>
                  <a:ext cx="354884" cy="518411"/>
                </a:xfrm>
                <a:custGeom>
                  <a:avLst/>
                  <a:gdLst/>
                  <a:ahLst/>
                  <a:cxnLst>
                    <a:cxn ang="0">
                      <a:pos x="83" y="121"/>
                    </a:cxn>
                    <a:cxn ang="0">
                      <a:pos x="48" y="51"/>
                    </a:cxn>
                    <a:cxn ang="0">
                      <a:pos x="60" y="27"/>
                    </a:cxn>
                    <a:cxn ang="0">
                      <a:pos x="38" y="0"/>
                    </a:cxn>
                    <a:cxn ang="0">
                      <a:pos x="16" y="27"/>
                    </a:cxn>
                    <a:cxn ang="0">
                      <a:pos x="28" y="51"/>
                    </a:cxn>
                    <a:cxn ang="0">
                      <a:pos x="0" y="79"/>
                    </a:cxn>
                  </a:cxnLst>
                  <a:rect l="0" t="0" r="r" b="b"/>
                  <a:pathLst>
                    <a:path w="83" h="121">
                      <a:moveTo>
                        <a:pt x="83" y="121"/>
                      </a:moveTo>
                      <a:cubicBezTo>
                        <a:pt x="83" y="87"/>
                        <a:pt x="74" y="59"/>
                        <a:pt x="48" y="51"/>
                      </a:cubicBezTo>
                      <a:cubicBezTo>
                        <a:pt x="53" y="46"/>
                        <a:pt x="60" y="36"/>
                        <a:pt x="60" y="27"/>
                      </a:cubicBezTo>
                      <a:cubicBezTo>
                        <a:pt x="60" y="11"/>
                        <a:pt x="50" y="0"/>
                        <a:pt x="38" y="0"/>
                      </a:cubicBezTo>
                      <a:cubicBezTo>
                        <a:pt x="26" y="0"/>
                        <a:pt x="16" y="11"/>
                        <a:pt x="16" y="27"/>
                      </a:cubicBezTo>
                      <a:cubicBezTo>
                        <a:pt x="16" y="36"/>
                        <a:pt x="23" y="46"/>
                        <a:pt x="28" y="51"/>
                      </a:cubicBezTo>
                      <a:cubicBezTo>
                        <a:pt x="14" y="55"/>
                        <a:pt x="5" y="66"/>
                        <a:pt x="0" y="79"/>
                      </a:cubicBezTo>
                    </a:path>
                  </a:pathLst>
                </a:custGeom>
                <a:noFill/>
                <a:ln w="12700" cap="rnd">
                  <a:solidFill>
                    <a:schemeClr val="accent5"/>
                  </a:solidFill>
                  <a:prstDash val="solid"/>
                  <a:round/>
                  <a:headEnd/>
                  <a:tailEnd/>
                </a:ln>
              </p:spPr>
              <p:txBody>
                <a:bodyPr/>
                <a:lstStyle/>
                <a:p>
                  <a:pPr>
                    <a:defRPr/>
                  </a:pPr>
                  <a:endParaRPr lang="en-US">
                    <a:solidFill>
                      <a:srgbClr val="505150"/>
                    </a:solidFill>
                  </a:endParaRPr>
                </a:p>
              </p:txBody>
            </p:sp>
          </p:grpSp>
          <p:sp>
            <p:nvSpPr>
              <p:cNvPr id="19" name="Rectangle 18"/>
              <p:cNvSpPr>
                <a:spLocks/>
              </p:cNvSpPr>
              <p:nvPr/>
            </p:nvSpPr>
            <p:spPr>
              <a:xfrm>
                <a:off x="1595438" y="4226613"/>
                <a:ext cx="1587501" cy="964512"/>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Enter Mid Year Comments and edit /add Mid Year Objectives</a:t>
                </a:r>
              </a:p>
            </p:txBody>
          </p:sp>
          <p:sp>
            <p:nvSpPr>
              <p:cNvPr id="20" name="Rectangle 19"/>
              <p:cNvSpPr>
                <a:spLocks/>
              </p:cNvSpPr>
              <p:nvPr/>
            </p:nvSpPr>
            <p:spPr>
              <a:xfrm>
                <a:off x="3597275" y="3057523"/>
                <a:ext cx="1587500" cy="908746"/>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Update Mid Year Comments and edit /add Mid Year Objectives</a:t>
                </a:r>
              </a:p>
            </p:txBody>
          </p:sp>
          <p:sp>
            <p:nvSpPr>
              <p:cNvPr id="21" name="Rectangle 20"/>
              <p:cNvSpPr>
                <a:spLocks/>
              </p:cNvSpPr>
              <p:nvPr/>
            </p:nvSpPr>
            <p:spPr>
              <a:xfrm>
                <a:off x="5603875" y="4376738"/>
                <a:ext cx="1587500" cy="814387"/>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Accept Mid Year Comments</a:t>
                </a:r>
              </a:p>
            </p:txBody>
          </p:sp>
          <p:sp>
            <p:nvSpPr>
              <p:cNvPr id="22" name="Rectangle 21"/>
              <p:cNvSpPr>
                <a:spLocks/>
              </p:cNvSpPr>
              <p:nvPr/>
            </p:nvSpPr>
            <p:spPr>
              <a:xfrm>
                <a:off x="7610475" y="4376738"/>
                <a:ext cx="1587500" cy="814387"/>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Mid Year Complete</a:t>
                </a:r>
              </a:p>
            </p:txBody>
          </p:sp>
          <p:cxnSp>
            <p:nvCxnSpPr>
              <p:cNvPr id="23" name="Straight Arrow Connector 44"/>
              <p:cNvCxnSpPr/>
              <p:nvPr/>
            </p:nvCxnSpPr>
            <p:spPr>
              <a:xfrm flipV="1">
                <a:off x="3182136" y="3512578"/>
                <a:ext cx="415695" cy="1196369"/>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Elbow Connector 46"/>
              <p:cNvCxnSpPr/>
              <p:nvPr/>
            </p:nvCxnSpPr>
            <p:spPr>
              <a:xfrm>
                <a:off x="5184400" y="3512578"/>
                <a:ext cx="419159" cy="1272088"/>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7191859" y="4782503"/>
                <a:ext cx="419159" cy="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1783" name="Group 41"/>
              <p:cNvGrpSpPr>
                <a:grpSpLocks/>
              </p:cNvGrpSpPr>
              <p:nvPr/>
            </p:nvGrpSpPr>
            <p:grpSpPr bwMode="auto">
              <a:xfrm>
                <a:off x="227239" y="4386599"/>
                <a:ext cx="1051361" cy="790240"/>
                <a:chOff x="226817" y="4628170"/>
                <a:chExt cx="1051537" cy="790308"/>
              </a:xfrm>
            </p:grpSpPr>
            <p:sp>
              <p:nvSpPr>
                <p:cNvPr id="74" name="Content Placeholder 17"/>
                <p:cNvSpPr txBox="1">
                  <a:spLocks/>
                </p:cNvSpPr>
                <p:nvPr/>
              </p:nvSpPr>
              <p:spPr>
                <a:xfrm>
                  <a:off x="226817" y="4628170"/>
                  <a:ext cx="1051537" cy="251681"/>
                </a:xfrm>
                <a:prstGeom prst="rect">
                  <a:avLst/>
                </a:prstGeom>
              </p:spPr>
              <p:txBody>
                <a:bodyPr lIns="0" tIns="0" rIns="0" bIns="0">
                  <a:spAutoFit/>
                </a:bodyPr>
                <a:lstStyle/>
                <a:p>
                  <a:pPr algn="ctr" defTabSz="914342">
                    <a:buClr>
                      <a:srgbClr val="EC098D"/>
                    </a:buClr>
                    <a:defRPr/>
                  </a:pPr>
                  <a:r>
                    <a:rPr lang="en-GB" sz="1200" b="1">
                      <a:solidFill>
                        <a:srgbClr val="EC098D"/>
                      </a:solidFill>
                    </a:rPr>
                    <a:t>Employee</a:t>
                  </a:r>
                </a:p>
              </p:txBody>
            </p:sp>
            <p:grpSp>
              <p:nvGrpSpPr>
                <p:cNvPr id="31832" name="Group 36"/>
                <p:cNvGrpSpPr>
                  <a:grpSpLocks/>
                </p:cNvGrpSpPr>
                <p:nvPr/>
              </p:nvGrpSpPr>
              <p:grpSpPr bwMode="auto">
                <a:xfrm>
                  <a:off x="552116" y="4951753"/>
                  <a:ext cx="400050" cy="466725"/>
                  <a:chOff x="345028" y="5391214"/>
                  <a:chExt cx="400050" cy="466725"/>
                </a:xfrm>
              </p:grpSpPr>
              <p:sp>
                <p:nvSpPr>
                  <p:cNvPr id="76" name="Oval 3415"/>
                  <p:cNvSpPr>
                    <a:spLocks noChangeArrowheads="1"/>
                  </p:cNvSpPr>
                  <p:nvPr/>
                </p:nvSpPr>
                <p:spPr bwMode="auto">
                  <a:xfrm>
                    <a:off x="461478" y="5392171"/>
                    <a:ext cx="162841" cy="188234"/>
                  </a:xfrm>
                  <a:prstGeom prst="ellipse">
                    <a:avLst/>
                  </a:pr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77" name="Freeform 3416"/>
                  <p:cNvSpPr>
                    <a:spLocks/>
                  </p:cNvSpPr>
                  <p:nvPr/>
                </p:nvSpPr>
                <p:spPr bwMode="auto">
                  <a:xfrm>
                    <a:off x="345411" y="5580405"/>
                    <a:ext cx="400173" cy="276941"/>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78" name="Freeform 3417"/>
                  <p:cNvSpPr>
                    <a:spLocks/>
                  </p:cNvSpPr>
                  <p:nvPr/>
                </p:nvSpPr>
                <p:spPr bwMode="auto">
                  <a:xfrm>
                    <a:off x="629517" y="5703730"/>
                    <a:ext cx="31182" cy="153617"/>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79" name="Freeform 3418"/>
                  <p:cNvSpPr>
                    <a:spLocks/>
                  </p:cNvSpPr>
                  <p:nvPr/>
                </p:nvSpPr>
                <p:spPr bwMode="auto">
                  <a:xfrm>
                    <a:off x="430296" y="5703730"/>
                    <a:ext cx="31182" cy="153617"/>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grpSp>
          </p:grpSp>
          <p:grpSp>
            <p:nvGrpSpPr>
              <p:cNvPr id="31784" name="Group 48"/>
              <p:cNvGrpSpPr>
                <a:grpSpLocks/>
              </p:cNvGrpSpPr>
              <p:nvPr/>
            </p:nvGrpSpPr>
            <p:grpSpPr bwMode="auto">
              <a:xfrm>
                <a:off x="227239" y="2971724"/>
                <a:ext cx="1051361" cy="1012901"/>
                <a:chOff x="226817" y="3339305"/>
                <a:chExt cx="1051537" cy="1013620"/>
              </a:xfrm>
            </p:grpSpPr>
            <p:sp>
              <p:nvSpPr>
                <p:cNvPr id="63" name="Content Placeholder 17"/>
                <p:cNvSpPr txBox="1">
                  <a:spLocks/>
                </p:cNvSpPr>
                <p:nvPr/>
              </p:nvSpPr>
              <p:spPr>
                <a:xfrm>
                  <a:off x="226817" y="3339305"/>
                  <a:ext cx="1051537" cy="503676"/>
                </a:xfrm>
                <a:prstGeom prst="rect">
                  <a:avLst/>
                </a:prstGeom>
              </p:spPr>
              <p:txBody>
                <a:bodyPr lIns="0" tIns="0" rIns="0" bIns="0">
                  <a:spAutoFit/>
                </a:bodyPr>
                <a:lstStyle/>
                <a:p>
                  <a:pPr algn="ctr" defTabSz="914342">
                    <a:buClr>
                      <a:srgbClr val="EC098D"/>
                    </a:buClr>
                    <a:defRPr/>
                  </a:pPr>
                  <a:r>
                    <a:rPr lang="en-GB" sz="1200" b="1">
                      <a:solidFill>
                        <a:srgbClr val="F26531"/>
                      </a:solidFill>
                    </a:rPr>
                    <a:t>Performance Reviewer</a:t>
                  </a:r>
                </a:p>
              </p:txBody>
            </p:sp>
            <p:grpSp>
              <p:nvGrpSpPr>
                <p:cNvPr id="31821" name="Group 152"/>
                <p:cNvGrpSpPr>
                  <a:grpSpLocks/>
                </p:cNvGrpSpPr>
                <p:nvPr/>
              </p:nvGrpSpPr>
              <p:grpSpPr bwMode="auto">
                <a:xfrm>
                  <a:off x="512429" y="3747150"/>
                  <a:ext cx="479424" cy="605775"/>
                  <a:chOff x="2254251" y="3027363"/>
                  <a:chExt cx="644525" cy="814388"/>
                </a:xfrm>
              </p:grpSpPr>
              <p:sp>
                <p:nvSpPr>
                  <p:cNvPr id="65" name="Freeform 29"/>
                  <p:cNvSpPr>
                    <a:spLocks noEditPoints="1"/>
                  </p:cNvSpPr>
                  <p:nvPr/>
                </p:nvSpPr>
                <p:spPr bwMode="auto">
                  <a:xfrm>
                    <a:off x="2431553" y="3026241"/>
                    <a:ext cx="468116" cy="625760"/>
                  </a:xfrm>
                  <a:custGeom>
                    <a:avLst/>
                    <a:gdLst/>
                    <a:ahLst/>
                    <a:cxnLst>
                      <a:cxn ang="0">
                        <a:pos x="0" y="95"/>
                      </a:cxn>
                      <a:cxn ang="0">
                        <a:pos x="6" y="84"/>
                      </a:cxn>
                      <a:cxn ang="0">
                        <a:pos x="37" y="72"/>
                      </a:cxn>
                      <a:cxn ang="0">
                        <a:pos x="50" y="118"/>
                      </a:cxn>
                      <a:cxn ang="0">
                        <a:pos x="53" y="88"/>
                      </a:cxn>
                      <a:cxn ang="0">
                        <a:pos x="57" y="85"/>
                      </a:cxn>
                      <a:cxn ang="0">
                        <a:pos x="61" y="88"/>
                      </a:cxn>
                      <a:cxn ang="0">
                        <a:pos x="64" y="118"/>
                      </a:cxn>
                      <a:cxn ang="0">
                        <a:pos x="78" y="72"/>
                      </a:cxn>
                      <a:cxn ang="0">
                        <a:pos x="108" y="84"/>
                      </a:cxn>
                      <a:cxn ang="0">
                        <a:pos x="115" y="96"/>
                      </a:cxn>
                      <a:cxn ang="0">
                        <a:pos x="125" y="167"/>
                      </a:cxn>
                      <a:cxn ang="0">
                        <a:pos x="60" y="167"/>
                      </a:cxn>
                      <a:cxn ang="0">
                        <a:pos x="57" y="0"/>
                      </a:cxn>
                      <a:cxn ang="0">
                        <a:pos x="83" y="25"/>
                      </a:cxn>
                      <a:cxn ang="0">
                        <a:pos x="57" y="65"/>
                      </a:cxn>
                      <a:cxn ang="0">
                        <a:pos x="31" y="25"/>
                      </a:cxn>
                      <a:cxn ang="0">
                        <a:pos x="57" y="0"/>
                      </a:cxn>
                    </a:cxnLst>
                    <a:rect l="0" t="0" r="r" b="b"/>
                    <a:pathLst>
                      <a:path w="125" h="167">
                        <a:moveTo>
                          <a:pt x="0" y="95"/>
                        </a:moveTo>
                        <a:cubicBezTo>
                          <a:pt x="1" y="91"/>
                          <a:pt x="3" y="87"/>
                          <a:pt x="6" y="84"/>
                        </a:cubicBezTo>
                        <a:cubicBezTo>
                          <a:pt x="7" y="83"/>
                          <a:pt x="34" y="73"/>
                          <a:pt x="37" y="72"/>
                        </a:cubicBezTo>
                        <a:cubicBezTo>
                          <a:pt x="40" y="83"/>
                          <a:pt x="45" y="108"/>
                          <a:pt x="50" y="118"/>
                        </a:cubicBezTo>
                        <a:cubicBezTo>
                          <a:pt x="51" y="114"/>
                          <a:pt x="53" y="93"/>
                          <a:pt x="53" y="88"/>
                        </a:cubicBezTo>
                        <a:cubicBezTo>
                          <a:pt x="54" y="87"/>
                          <a:pt x="56" y="86"/>
                          <a:pt x="57" y="85"/>
                        </a:cubicBezTo>
                        <a:cubicBezTo>
                          <a:pt x="59" y="86"/>
                          <a:pt x="60" y="87"/>
                          <a:pt x="61" y="88"/>
                        </a:cubicBezTo>
                        <a:cubicBezTo>
                          <a:pt x="62" y="93"/>
                          <a:pt x="64" y="114"/>
                          <a:pt x="64" y="118"/>
                        </a:cubicBezTo>
                        <a:cubicBezTo>
                          <a:pt x="69" y="108"/>
                          <a:pt x="75" y="83"/>
                          <a:pt x="78" y="72"/>
                        </a:cubicBezTo>
                        <a:cubicBezTo>
                          <a:pt x="81" y="73"/>
                          <a:pt x="107" y="83"/>
                          <a:pt x="108" y="84"/>
                        </a:cubicBezTo>
                        <a:cubicBezTo>
                          <a:pt x="112" y="88"/>
                          <a:pt x="114" y="92"/>
                          <a:pt x="115" y="96"/>
                        </a:cubicBezTo>
                        <a:cubicBezTo>
                          <a:pt x="125" y="167"/>
                          <a:pt x="125" y="167"/>
                          <a:pt x="125" y="167"/>
                        </a:cubicBezTo>
                        <a:cubicBezTo>
                          <a:pt x="60" y="167"/>
                          <a:pt x="60" y="167"/>
                          <a:pt x="60" y="167"/>
                        </a:cubicBezTo>
                        <a:moveTo>
                          <a:pt x="57" y="0"/>
                        </a:moveTo>
                        <a:cubicBezTo>
                          <a:pt x="73" y="0"/>
                          <a:pt x="83" y="12"/>
                          <a:pt x="83" y="25"/>
                        </a:cubicBezTo>
                        <a:cubicBezTo>
                          <a:pt x="83" y="38"/>
                          <a:pt x="73" y="65"/>
                          <a:pt x="57" y="65"/>
                        </a:cubicBezTo>
                        <a:cubicBezTo>
                          <a:pt x="41" y="65"/>
                          <a:pt x="31" y="38"/>
                          <a:pt x="31" y="25"/>
                        </a:cubicBezTo>
                        <a:cubicBezTo>
                          <a:pt x="31" y="12"/>
                          <a:pt x="41" y="0"/>
                          <a:pt x="57" y="0"/>
                        </a:cubicBezTo>
                        <a:close/>
                      </a:path>
                    </a:pathLst>
                  </a:cu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66" name="Line 30"/>
                  <p:cNvSpPr>
                    <a:spLocks noChangeShapeType="1"/>
                  </p:cNvSpPr>
                  <p:nvPr/>
                </p:nvSpPr>
                <p:spPr bwMode="auto">
                  <a:xfrm>
                    <a:off x="2592250" y="3544311"/>
                    <a:ext cx="0" cy="2911"/>
                  </a:xfrm>
                  <a:prstGeom prst="line">
                    <a:avLst/>
                  </a:pr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67" name="Freeform 31"/>
                  <p:cNvSpPr>
                    <a:spLocks/>
                  </p:cNvSpPr>
                  <p:nvPr/>
                </p:nvSpPr>
                <p:spPr bwMode="auto">
                  <a:xfrm>
                    <a:off x="2254555" y="3544311"/>
                    <a:ext cx="337696" cy="296872"/>
                  </a:xfrm>
                  <a:custGeom>
                    <a:avLst/>
                    <a:gdLst/>
                    <a:ahLst/>
                    <a:cxnLst>
                      <a:cxn ang="0">
                        <a:pos x="0" y="135"/>
                      </a:cxn>
                      <a:cxn ang="0">
                        <a:pos x="0" y="187"/>
                      </a:cxn>
                      <a:cxn ang="0">
                        <a:pos x="212" y="187"/>
                      </a:cxn>
                      <a:cxn ang="0">
                        <a:pos x="212" y="0"/>
                      </a:cxn>
                    </a:cxnLst>
                    <a:rect l="0" t="0" r="r" b="b"/>
                    <a:pathLst>
                      <a:path w="212" h="187">
                        <a:moveTo>
                          <a:pt x="0" y="135"/>
                        </a:moveTo>
                        <a:lnTo>
                          <a:pt x="0" y="187"/>
                        </a:lnTo>
                        <a:lnTo>
                          <a:pt x="212" y="187"/>
                        </a:lnTo>
                        <a:lnTo>
                          <a:pt x="212" y="0"/>
                        </a:lnTo>
                      </a:path>
                    </a:pathLst>
                  </a:cu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68" name="Freeform 32"/>
                  <p:cNvSpPr>
                    <a:spLocks/>
                  </p:cNvSpPr>
                  <p:nvPr/>
                </p:nvSpPr>
                <p:spPr bwMode="auto">
                  <a:xfrm>
                    <a:off x="2254555" y="3419160"/>
                    <a:ext cx="337696" cy="212466"/>
                  </a:xfrm>
                  <a:custGeom>
                    <a:avLst/>
                    <a:gdLst/>
                    <a:ahLst/>
                    <a:cxnLst>
                      <a:cxn ang="0">
                        <a:pos x="165" y="0"/>
                      </a:cxn>
                      <a:cxn ang="0">
                        <a:pos x="165" y="74"/>
                      </a:cxn>
                      <a:cxn ang="0">
                        <a:pos x="212" y="78"/>
                      </a:cxn>
                      <a:cxn ang="0">
                        <a:pos x="165" y="0"/>
                      </a:cxn>
                      <a:cxn ang="0">
                        <a:pos x="0" y="0"/>
                      </a:cxn>
                      <a:cxn ang="0">
                        <a:pos x="0" y="133"/>
                      </a:cxn>
                    </a:cxnLst>
                    <a:rect l="0" t="0" r="r" b="b"/>
                    <a:pathLst>
                      <a:path w="212" h="133">
                        <a:moveTo>
                          <a:pt x="165" y="0"/>
                        </a:moveTo>
                        <a:lnTo>
                          <a:pt x="165" y="74"/>
                        </a:lnTo>
                        <a:lnTo>
                          <a:pt x="212" y="78"/>
                        </a:lnTo>
                        <a:lnTo>
                          <a:pt x="165" y="0"/>
                        </a:lnTo>
                        <a:lnTo>
                          <a:pt x="0" y="0"/>
                        </a:lnTo>
                        <a:lnTo>
                          <a:pt x="0" y="133"/>
                        </a:lnTo>
                      </a:path>
                    </a:pathLst>
                  </a:cu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69" name="Freeform 33"/>
                  <p:cNvSpPr>
                    <a:spLocks/>
                  </p:cNvSpPr>
                  <p:nvPr/>
                </p:nvSpPr>
                <p:spPr bwMode="auto">
                  <a:xfrm>
                    <a:off x="2254555" y="3553043"/>
                    <a:ext cx="333038" cy="64031"/>
                  </a:xfrm>
                  <a:custGeom>
                    <a:avLst/>
                    <a:gdLst/>
                    <a:ahLst/>
                    <a:cxnLst>
                      <a:cxn ang="0">
                        <a:pos x="0" y="7"/>
                      </a:cxn>
                      <a:cxn ang="0">
                        <a:pos x="15" y="7"/>
                      </a:cxn>
                      <a:cxn ang="0">
                        <a:pos x="24" y="17"/>
                      </a:cxn>
                      <a:cxn ang="0">
                        <a:pos x="32" y="7"/>
                      </a:cxn>
                      <a:cxn ang="0">
                        <a:pos x="82" y="7"/>
                      </a:cxn>
                      <a:cxn ang="0">
                        <a:pos x="89" y="0"/>
                      </a:cxn>
                    </a:cxnLst>
                    <a:rect l="0" t="0" r="r" b="b"/>
                    <a:pathLst>
                      <a:path w="89" h="17">
                        <a:moveTo>
                          <a:pt x="0" y="7"/>
                        </a:moveTo>
                        <a:cubicBezTo>
                          <a:pt x="15" y="7"/>
                          <a:pt x="15" y="7"/>
                          <a:pt x="15" y="7"/>
                        </a:cubicBezTo>
                        <a:cubicBezTo>
                          <a:pt x="15" y="7"/>
                          <a:pt x="23" y="7"/>
                          <a:pt x="24" y="17"/>
                        </a:cubicBezTo>
                        <a:cubicBezTo>
                          <a:pt x="24" y="17"/>
                          <a:pt x="26" y="7"/>
                          <a:pt x="32" y="7"/>
                        </a:cubicBezTo>
                        <a:cubicBezTo>
                          <a:pt x="38" y="7"/>
                          <a:pt x="82" y="7"/>
                          <a:pt x="82" y="7"/>
                        </a:cubicBezTo>
                        <a:cubicBezTo>
                          <a:pt x="82" y="7"/>
                          <a:pt x="89" y="6"/>
                          <a:pt x="89" y="0"/>
                        </a:cubicBezTo>
                      </a:path>
                    </a:pathLst>
                  </a:cu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70" name="Line 34"/>
                  <p:cNvSpPr>
                    <a:spLocks noChangeShapeType="1"/>
                  </p:cNvSpPr>
                  <p:nvPr/>
                </p:nvSpPr>
                <p:spPr bwMode="auto">
                  <a:xfrm>
                    <a:off x="2357028" y="3643268"/>
                    <a:ext cx="193302" cy="0"/>
                  </a:xfrm>
                  <a:prstGeom prst="line">
                    <a:avLst/>
                  </a:pr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71" name="Line 35"/>
                  <p:cNvSpPr>
                    <a:spLocks noChangeShapeType="1"/>
                  </p:cNvSpPr>
                  <p:nvPr/>
                </p:nvSpPr>
                <p:spPr bwMode="auto">
                  <a:xfrm>
                    <a:off x="2357028" y="3689836"/>
                    <a:ext cx="193302" cy="2911"/>
                  </a:xfrm>
                  <a:prstGeom prst="line">
                    <a:avLst/>
                  </a:pr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72" name="Line 36"/>
                  <p:cNvSpPr>
                    <a:spLocks noChangeShapeType="1"/>
                  </p:cNvSpPr>
                  <p:nvPr/>
                </p:nvSpPr>
                <p:spPr bwMode="auto">
                  <a:xfrm>
                    <a:off x="2357028" y="3739316"/>
                    <a:ext cx="193302" cy="0"/>
                  </a:xfrm>
                  <a:prstGeom prst="line">
                    <a:avLst/>
                  </a:pr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sp>
                <p:nvSpPr>
                  <p:cNvPr id="73" name="Line 37"/>
                  <p:cNvSpPr>
                    <a:spLocks noChangeShapeType="1"/>
                  </p:cNvSpPr>
                  <p:nvPr/>
                </p:nvSpPr>
                <p:spPr bwMode="auto">
                  <a:xfrm>
                    <a:off x="2357028" y="3788794"/>
                    <a:ext cx="193302" cy="0"/>
                  </a:xfrm>
                  <a:prstGeom prst="line">
                    <a:avLst/>
                  </a:prstGeom>
                  <a:noFill/>
                  <a:ln w="12700" cap="rnd">
                    <a:solidFill>
                      <a:schemeClr val="accent4">
                        <a:lumMod val="75000"/>
                      </a:schemeClr>
                    </a:solidFill>
                    <a:prstDash val="solid"/>
                    <a:round/>
                    <a:headEnd/>
                    <a:tailEnd/>
                  </a:ln>
                </p:spPr>
                <p:txBody>
                  <a:bodyPr/>
                  <a:lstStyle/>
                  <a:p>
                    <a:pPr algn="ctr">
                      <a:defRPr/>
                    </a:pPr>
                    <a:endParaRPr lang="en-US">
                      <a:solidFill>
                        <a:srgbClr val="505150"/>
                      </a:solidFill>
                    </a:endParaRPr>
                  </a:p>
                </p:txBody>
              </p:sp>
            </p:grpSp>
          </p:grpSp>
          <p:grpSp>
            <p:nvGrpSpPr>
              <p:cNvPr id="31785" name="Group 84"/>
              <p:cNvGrpSpPr>
                <a:grpSpLocks/>
              </p:cNvGrpSpPr>
              <p:nvPr/>
            </p:nvGrpSpPr>
            <p:grpSpPr bwMode="auto">
              <a:xfrm>
                <a:off x="7527925" y="1219200"/>
                <a:ext cx="1754188" cy="1668338"/>
                <a:chOff x="1507524" y="1317797"/>
                <a:chExt cx="1754660" cy="1668150"/>
              </a:xfrm>
            </p:grpSpPr>
            <p:sp>
              <p:nvSpPr>
                <p:cNvPr id="61" name="Rounded Rectangle 60"/>
                <p:cNvSpPr/>
                <p:nvPr/>
              </p:nvSpPr>
              <p:spPr>
                <a:xfrm>
                  <a:off x="1507477" y="1326608"/>
                  <a:ext cx="1755051" cy="165915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62" name="Oval 61"/>
                <p:cNvSpPr/>
                <p:nvPr/>
              </p:nvSpPr>
              <p:spPr>
                <a:xfrm>
                  <a:off x="2228208" y="1317955"/>
                  <a:ext cx="313588" cy="3136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4</a:t>
                  </a:r>
                </a:p>
              </p:txBody>
            </p:sp>
          </p:grpSp>
          <p:sp>
            <p:nvSpPr>
              <p:cNvPr id="29" name="Rectangle 28"/>
              <p:cNvSpPr>
                <a:spLocks/>
              </p:cNvSpPr>
              <p:nvPr/>
            </p:nvSpPr>
            <p:spPr>
              <a:xfrm>
                <a:off x="7623141" y="2309369"/>
                <a:ext cx="1562320" cy="25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Mid Year Complete</a:t>
                </a:r>
              </a:p>
            </p:txBody>
          </p:sp>
          <p:cxnSp>
            <p:nvCxnSpPr>
              <p:cNvPr id="30" name="Straight Connector 29"/>
              <p:cNvCxnSpPr/>
              <p:nvPr/>
            </p:nvCxnSpPr>
            <p:spPr>
              <a:xfrm flipV="1">
                <a:off x="166616" y="4072903"/>
                <a:ext cx="9739384" cy="432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1788" name="Group 65"/>
              <p:cNvGrpSpPr>
                <a:grpSpLocks/>
              </p:cNvGrpSpPr>
              <p:nvPr/>
            </p:nvGrpSpPr>
            <p:grpSpPr bwMode="auto">
              <a:xfrm>
                <a:off x="1508963" y="1219358"/>
                <a:ext cx="1752846" cy="1667995"/>
                <a:chOff x="1508362" y="1218756"/>
                <a:chExt cx="1753318" cy="1667808"/>
              </a:xfrm>
            </p:grpSpPr>
            <p:sp>
              <p:nvSpPr>
                <p:cNvPr id="52" name="Rounded Rectangle 51"/>
                <p:cNvSpPr/>
                <p:nvPr/>
              </p:nvSpPr>
              <p:spPr>
                <a:xfrm>
                  <a:off x="1508362" y="1227409"/>
                  <a:ext cx="1753318" cy="1659155"/>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53" name="Oval 52"/>
                <p:cNvSpPr/>
                <p:nvPr/>
              </p:nvSpPr>
              <p:spPr>
                <a:xfrm>
                  <a:off x="2229094" y="1218756"/>
                  <a:ext cx="311855" cy="3136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1</a:t>
                  </a:r>
                </a:p>
              </p:txBody>
            </p:sp>
            <p:sp>
              <p:nvSpPr>
                <p:cNvPr id="54" name="Rectangle 53"/>
                <p:cNvSpPr/>
                <p:nvPr/>
              </p:nvSpPr>
              <p:spPr>
                <a:xfrm>
                  <a:off x="1517024" y="2133729"/>
                  <a:ext cx="1735991" cy="68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lnSpc>
                      <a:spcPts val="1300"/>
                    </a:lnSpc>
                    <a:defRPr/>
                  </a:pPr>
                  <a:r>
                    <a:rPr lang="en-US" sz="1200" b="1">
                      <a:solidFill>
                        <a:srgbClr val="505150"/>
                      </a:solidFill>
                    </a:rPr>
                    <a:t>Mid Year Self Assessment (Employee)</a:t>
                  </a:r>
                </a:p>
              </p:txBody>
            </p:sp>
            <p:grpSp>
              <p:nvGrpSpPr>
                <p:cNvPr id="31812" name="Group 102"/>
                <p:cNvGrpSpPr>
                  <a:grpSpLocks/>
                </p:cNvGrpSpPr>
                <p:nvPr/>
              </p:nvGrpSpPr>
              <p:grpSpPr bwMode="auto">
                <a:xfrm>
                  <a:off x="2094715" y="1549899"/>
                  <a:ext cx="580276" cy="632722"/>
                  <a:chOff x="2094716" y="1549899"/>
                  <a:chExt cx="580276" cy="632722"/>
                </a:xfrm>
              </p:grpSpPr>
              <p:sp>
                <p:nvSpPr>
                  <p:cNvPr id="56" name="Freeform 257"/>
                  <p:cNvSpPr>
                    <a:spLocks/>
                  </p:cNvSpPr>
                  <p:nvPr/>
                </p:nvSpPr>
                <p:spPr bwMode="auto">
                  <a:xfrm>
                    <a:off x="2102620" y="1686001"/>
                    <a:ext cx="505898" cy="497530"/>
                  </a:xfrm>
                  <a:custGeom>
                    <a:avLst/>
                    <a:gdLst/>
                    <a:ahLst/>
                    <a:cxnLst>
                      <a:cxn ang="0">
                        <a:pos x="130" y="273"/>
                      </a:cxn>
                      <a:cxn ang="0">
                        <a:pos x="147" y="258"/>
                      </a:cxn>
                      <a:cxn ang="0">
                        <a:pos x="162" y="175"/>
                      </a:cxn>
                      <a:cxn ang="0">
                        <a:pos x="166" y="219"/>
                      </a:cxn>
                      <a:cxn ang="0">
                        <a:pos x="170" y="270"/>
                      </a:cxn>
                      <a:cxn ang="0">
                        <a:pos x="188" y="270"/>
                      </a:cxn>
                      <a:cxn ang="0">
                        <a:pos x="179" y="171"/>
                      </a:cxn>
                      <a:cxn ang="0">
                        <a:pos x="243" y="171"/>
                      </a:cxn>
                      <a:cxn ang="0">
                        <a:pos x="258" y="163"/>
                      </a:cxn>
                      <a:cxn ang="0">
                        <a:pos x="276" y="135"/>
                      </a:cxn>
                      <a:cxn ang="0">
                        <a:pos x="276" y="39"/>
                      </a:cxn>
                      <a:cxn ang="0">
                        <a:pos x="233" y="8"/>
                      </a:cxn>
                      <a:cxn ang="0">
                        <a:pos x="212" y="41"/>
                      </a:cxn>
                      <a:cxn ang="0">
                        <a:pos x="214" y="40"/>
                      </a:cxn>
                      <a:cxn ang="0">
                        <a:pos x="233" y="27"/>
                      </a:cxn>
                      <a:cxn ang="0">
                        <a:pos x="233" y="27"/>
                      </a:cxn>
                      <a:cxn ang="0">
                        <a:pos x="233" y="27"/>
                      </a:cxn>
                      <a:cxn ang="0">
                        <a:pos x="233" y="27"/>
                      </a:cxn>
                      <a:cxn ang="0">
                        <a:pos x="250" y="24"/>
                      </a:cxn>
                      <a:cxn ang="0">
                        <a:pos x="253" y="42"/>
                      </a:cxn>
                      <a:cxn ang="0">
                        <a:pos x="231" y="61"/>
                      </a:cxn>
                      <a:cxn ang="0">
                        <a:pos x="216" y="68"/>
                      </a:cxn>
                      <a:cxn ang="0">
                        <a:pos x="213" y="122"/>
                      </a:cxn>
                      <a:cxn ang="0">
                        <a:pos x="213" y="135"/>
                      </a:cxn>
                      <a:cxn ang="0">
                        <a:pos x="175" y="135"/>
                      </a:cxn>
                      <a:cxn ang="0">
                        <a:pos x="172" y="127"/>
                      </a:cxn>
                      <a:cxn ang="0">
                        <a:pos x="178" y="127"/>
                      </a:cxn>
                      <a:cxn ang="0">
                        <a:pos x="183" y="122"/>
                      </a:cxn>
                      <a:cxn ang="0">
                        <a:pos x="183" y="106"/>
                      </a:cxn>
                      <a:cxn ang="0">
                        <a:pos x="178" y="101"/>
                      </a:cxn>
                      <a:cxn ang="0">
                        <a:pos x="10" y="101"/>
                      </a:cxn>
                      <a:cxn ang="0">
                        <a:pos x="5" y="106"/>
                      </a:cxn>
                      <a:cxn ang="0">
                        <a:pos x="5" y="122"/>
                      </a:cxn>
                      <a:cxn ang="0">
                        <a:pos x="10" y="127"/>
                      </a:cxn>
                      <a:cxn ang="0">
                        <a:pos x="16" y="127"/>
                      </a:cxn>
                      <a:cxn ang="0">
                        <a:pos x="12" y="141"/>
                      </a:cxn>
                      <a:cxn ang="0">
                        <a:pos x="0" y="270"/>
                      </a:cxn>
                      <a:cxn ang="0">
                        <a:pos x="18" y="270"/>
                      </a:cxn>
                      <a:cxn ang="0">
                        <a:pos x="22" y="219"/>
                      </a:cxn>
                      <a:cxn ang="0">
                        <a:pos x="29" y="143"/>
                      </a:cxn>
                      <a:cxn ang="0">
                        <a:pos x="33" y="133"/>
                      </a:cxn>
                      <a:cxn ang="0">
                        <a:pos x="43" y="127"/>
                      </a:cxn>
                      <a:cxn ang="0">
                        <a:pos x="145" y="127"/>
                      </a:cxn>
                      <a:cxn ang="0">
                        <a:pos x="155" y="133"/>
                      </a:cxn>
                      <a:cxn ang="0">
                        <a:pos x="156" y="135"/>
                      </a:cxn>
                      <a:cxn ang="0">
                        <a:pos x="148" y="135"/>
                      </a:cxn>
                      <a:cxn ang="0">
                        <a:pos x="131" y="150"/>
                      </a:cxn>
                      <a:cxn ang="0">
                        <a:pos x="112" y="252"/>
                      </a:cxn>
                    </a:cxnLst>
                    <a:rect l="0" t="0" r="r" b="b"/>
                    <a:pathLst>
                      <a:path w="283" h="273">
                        <a:moveTo>
                          <a:pt x="130" y="273"/>
                        </a:moveTo>
                        <a:cubicBezTo>
                          <a:pt x="138" y="273"/>
                          <a:pt x="146" y="267"/>
                          <a:pt x="147" y="258"/>
                        </a:cubicBezTo>
                        <a:cubicBezTo>
                          <a:pt x="162" y="175"/>
                          <a:pt x="162" y="175"/>
                          <a:pt x="162" y="175"/>
                        </a:cubicBezTo>
                        <a:cubicBezTo>
                          <a:pt x="163" y="189"/>
                          <a:pt x="165" y="203"/>
                          <a:pt x="166" y="219"/>
                        </a:cubicBezTo>
                        <a:cubicBezTo>
                          <a:pt x="168" y="241"/>
                          <a:pt x="169" y="260"/>
                          <a:pt x="170" y="270"/>
                        </a:cubicBezTo>
                        <a:cubicBezTo>
                          <a:pt x="188" y="270"/>
                          <a:pt x="188" y="270"/>
                          <a:pt x="188" y="270"/>
                        </a:cubicBezTo>
                        <a:cubicBezTo>
                          <a:pt x="186" y="254"/>
                          <a:pt x="182" y="206"/>
                          <a:pt x="179" y="171"/>
                        </a:cubicBezTo>
                        <a:cubicBezTo>
                          <a:pt x="243" y="171"/>
                          <a:pt x="243" y="171"/>
                          <a:pt x="243" y="171"/>
                        </a:cubicBezTo>
                        <a:cubicBezTo>
                          <a:pt x="249" y="171"/>
                          <a:pt x="255" y="168"/>
                          <a:pt x="258" y="163"/>
                        </a:cubicBezTo>
                        <a:cubicBezTo>
                          <a:pt x="266" y="158"/>
                          <a:pt x="273" y="148"/>
                          <a:pt x="276" y="135"/>
                        </a:cubicBezTo>
                        <a:cubicBezTo>
                          <a:pt x="283" y="103"/>
                          <a:pt x="283" y="70"/>
                          <a:pt x="276" y="39"/>
                        </a:cubicBezTo>
                        <a:cubicBezTo>
                          <a:pt x="271" y="14"/>
                          <a:pt x="249" y="0"/>
                          <a:pt x="233" y="8"/>
                        </a:cubicBezTo>
                        <a:cubicBezTo>
                          <a:pt x="220" y="14"/>
                          <a:pt x="213" y="28"/>
                          <a:pt x="212" y="41"/>
                        </a:cubicBezTo>
                        <a:cubicBezTo>
                          <a:pt x="213" y="41"/>
                          <a:pt x="214" y="41"/>
                          <a:pt x="214" y="40"/>
                        </a:cubicBezTo>
                        <a:cubicBezTo>
                          <a:pt x="226" y="34"/>
                          <a:pt x="231" y="28"/>
                          <a:pt x="233" y="27"/>
                        </a:cubicBezTo>
                        <a:cubicBezTo>
                          <a:pt x="233" y="27"/>
                          <a:pt x="233" y="27"/>
                          <a:pt x="233" y="27"/>
                        </a:cubicBezTo>
                        <a:cubicBezTo>
                          <a:pt x="233" y="27"/>
                          <a:pt x="233" y="27"/>
                          <a:pt x="233" y="27"/>
                        </a:cubicBezTo>
                        <a:cubicBezTo>
                          <a:pt x="233" y="27"/>
                          <a:pt x="233" y="27"/>
                          <a:pt x="233" y="27"/>
                        </a:cubicBezTo>
                        <a:cubicBezTo>
                          <a:pt x="237" y="21"/>
                          <a:pt x="245" y="20"/>
                          <a:pt x="250" y="24"/>
                        </a:cubicBezTo>
                        <a:cubicBezTo>
                          <a:pt x="256" y="28"/>
                          <a:pt x="257" y="36"/>
                          <a:pt x="253" y="42"/>
                        </a:cubicBezTo>
                        <a:cubicBezTo>
                          <a:pt x="253" y="43"/>
                          <a:pt x="246" y="52"/>
                          <a:pt x="231" y="61"/>
                        </a:cubicBezTo>
                        <a:cubicBezTo>
                          <a:pt x="226" y="63"/>
                          <a:pt x="221" y="66"/>
                          <a:pt x="216" y="68"/>
                        </a:cubicBezTo>
                        <a:cubicBezTo>
                          <a:pt x="218" y="86"/>
                          <a:pt x="217" y="104"/>
                          <a:pt x="213" y="122"/>
                        </a:cubicBezTo>
                        <a:cubicBezTo>
                          <a:pt x="212" y="126"/>
                          <a:pt x="212" y="131"/>
                          <a:pt x="213" y="135"/>
                        </a:cubicBezTo>
                        <a:cubicBezTo>
                          <a:pt x="175" y="135"/>
                          <a:pt x="175" y="135"/>
                          <a:pt x="175" y="135"/>
                        </a:cubicBezTo>
                        <a:cubicBezTo>
                          <a:pt x="175" y="132"/>
                          <a:pt x="174" y="129"/>
                          <a:pt x="172" y="127"/>
                        </a:cubicBezTo>
                        <a:cubicBezTo>
                          <a:pt x="178" y="127"/>
                          <a:pt x="178" y="127"/>
                          <a:pt x="178" y="127"/>
                        </a:cubicBezTo>
                        <a:cubicBezTo>
                          <a:pt x="181" y="127"/>
                          <a:pt x="183" y="125"/>
                          <a:pt x="183" y="122"/>
                        </a:cubicBezTo>
                        <a:cubicBezTo>
                          <a:pt x="183" y="106"/>
                          <a:pt x="183" y="106"/>
                          <a:pt x="183" y="106"/>
                        </a:cubicBezTo>
                        <a:cubicBezTo>
                          <a:pt x="183" y="103"/>
                          <a:pt x="181" y="101"/>
                          <a:pt x="178" y="101"/>
                        </a:cubicBezTo>
                        <a:cubicBezTo>
                          <a:pt x="10" y="101"/>
                          <a:pt x="10" y="101"/>
                          <a:pt x="10" y="101"/>
                        </a:cubicBezTo>
                        <a:cubicBezTo>
                          <a:pt x="7" y="101"/>
                          <a:pt x="5" y="103"/>
                          <a:pt x="5" y="106"/>
                        </a:cubicBezTo>
                        <a:cubicBezTo>
                          <a:pt x="5" y="122"/>
                          <a:pt x="5" y="122"/>
                          <a:pt x="5" y="122"/>
                        </a:cubicBezTo>
                        <a:cubicBezTo>
                          <a:pt x="5" y="125"/>
                          <a:pt x="7" y="127"/>
                          <a:pt x="10" y="127"/>
                        </a:cubicBezTo>
                        <a:cubicBezTo>
                          <a:pt x="16" y="127"/>
                          <a:pt x="16" y="127"/>
                          <a:pt x="16" y="127"/>
                        </a:cubicBezTo>
                        <a:cubicBezTo>
                          <a:pt x="14" y="131"/>
                          <a:pt x="12" y="136"/>
                          <a:pt x="12" y="141"/>
                        </a:cubicBezTo>
                        <a:cubicBezTo>
                          <a:pt x="9" y="170"/>
                          <a:pt x="2" y="248"/>
                          <a:pt x="0" y="270"/>
                        </a:cubicBezTo>
                        <a:cubicBezTo>
                          <a:pt x="18" y="270"/>
                          <a:pt x="18" y="270"/>
                          <a:pt x="18" y="270"/>
                        </a:cubicBezTo>
                        <a:cubicBezTo>
                          <a:pt x="19" y="260"/>
                          <a:pt x="21" y="241"/>
                          <a:pt x="22" y="219"/>
                        </a:cubicBezTo>
                        <a:cubicBezTo>
                          <a:pt x="25" y="188"/>
                          <a:pt x="28" y="159"/>
                          <a:pt x="29" y="143"/>
                        </a:cubicBezTo>
                        <a:cubicBezTo>
                          <a:pt x="30" y="138"/>
                          <a:pt x="31" y="136"/>
                          <a:pt x="33" y="133"/>
                        </a:cubicBezTo>
                        <a:cubicBezTo>
                          <a:pt x="35" y="131"/>
                          <a:pt x="39" y="129"/>
                          <a:pt x="43" y="127"/>
                        </a:cubicBezTo>
                        <a:cubicBezTo>
                          <a:pt x="145" y="127"/>
                          <a:pt x="145" y="127"/>
                          <a:pt x="145" y="127"/>
                        </a:cubicBezTo>
                        <a:cubicBezTo>
                          <a:pt x="150" y="129"/>
                          <a:pt x="153" y="131"/>
                          <a:pt x="155" y="133"/>
                        </a:cubicBezTo>
                        <a:cubicBezTo>
                          <a:pt x="156" y="134"/>
                          <a:pt x="156" y="135"/>
                          <a:pt x="156" y="135"/>
                        </a:cubicBezTo>
                        <a:cubicBezTo>
                          <a:pt x="148" y="135"/>
                          <a:pt x="148" y="135"/>
                          <a:pt x="148" y="135"/>
                        </a:cubicBezTo>
                        <a:cubicBezTo>
                          <a:pt x="140" y="135"/>
                          <a:pt x="133" y="141"/>
                          <a:pt x="131" y="150"/>
                        </a:cubicBezTo>
                        <a:cubicBezTo>
                          <a:pt x="112" y="252"/>
                          <a:pt x="112" y="252"/>
                          <a:pt x="112" y="252"/>
                        </a:cubicBezTo>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57" name="Freeform 258"/>
                  <p:cNvSpPr>
                    <a:spLocks/>
                  </p:cNvSpPr>
                  <p:nvPr/>
                </p:nvSpPr>
                <p:spPr bwMode="auto">
                  <a:xfrm>
                    <a:off x="2156328" y="1660043"/>
                    <a:ext cx="239089" cy="203338"/>
                  </a:xfrm>
                  <a:custGeom>
                    <a:avLst/>
                    <a:gdLst/>
                    <a:ahLst/>
                    <a:cxnLst>
                      <a:cxn ang="0">
                        <a:pos x="28" y="112"/>
                      </a:cxn>
                      <a:cxn ang="0">
                        <a:pos x="129" y="112"/>
                      </a:cxn>
                      <a:cxn ang="0">
                        <a:pos x="132" y="109"/>
                      </a:cxn>
                      <a:cxn ang="0">
                        <a:pos x="132" y="103"/>
                      </a:cxn>
                      <a:cxn ang="0">
                        <a:pos x="129" y="99"/>
                      </a:cxn>
                      <a:cxn ang="0">
                        <a:pos x="46" y="99"/>
                      </a:cxn>
                      <a:cxn ang="0">
                        <a:pos x="46" y="98"/>
                      </a:cxn>
                      <a:cxn ang="0">
                        <a:pos x="13" y="3"/>
                      </a:cxn>
                      <a:cxn ang="0">
                        <a:pos x="8" y="0"/>
                      </a:cxn>
                      <a:cxn ang="0">
                        <a:pos x="3" y="2"/>
                      </a:cxn>
                      <a:cxn ang="0">
                        <a:pos x="0" y="7"/>
                      </a:cxn>
                      <a:cxn ang="0">
                        <a:pos x="32" y="99"/>
                      </a:cxn>
                      <a:cxn ang="0">
                        <a:pos x="28" y="99"/>
                      </a:cxn>
                    </a:cxnLst>
                    <a:rect l="0" t="0" r="r" b="b"/>
                    <a:pathLst>
                      <a:path w="132" h="112">
                        <a:moveTo>
                          <a:pt x="28" y="112"/>
                        </a:moveTo>
                        <a:cubicBezTo>
                          <a:pt x="129" y="112"/>
                          <a:pt x="129" y="112"/>
                          <a:pt x="129" y="112"/>
                        </a:cubicBezTo>
                        <a:cubicBezTo>
                          <a:pt x="131" y="112"/>
                          <a:pt x="132" y="111"/>
                          <a:pt x="132" y="109"/>
                        </a:cubicBezTo>
                        <a:cubicBezTo>
                          <a:pt x="132" y="103"/>
                          <a:pt x="132" y="103"/>
                          <a:pt x="132" y="103"/>
                        </a:cubicBezTo>
                        <a:cubicBezTo>
                          <a:pt x="132" y="101"/>
                          <a:pt x="131" y="99"/>
                          <a:pt x="129" y="99"/>
                        </a:cubicBezTo>
                        <a:cubicBezTo>
                          <a:pt x="46" y="99"/>
                          <a:pt x="46" y="99"/>
                          <a:pt x="46" y="99"/>
                        </a:cubicBezTo>
                        <a:cubicBezTo>
                          <a:pt x="46" y="99"/>
                          <a:pt x="46" y="99"/>
                          <a:pt x="46" y="98"/>
                        </a:cubicBezTo>
                        <a:cubicBezTo>
                          <a:pt x="13" y="3"/>
                          <a:pt x="13" y="3"/>
                          <a:pt x="13" y="3"/>
                        </a:cubicBezTo>
                        <a:cubicBezTo>
                          <a:pt x="12" y="1"/>
                          <a:pt x="10" y="0"/>
                          <a:pt x="8" y="0"/>
                        </a:cubicBezTo>
                        <a:cubicBezTo>
                          <a:pt x="3" y="2"/>
                          <a:pt x="3" y="2"/>
                          <a:pt x="3" y="2"/>
                        </a:cubicBezTo>
                        <a:cubicBezTo>
                          <a:pt x="1" y="3"/>
                          <a:pt x="0" y="5"/>
                          <a:pt x="0" y="7"/>
                        </a:cubicBezTo>
                        <a:cubicBezTo>
                          <a:pt x="32" y="99"/>
                          <a:pt x="32" y="99"/>
                          <a:pt x="32" y="99"/>
                        </a:cubicBezTo>
                        <a:cubicBezTo>
                          <a:pt x="28" y="99"/>
                          <a:pt x="28" y="99"/>
                          <a:pt x="28" y="99"/>
                        </a:cubicBezTo>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58" name="Freeform 259"/>
                  <p:cNvSpPr>
                    <a:spLocks/>
                  </p:cNvSpPr>
                  <p:nvPr/>
                </p:nvSpPr>
                <p:spPr bwMode="auto">
                  <a:xfrm>
                    <a:off x="2423138" y="1549722"/>
                    <a:ext cx="145532" cy="142770"/>
                  </a:xfrm>
                  <a:custGeom>
                    <a:avLst/>
                    <a:gdLst/>
                    <a:ahLst/>
                    <a:cxnLst>
                      <a:cxn ang="0">
                        <a:pos x="48" y="74"/>
                      </a:cxn>
                      <a:cxn ang="0">
                        <a:pos x="75" y="31"/>
                      </a:cxn>
                      <a:cxn ang="0">
                        <a:pos x="31" y="4"/>
                      </a:cxn>
                      <a:cxn ang="0">
                        <a:pos x="5" y="47"/>
                      </a:cxn>
                      <a:cxn ang="0">
                        <a:pos x="48" y="74"/>
                      </a:cxn>
                    </a:cxnLst>
                    <a:rect l="0" t="0" r="r" b="b"/>
                    <a:pathLst>
                      <a:path w="80" h="79">
                        <a:moveTo>
                          <a:pt x="48" y="74"/>
                        </a:moveTo>
                        <a:cubicBezTo>
                          <a:pt x="67" y="70"/>
                          <a:pt x="80" y="50"/>
                          <a:pt x="75" y="31"/>
                        </a:cubicBezTo>
                        <a:cubicBezTo>
                          <a:pt x="70" y="12"/>
                          <a:pt x="51" y="0"/>
                          <a:pt x="31" y="4"/>
                        </a:cubicBezTo>
                        <a:cubicBezTo>
                          <a:pt x="12" y="8"/>
                          <a:pt x="0" y="28"/>
                          <a:pt x="5" y="47"/>
                        </a:cubicBezTo>
                        <a:cubicBezTo>
                          <a:pt x="9" y="66"/>
                          <a:pt x="29" y="79"/>
                          <a:pt x="48" y="74"/>
                        </a:cubicBezTo>
                        <a:close/>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59" name="Freeform 260"/>
                  <p:cNvSpPr>
                    <a:spLocks/>
                  </p:cNvSpPr>
                  <p:nvPr/>
                </p:nvSpPr>
                <p:spPr bwMode="auto">
                  <a:xfrm>
                    <a:off x="2312256" y="1763875"/>
                    <a:ext cx="164590" cy="60569"/>
                  </a:xfrm>
                  <a:custGeom>
                    <a:avLst/>
                    <a:gdLst/>
                    <a:ahLst/>
                    <a:cxnLst>
                      <a:cxn ang="0">
                        <a:pos x="90" y="0"/>
                      </a:cxn>
                      <a:cxn ang="0">
                        <a:pos x="87" y="2"/>
                      </a:cxn>
                      <a:cxn ang="0">
                        <a:pos x="30" y="13"/>
                      </a:cxn>
                      <a:cxn ang="0">
                        <a:pos x="11" y="12"/>
                      </a:cxn>
                      <a:cxn ang="0">
                        <a:pos x="10" y="12"/>
                      </a:cxn>
                      <a:cxn ang="0">
                        <a:pos x="0" y="21"/>
                      </a:cxn>
                      <a:cxn ang="0">
                        <a:pos x="9" y="31"/>
                      </a:cxn>
                      <a:cxn ang="0">
                        <a:pos x="30" y="32"/>
                      </a:cxn>
                      <a:cxn ang="0">
                        <a:pos x="30" y="32"/>
                      </a:cxn>
                      <a:cxn ang="0">
                        <a:pos x="90" y="21"/>
                      </a:cxn>
                    </a:cxnLst>
                    <a:rect l="0" t="0" r="r" b="b"/>
                    <a:pathLst>
                      <a:path w="90" h="32">
                        <a:moveTo>
                          <a:pt x="90" y="0"/>
                        </a:moveTo>
                        <a:cubicBezTo>
                          <a:pt x="89" y="1"/>
                          <a:pt x="88" y="1"/>
                          <a:pt x="87" y="2"/>
                        </a:cubicBezTo>
                        <a:cubicBezTo>
                          <a:pt x="72" y="9"/>
                          <a:pt x="52" y="13"/>
                          <a:pt x="30" y="13"/>
                        </a:cubicBezTo>
                        <a:cubicBezTo>
                          <a:pt x="24" y="13"/>
                          <a:pt x="17" y="12"/>
                          <a:pt x="11" y="12"/>
                        </a:cubicBezTo>
                        <a:cubicBezTo>
                          <a:pt x="10" y="12"/>
                          <a:pt x="10" y="12"/>
                          <a:pt x="10" y="12"/>
                        </a:cubicBezTo>
                        <a:cubicBezTo>
                          <a:pt x="5" y="12"/>
                          <a:pt x="1" y="16"/>
                          <a:pt x="0" y="21"/>
                        </a:cubicBezTo>
                        <a:cubicBezTo>
                          <a:pt x="0" y="26"/>
                          <a:pt x="4" y="31"/>
                          <a:pt x="9" y="31"/>
                        </a:cubicBezTo>
                        <a:cubicBezTo>
                          <a:pt x="16" y="31"/>
                          <a:pt x="23" y="32"/>
                          <a:pt x="30" y="32"/>
                        </a:cubicBezTo>
                        <a:cubicBezTo>
                          <a:pt x="30" y="32"/>
                          <a:pt x="30" y="32"/>
                          <a:pt x="30" y="32"/>
                        </a:cubicBezTo>
                        <a:cubicBezTo>
                          <a:pt x="56" y="32"/>
                          <a:pt x="76" y="27"/>
                          <a:pt x="90" y="21"/>
                        </a:cubicBezTo>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sp>
                <p:nvSpPr>
                  <p:cNvPr id="60" name="Freeform 261"/>
                  <p:cNvSpPr>
                    <a:spLocks/>
                  </p:cNvSpPr>
                  <p:nvPr/>
                </p:nvSpPr>
                <p:spPr bwMode="auto">
                  <a:xfrm>
                    <a:off x="2459520" y="2014804"/>
                    <a:ext cx="214833" cy="157912"/>
                  </a:xfrm>
                  <a:custGeom>
                    <a:avLst/>
                    <a:gdLst/>
                    <a:ahLst/>
                    <a:cxnLst>
                      <a:cxn ang="0">
                        <a:pos x="0" y="332"/>
                      </a:cxn>
                      <a:cxn ang="0">
                        <a:pos x="446" y="332"/>
                      </a:cxn>
                      <a:cxn ang="0">
                        <a:pos x="389" y="0"/>
                      </a:cxn>
                      <a:cxn ang="0">
                        <a:pos x="56" y="0"/>
                      </a:cxn>
                      <a:cxn ang="0">
                        <a:pos x="0" y="332"/>
                      </a:cxn>
                      <a:cxn ang="0">
                        <a:pos x="0" y="332"/>
                      </a:cxn>
                    </a:cxnLst>
                    <a:rect l="0" t="0" r="r" b="b"/>
                    <a:pathLst>
                      <a:path w="446" h="332">
                        <a:moveTo>
                          <a:pt x="0" y="332"/>
                        </a:moveTo>
                        <a:lnTo>
                          <a:pt x="446" y="332"/>
                        </a:lnTo>
                        <a:lnTo>
                          <a:pt x="389" y="0"/>
                        </a:lnTo>
                        <a:lnTo>
                          <a:pt x="56" y="0"/>
                        </a:lnTo>
                        <a:lnTo>
                          <a:pt x="0" y="332"/>
                        </a:lnTo>
                        <a:lnTo>
                          <a:pt x="0" y="332"/>
                        </a:lnTo>
                        <a:close/>
                      </a:path>
                    </a:pathLst>
                  </a:custGeom>
                  <a:noFill/>
                  <a:ln w="12700" cap="flat">
                    <a:solidFill>
                      <a:schemeClr val="accent5"/>
                    </a:solidFill>
                    <a:prstDash val="solid"/>
                    <a:miter lim="800000"/>
                    <a:headEnd/>
                    <a:tailEnd/>
                  </a:ln>
                </p:spPr>
                <p:txBody>
                  <a:bodyPr/>
                  <a:lstStyle/>
                  <a:p>
                    <a:pPr>
                      <a:defRPr/>
                    </a:pPr>
                    <a:endParaRPr lang="en-US">
                      <a:solidFill>
                        <a:srgbClr val="505150"/>
                      </a:solidFill>
                    </a:endParaRPr>
                  </a:p>
                </p:txBody>
              </p:sp>
            </p:grpSp>
          </p:grpSp>
          <p:grpSp>
            <p:nvGrpSpPr>
              <p:cNvPr id="31789" name="Group 73"/>
              <p:cNvGrpSpPr>
                <a:grpSpLocks/>
              </p:cNvGrpSpPr>
              <p:nvPr/>
            </p:nvGrpSpPr>
            <p:grpSpPr bwMode="auto">
              <a:xfrm>
                <a:off x="6135688" y="1658938"/>
                <a:ext cx="525462" cy="523875"/>
                <a:chOff x="7740307" y="1251671"/>
                <a:chExt cx="574355" cy="570779"/>
              </a:xfrm>
            </p:grpSpPr>
            <p:grpSp>
              <p:nvGrpSpPr>
                <p:cNvPr id="31800" name="Group 56"/>
                <p:cNvGrpSpPr>
                  <a:grpSpLocks/>
                </p:cNvGrpSpPr>
                <p:nvPr/>
              </p:nvGrpSpPr>
              <p:grpSpPr bwMode="auto">
                <a:xfrm>
                  <a:off x="7740307" y="1251671"/>
                  <a:ext cx="384175" cy="558800"/>
                  <a:chOff x="2254251" y="9347200"/>
                  <a:chExt cx="384175" cy="558800"/>
                </a:xfrm>
              </p:grpSpPr>
              <p:sp>
                <p:nvSpPr>
                  <p:cNvPr id="47" name="Freeform 695"/>
                  <p:cNvSpPr>
                    <a:spLocks/>
                  </p:cNvSpPr>
                  <p:nvPr/>
                </p:nvSpPr>
                <p:spPr bwMode="auto">
                  <a:xfrm>
                    <a:off x="2253828" y="9346758"/>
                    <a:ext cx="384325" cy="558635"/>
                  </a:xfrm>
                  <a:custGeom>
                    <a:avLst/>
                    <a:gdLst/>
                    <a:ahLst/>
                    <a:cxnLst>
                      <a:cxn ang="0">
                        <a:pos x="63" y="116"/>
                      </a:cxn>
                      <a:cxn ang="0">
                        <a:pos x="18" y="116"/>
                      </a:cxn>
                      <a:cxn ang="0">
                        <a:pos x="0" y="98"/>
                      </a:cxn>
                      <a:cxn ang="0">
                        <a:pos x="0" y="17"/>
                      </a:cxn>
                      <a:cxn ang="0">
                        <a:pos x="18" y="0"/>
                      </a:cxn>
                      <a:cxn ang="0">
                        <a:pos x="63" y="0"/>
                      </a:cxn>
                      <a:cxn ang="0">
                        <a:pos x="80" y="17"/>
                      </a:cxn>
                      <a:cxn ang="0">
                        <a:pos x="80" y="98"/>
                      </a:cxn>
                    </a:cxnLst>
                    <a:rect l="0" t="0" r="r" b="b"/>
                    <a:pathLst>
                      <a:path w="80" h="116">
                        <a:moveTo>
                          <a:pt x="63" y="116"/>
                        </a:moveTo>
                        <a:cubicBezTo>
                          <a:pt x="18" y="116"/>
                          <a:pt x="18" y="116"/>
                          <a:pt x="18" y="116"/>
                        </a:cubicBezTo>
                        <a:cubicBezTo>
                          <a:pt x="8" y="116"/>
                          <a:pt x="0" y="108"/>
                          <a:pt x="0" y="98"/>
                        </a:cubicBezTo>
                        <a:cubicBezTo>
                          <a:pt x="0" y="17"/>
                          <a:pt x="0" y="17"/>
                          <a:pt x="0" y="17"/>
                        </a:cubicBezTo>
                        <a:cubicBezTo>
                          <a:pt x="0" y="8"/>
                          <a:pt x="8" y="0"/>
                          <a:pt x="18" y="0"/>
                        </a:cubicBezTo>
                        <a:cubicBezTo>
                          <a:pt x="63" y="0"/>
                          <a:pt x="63" y="0"/>
                          <a:pt x="63" y="0"/>
                        </a:cubicBezTo>
                        <a:cubicBezTo>
                          <a:pt x="73" y="0"/>
                          <a:pt x="80" y="8"/>
                          <a:pt x="80" y="17"/>
                        </a:cubicBezTo>
                        <a:cubicBezTo>
                          <a:pt x="80" y="98"/>
                          <a:pt x="80" y="98"/>
                          <a:pt x="80" y="98"/>
                        </a:cubicBezTo>
                      </a:path>
                    </a:pathLst>
                  </a:cu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48" name="Line 696"/>
                  <p:cNvSpPr>
                    <a:spLocks noChangeShapeType="1"/>
                  </p:cNvSpPr>
                  <p:nvPr/>
                </p:nvSpPr>
                <p:spPr bwMode="auto">
                  <a:xfrm>
                    <a:off x="2335237" y="9481112"/>
                    <a:ext cx="225293" cy="2358"/>
                  </a:xfrm>
                  <a:prstGeom prst="line">
                    <a:avLst/>
                  </a:pr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49" name="Line 697"/>
                  <p:cNvSpPr>
                    <a:spLocks noChangeShapeType="1"/>
                  </p:cNvSpPr>
                  <p:nvPr/>
                </p:nvSpPr>
                <p:spPr bwMode="auto">
                  <a:xfrm>
                    <a:off x="2335237" y="9563612"/>
                    <a:ext cx="225293" cy="0"/>
                  </a:xfrm>
                  <a:prstGeom prst="line">
                    <a:avLst/>
                  </a:pr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50" name="Line 698"/>
                  <p:cNvSpPr>
                    <a:spLocks noChangeShapeType="1"/>
                  </p:cNvSpPr>
                  <p:nvPr/>
                </p:nvSpPr>
                <p:spPr bwMode="auto">
                  <a:xfrm>
                    <a:off x="2335237" y="9646110"/>
                    <a:ext cx="225293" cy="0"/>
                  </a:xfrm>
                  <a:prstGeom prst="line">
                    <a:avLst/>
                  </a:pr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51" name="Line 699"/>
                  <p:cNvSpPr>
                    <a:spLocks noChangeShapeType="1"/>
                  </p:cNvSpPr>
                  <p:nvPr/>
                </p:nvSpPr>
                <p:spPr bwMode="auto">
                  <a:xfrm>
                    <a:off x="2335237" y="9733324"/>
                    <a:ext cx="225293" cy="0"/>
                  </a:xfrm>
                  <a:prstGeom prst="line">
                    <a:avLst/>
                  </a:prstGeom>
                  <a:noFill/>
                  <a:ln w="12700" cap="rnd">
                    <a:solidFill>
                      <a:schemeClr val="accent5"/>
                    </a:solidFill>
                    <a:prstDash val="solid"/>
                    <a:round/>
                    <a:headEnd/>
                    <a:tailEnd/>
                  </a:ln>
                </p:spPr>
                <p:txBody>
                  <a:bodyPr/>
                  <a:lstStyle/>
                  <a:p>
                    <a:pPr>
                      <a:defRPr/>
                    </a:pPr>
                    <a:endParaRPr lang="en-US">
                      <a:solidFill>
                        <a:srgbClr val="505150"/>
                      </a:solidFill>
                    </a:endParaRPr>
                  </a:p>
                </p:txBody>
              </p:sp>
            </p:grpSp>
            <p:grpSp>
              <p:nvGrpSpPr>
                <p:cNvPr id="31801" name="Group 72"/>
                <p:cNvGrpSpPr>
                  <a:grpSpLocks/>
                </p:cNvGrpSpPr>
                <p:nvPr/>
              </p:nvGrpSpPr>
              <p:grpSpPr bwMode="auto">
                <a:xfrm>
                  <a:off x="8062256" y="1566716"/>
                  <a:ext cx="252406" cy="255734"/>
                  <a:chOff x="8412629" y="1507026"/>
                  <a:chExt cx="326360" cy="330664"/>
                </a:xfrm>
              </p:grpSpPr>
              <p:sp>
                <p:nvSpPr>
                  <p:cNvPr id="45" name="Freeform 2722"/>
                  <p:cNvSpPr>
                    <a:spLocks/>
                  </p:cNvSpPr>
                  <p:nvPr/>
                </p:nvSpPr>
                <p:spPr bwMode="auto">
                  <a:xfrm>
                    <a:off x="8411952" y="1507498"/>
                    <a:ext cx="328022" cy="329157"/>
                  </a:xfrm>
                  <a:custGeom>
                    <a:avLst/>
                    <a:gdLst/>
                    <a:ahLst/>
                    <a:cxnLst>
                      <a:cxn ang="0">
                        <a:pos x="128" y="99"/>
                      </a:cxn>
                      <a:cxn ang="0">
                        <a:pos x="110" y="22"/>
                      </a:cxn>
                      <a:cxn ang="0">
                        <a:pos x="111" y="22"/>
                      </a:cxn>
                      <a:cxn ang="0">
                        <a:pos x="21" y="32"/>
                      </a:cxn>
                      <a:cxn ang="0">
                        <a:pos x="22" y="32"/>
                      </a:cxn>
                      <a:cxn ang="0">
                        <a:pos x="32" y="121"/>
                      </a:cxn>
                      <a:cxn ang="0">
                        <a:pos x="30" y="120"/>
                      </a:cxn>
                      <a:cxn ang="0">
                        <a:pos x="120" y="110"/>
                      </a:cxn>
                    </a:cxnLst>
                    <a:rect l="0" t="0" r="r" b="b"/>
                    <a:pathLst>
                      <a:path w="140" h="142">
                        <a:moveTo>
                          <a:pt x="128" y="99"/>
                        </a:moveTo>
                        <a:cubicBezTo>
                          <a:pt x="140" y="67"/>
                          <a:pt x="132" y="43"/>
                          <a:pt x="110" y="22"/>
                        </a:cubicBezTo>
                        <a:cubicBezTo>
                          <a:pt x="111" y="22"/>
                          <a:pt x="111" y="22"/>
                          <a:pt x="111" y="22"/>
                        </a:cubicBezTo>
                        <a:cubicBezTo>
                          <a:pt x="84" y="0"/>
                          <a:pt x="43" y="5"/>
                          <a:pt x="21" y="32"/>
                        </a:cubicBezTo>
                        <a:cubicBezTo>
                          <a:pt x="22" y="32"/>
                          <a:pt x="22" y="32"/>
                          <a:pt x="22" y="32"/>
                        </a:cubicBezTo>
                        <a:cubicBezTo>
                          <a:pt x="0" y="59"/>
                          <a:pt x="4" y="99"/>
                          <a:pt x="32" y="121"/>
                        </a:cubicBezTo>
                        <a:cubicBezTo>
                          <a:pt x="30" y="120"/>
                          <a:pt x="30" y="120"/>
                          <a:pt x="30" y="120"/>
                        </a:cubicBezTo>
                        <a:cubicBezTo>
                          <a:pt x="58" y="142"/>
                          <a:pt x="98" y="138"/>
                          <a:pt x="120" y="110"/>
                        </a:cubicBezTo>
                      </a:path>
                    </a:pathLst>
                  </a:custGeom>
                  <a:solidFill>
                    <a:schemeClr val="bg1">
                      <a:lumMod val="95000"/>
                    </a:schemeClr>
                  </a:solidFill>
                  <a:ln w="12700" cap="rnd">
                    <a:solidFill>
                      <a:schemeClr val="accent5"/>
                    </a:solidFill>
                    <a:prstDash val="solid"/>
                    <a:round/>
                    <a:headEnd/>
                    <a:tailEnd/>
                  </a:ln>
                </p:spPr>
                <p:txBody>
                  <a:bodyPr/>
                  <a:lstStyle/>
                  <a:p>
                    <a:pPr>
                      <a:defRPr/>
                    </a:pPr>
                    <a:endParaRPr lang="en-US">
                      <a:solidFill>
                        <a:srgbClr val="505150"/>
                      </a:solidFill>
                    </a:endParaRPr>
                  </a:p>
                </p:txBody>
              </p:sp>
              <p:sp>
                <p:nvSpPr>
                  <p:cNvPr id="46" name="Freeform 2721"/>
                  <p:cNvSpPr>
                    <a:spLocks/>
                  </p:cNvSpPr>
                  <p:nvPr/>
                </p:nvSpPr>
                <p:spPr bwMode="auto">
                  <a:xfrm>
                    <a:off x="8509869" y="1614169"/>
                    <a:ext cx="132188" cy="115814"/>
                  </a:xfrm>
                  <a:custGeom>
                    <a:avLst/>
                    <a:gdLst/>
                    <a:ahLst/>
                    <a:cxnLst>
                      <a:cxn ang="0">
                        <a:pos x="79" y="0"/>
                      </a:cxn>
                      <a:cxn ang="0">
                        <a:pos x="87" y="3"/>
                      </a:cxn>
                      <a:cxn ang="0">
                        <a:pos x="87" y="3"/>
                      </a:cxn>
                      <a:cxn ang="0">
                        <a:pos x="15" y="76"/>
                      </a:cxn>
                      <a:cxn ang="0">
                        <a:pos x="0" y="40"/>
                      </a:cxn>
                      <a:cxn ang="0">
                        <a:pos x="17" y="54"/>
                      </a:cxn>
                      <a:cxn ang="0">
                        <a:pos x="79" y="0"/>
                      </a:cxn>
                    </a:cxnLst>
                    <a:rect l="0" t="0" r="r" b="b"/>
                    <a:pathLst>
                      <a:path w="87" h="76">
                        <a:moveTo>
                          <a:pt x="79" y="0"/>
                        </a:moveTo>
                        <a:cubicBezTo>
                          <a:pt x="84" y="0"/>
                          <a:pt x="87" y="3"/>
                          <a:pt x="87" y="3"/>
                        </a:cubicBezTo>
                        <a:cubicBezTo>
                          <a:pt x="87" y="3"/>
                          <a:pt x="87" y="3"/>
                          <a:pt x="87" y="3"/>
                        </a:cubicBezTo>
                        <a:cubicBezTo>
                          <a:pt x="49" y="3"/>
                          <a:pt x="17" y="73"/>
                          <a:pt x="15" y="76"/>
                        </a:cubicBezTo>
                        <a:cubicBezTo>
                          <a:pt x="0" y="40"/>
                          <a:pt x="0" y="40"/>
                          <a:pt x="0" y="40"/>
                        </a:cubicBezTo>
                        <a:cubicBezTo>
                          <a:pt x="17" y="54"/>
                          <a:pt x="17" y="54"/>
                          <a:pt x="17" y="54"/>
                        </a:cubicBezTo>
                        <a:cubicBezTo>
                          <a:pt x="46" y="8"/>
                          <a:pt x="67" y="0"/>
                          <a:pt x="79" y="0"/>
                        </a:cubicBezTo>
                        <a:close/>
                      </a:path>
                    </a:pathLst>
                  </a:custGeom>
                  <a:solidFill>
                    <a:schemeClr val="accent5"/>
                  </a:solidFill>
                  <a:ln w="12700">
                    <a:solidFill>
                      <a:schemeClr val="accent5"/>
                    </a:solidFill>
                    <a:round/>
                    <a:headEnd/>
                    <a:tailEnd/>
                  </a:ln>
                </p:spPr>
                <p:txBody>
                  <a:bodyPr/>
                  <a:lstStyle/>
                  <a:p>
                    <a:pPr>
                      <a:defRPr/>
                    </a:pPr>
                    <a:endParaRPr lang="en-US">
                      <a:solidFill>
                        <a:srgbClr val="505150"/>
                      </a:solidFill>
                    </a:endParaRPr>
                  </a:p>
                </p:txBody>
              </p:sp>
            </p:grpSp>
          </p:grpSp>
          <p:grpSp>
            <p:nvGrpSpPr>
              <p:cNvPr id="31790" name="Group 85"/>
              <p:cNvGrpSpPr>
                <a:grpSpLocks/>
              </p:cNvGrpSpPr>
              <p:nvPr/>
            </p:nvGrpSpPr>
            <p:grpSpPr bwMode="auto">
              <a:xfrm>
                <a:off x="8175625" y="1635125"/>
                <a:ext cx="458788" cy="603250"/>
                <a:chOff x="2579688" y="2981325"/>
                <a:chExt cx="738188" cy="971551"/>
              </a:xfrm>
            </p:grpSpPr>
            <p:sp>
              <p:nvSpPr>
                <p:cNvPr id="31791" name="Freeform 16"/>
                <p:cNvSpPr>
                  <a:spLocks/>
                </p:cNvSpPr>
                <p:nvPr/>
              </p:nvSpPr>
              <p:spPr bwMode="auto">
                <a:xfrm>
                  <a:off x="2579688" y="3157538"/>
                  <a:ext cx="565150" cy="795338"/>
                </a:xfrm>
                <a:custGeom>
                  <a:avLst/>
                  <a:gdLst>
                    <a:gd name="T0" fmla="*/ 2147483646 w 151"/>
                    <a:gd name="T1" fmla="*/ 2147483646 h 212"/>
                    <a:gd name="T2" fmla="*/ 2147483646 w 151"/>
                    <a:gd name="T3" fmla="*/ 2147483646 h 212"/>
                    <a:gd name="T4" fmla="*/ 0 w 151"/>
                    <a:gd name="T5" fmla="*/ 2147483646 h 212"/>
                    <a:gd name="T6" fmla="*/ 0 w 151"/>
                    <a:gd name="T7" fmla="*/ 2147483646 h 212"/>
                    <a:gd name="T8" fmla="*/ 2147483646 w 151"/>
                    <a:gd name="T9" fmla="*/ 2147483646 h 212"/>
                    <a:gd name="T10" fmla="*/ 2147483646 w 151"/>
                    <a:gd name="T11" fmla="*/ 2147483646 h 212"/>
                    <a:gd name="T12" fmla="*/ 2147483646 w 151"/>
                    <a:gd name="T13" fmla="*/ 2147483646 h 212"/>
                    <a:gd name="T14" fmla="*/ 2147483646 w 151"/>
                    <a:gd name="T15" fmla="*/ 0 h 212"/>
                    <a:gd name="T16" fmla="*/ 2147483646 w 151"/>
                    <a:gd name="T17" fmla="*/ 0 h 212"/>
                    <a:gd name="T18" fmla="*/ 2147483646 w 151"/>
                    <a:gd name="T19" fmla="*/ 2147483646 h 212"/>
                    <a:gd name="T20" fmla="*/ 2147483646 w 151"/>
                    <a:gd name="T21" fmla="*/ 2147483646 h 212"/>
                    <a:gd name="T22" fmla="*/ 2147483646 w 151"/>
                    <a:gd name="T23" fmla="*/ 2147483646 h 212"/>
                    <a:gd name="T24" fmla="*/ 2147483646 w 151"/>
                    <a:gd name="T25" fmla="*/ 2147483646 h 212"/>
                    <a:gd name="T26" fmla="*/ 2147483646 w 151"/>
                    <a:gd name="T27" fmla="*/ 2147483646 h 212"/>
                    <a:gd name="T28" fmla="*/ 2147483646 w 151"/>
                    <a:gd name="T29" fmla="*/ 2147483646 h 2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1"/>
                    <a:gd name="T46" fmla="*/ 0 h 212"/>
                    <a:gd name="T47" fmla="*/ 151 w 151"/>
                    <a:gd name="T48" fmla="*/ 212 h 2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1" h="212">
                      <a:moveTo>
                        <a:pt x="115" y="212"/>
                      </a:moveTo>
                      <a:cubicBezTo>
                        <a:pt x="6" y="212"/>
                        <a:pt x="6" y="212"/>
                        <a:pt x="6" y="212"/>
                      </a:cubicBezTo>
                      <a:cubicBezTo>
                        <a:pt x="3" y="212"/>
                        <a:pt x="0" y="210"/>
                        <a:pt x="0" y="207"/>
                      </a:cubicBezTo>
                      <a:cubicBezTo>
                        <a:pt x="0" y="24"/>
                        <a:pt x="0" y="24"/>
                        <a:pt x="0" y="24"/>
                      </a:cubicBezTo>
                      <a:cubicBezTo>
                        <a:pt x="0" y="22"/>
                        <a:pt x="3" y="19"/>
                        <a:pt x="6" y="19"/>
                      </a:cubicBezTo>
                      <a:cubicBezTo>
                        <a:pt x="40" y="19"/>
                        <a:pt x="40" y="19"/>
                        <a:pt x="40" y="19"/>
                      </a:cubicBezTo>
                      <a:cubicBezTo>
                        <a:pt x="40" y="6"/>
                        <a:pt x="40" y="6"/>
                        <a:pt x="40" y="6"/>
                      </a:cubicBezTo>
                      <a:cubicBezTo>
                        <a:pt x="40" y="2"/>
                        <a:pt x="43" y="0"/>
                        <a:pt x="46" y="0"/>
                      </a:cubicBezTo>
                      <a:cubicBezTo>
                        <a:pt x="106" y="0"/>
                        <a:pt x="106" y="0"/>
                        <a:pt x="106" y="0"/>
                      </a:cubicBezTo>
                      <a:cubicBezTo>
                        <a:pt x="109" y="0"/>
                        <a:pt x="112" y="2"/>
                        <a:pt x="112" y="6"/>
                      </a:cubicBezTo>
                      <a:cubicBezTo>
                        <a:pt x="112" y="19"/>
                        <a:pt x="112" y="19"/>
                        <a:pt x="112" y="19"/>
                      </a:cubicBezTo>
                      <a:cubicBezTo>
                        <a:pt x="146" y="19"/>
                        <a:pt x="146" y="19"/>
                        <a:pt x="146" y="19"/>
                      </a:cubicBezTo>
                      <a:cubicBezTo>
                        <a:pt x="149" y="19"/>
                        <a:pt x="151" y="22"/>
                        <a:pt x="151" y="24"/>
                      </a:cubicBezTo>
                      <a:cubicBezTo>
                        <a:pt x="151" y="172"/>
                        <a:pt x="151" y="172"/>
                        <a:pt x="151" y="172"/>
                      </a:cubicBezTo>
                      <a:lnTo>
                        <a:pt x="115" y="212"/>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1792" name="Freeform 17"/>
                <p:cNvSpPr>
                  <a:spLocks/>
                </p:cNvSpPr>
                <p:nvPr/>
              </p:nvSpPr>
              <p:spPr bwMode="auto">
                <a:xfrm>
                  <a:off x="2701926" y="3686175"/>
                  <a:ext cx="282575" cy="119063"/>
                </a:xfrm>
                <a:custGeom>
                  <a:avLst/>
                  <a:gdLst>
                    <a:gd name="T0" fmla="*/ 0 w 178"/>
                    <a:gd name="T1" fmla="*/ 2147483646 h 75"/>
                    <a:gd name="T2" fmla="*/ 2147483646 w 178"/>
                    <a:gd name="T3" fmla="*/ 2147483646 h 75"/>
                    <a:gd name="T4" fmla="*/ 2147483646 w 178"/>
                    <a:gd name="T5" fmla="*/ 0 h 75"/>
                    <a:gd name="T6" fmla="*/ 0 60000 65536"/>
                    <a:gd name="T7" fmla="*/ 0 60000 65536"/>
                    <a:gd name="T8" fmla="*/ 0 60000 65536"/>
                    <a:gd name="T9" fmla="*/ 0 w 178"/>
                    <a:gd name="T10" fmla="*/ 0 h 75"/>
                    <a:gd name="T11" fmla="*/ 178 w 178"/>
                    <a:gd name="T12" fmla="*/ 75 h 75"/>
                  </a:gdLst>
                  <a:ahLst/>
                  <a:cxnLst>
                    <a:cxn ang="T6">
                      <a:pos x="T0" y="T1"/>
                    </a:cxn>
                    <a:cxn ang="T7">
                      <a:pos x="T2" y="T3"/>
                    </a:cxn>
                    <a:cxn ang="T8">
                      <a:pos x="T4" y="T5"/>
                    </a:cxn>
                  </a:cxnLst>
                  <a:rect l="T9" t="T10" r="T11" b="T12"/>
                  <a:pathLst>
                    <a:path w="178" h="75">
                      <a:moveTo>
                        <a:pt x="0" y="14"/>
                      </a:moveTo>
                      <a:lnTo>
                        <a:pt x="36" y="75"/>
                      </a:lnTo>
                      <a:lnTo>
                        <a:pt x="178"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1793" name="Line 18"/>
                <p:cNvSpPr>
                  <a:spLocks noChangeShapeType="1"/>
                </p:cNvSpPr>
                <p:nvPr/>
              </p:nvSpPr>
              <p:spPr bwMode="auto">
                <a:xfrm>
                  <a:off x="2676526" y="332581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1794" name="Line 19"/>
                <p:cNvSpPr>
                  <a:spLocks noChangeShapeType="1"/>
                </p:cNvSpPr>
                <p:nvPr/>
              </p:nvSpPr>
              <p:spPr bwMode="auto">
                <a:xfrm>
                  <a:off x="2676526" y="342741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1795" name="Line 20"/>
                <p:cNvSpPr>
                  <a:spLocks noChangeShapeType="1"/>
                </p:cNvSpPr>
                <p:nvPr/>
              </p:nvSpPr>
              <p:spPr bwMode="auto">
                <a:xfrm>
                  <a:off x="2676526" y="353536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1796" name="Freeform 21"/>
                <p:cNvSpPr>
                  <a:spLocks/>
                </p:cNvSpPr>
                <p:nvPr/>
              </p:nvSpPr>
              <p:spPr bwMode="auto">
                <a:xfrm>
                  <a:off x="3003551" y="3787775"/>
                  <a:ext cx="130175" cy="153988"/>
                </a:xfrm>
                <a:custGeom>
                  <a:avLst/>
                  <a:gdLst>
                    <a:gd name="T0" fmla="*/ 0 w 82"/>
                    <a:gd name="T1" fmla="*/ 2147483646 h 97"/>
                    <a:gd name="T2" fmla="*/ 0 w 82"/>
                    <a:gd name="T3" fmla="*/ 0 h 97"/>
                    <a:gd name="T4" fmla="*/ 2147483646 w 82"/>
                    <a:gd name="T5" fmla="*/ 0 h 97"/>
                    <a:gd name="T6" fmla="*/ 0 60000 65536"/>
                    <a:gd name="T7" fmla="*/ 0 60000 65536"/>
                    <a:gd name="T8" fmla="*/ 0 60000 65536"/>
                    <a:gd name="T9" fmla="*/ 0 w 82"/>
                    <a:gd name="T10" fmla="*/ 0 h 97"/>
                    <a:gd name="T11" fmla="*/ 82 w 82"/>
                    <a:gd name="T12" fmla="*/ 97 h 97"/>
                  </a:gdLst>
                  <a:ahLst/>
                  <a:cxnLst>
                    <a:cxn ang="T6">
                      <a:pos x="T0" y="T1"/>
                    </a:cxn>
                    <a:cxn ang="T7">
                      <a:pos x="T2" y="T3"/>
                    </a:cxn>
                    <a:cxn ang="T8">
                      <a:pos x="T4" y="T5"/>
                    </a:cxn>
                  </a:cxnLst>
                  <a:rect l="T9" t="T10" r="T11" b="T12"/>
                  <a:pathLst>
                    <a:path w="82" h="97">
                      <a:moveTo>
                        <a:pt x="0" y="97"/>
                      </a:moveTo>
                      <a:lnTo>
                        <a:pt x="0" y="0"/>
                      </a:lnTo>
                      <a:lnTo>
                        <a:pt x="82"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1797" name="Line 22"/>
                <p:cNvSpPr>
                  <a:spLocks noChangeShapeType="1"/>
                </p:cNvSpPr>
                <p:nvPr/>
              </p:nvSpPr>
              <p:spPr bwMode="auto">
                <a:xfrm>
                  <a:off x="2728913" y="3228975"/>
                  <a:ext cx="269875"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1798" name="Freeform 23"/>
                <p:cNvSpPr>
                  <a:spLocks/>
                </p:cNvSpPr>
                <p:nvPr/>
              </p:nvSpPr>
              <p:spPr bwMode="auto">
                <a:xfrm>
                  <a:off x="2579688" y="3070225"/>
                  <a:ext cx="647700" cy="720725"/>
                </a:xfrm>
                <a:custGeom>
                  <a:avLst/>
                  <a:gdLst>
                    <a:gd name="T0" fmla="*/ 0 w 408"/>
                    <a:gd name="T1" fmla="*/ 0 h 454"/>
                    <a:gd name="T2" fmla="*/ 2147483646 w 408"/>
                    <a:gd name="T3" fmla="*/ 0 h 454"/>
                    <a:gd name="T4" fmla="*/ 2147483646 w 408"/>
                    <a:gd name="T5" fmla="*/ 2147483646 h 454"/>
                    <a:gd name="T6" fmla="*/ 0 60000 65536"/>
                    <a:gd name="T7" fmla="*/ 0 60000 65536"/>
                    <a:gd name="T8" fmla="*/ 0 60000 65536"/>
                    <a:gd name="T9" fmla="*/ 0 w 408"/>
                    <a:gd name="T10" fmla="*/ 0 h 454"/>
                    <a:gd name="T11" fmla="*/ 408 w 408"/>
                    <a:gd name="T12" fmla="*/ 454 h 454"/>
                  </a:gdLst>
                  <a:ahLst/>
                  <a:cxnLst>
                    <a:cxn ang="T6">
                      <a:pos x="T0" y="T1"/>
                    </a:cxn>
                    <a:cxn ang="T7">
                      <a:pos x="T2" y="T3"/>
                    </a:cxn>
                    <a:cxn ang="T8">
                      <a:pos x="T4" y="T5"/>
                    </a:cxn>
                  </a:cxnLst>
                  <a:rect l="T9" t="T10" r="T11" b="T12"/>
                  <a:pathLst>
                    <a:path w="408" h="454">
                      <a:moveTo>
                        <a:pt x="0" y="0"/>
                      </a:moveTo>
                      <a:lnTo>
                        <a:pt x="408" y="0"/>
                      </a:lnTo>
                      <a:lnTo>
                        <a:pt x="408" y="454"/>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1799" name="Freeform 24"/>
                <p:cNvSpPr>
                  <a:spLocks/>
                </p:cNvSpPr>
                <p:nvPr/>
              </p:nvSpPr>
              <p:spPr bwMode="auto">
                <a:xfrm>
                  <a:off x="2579688" y="2981325"/>
                  <a:ext cx="738188" cy="719138"/>
                </a:xfrm>
                <a:custGeom>
                  <a:avLst/>
                  <a:gdLst>
                    <a:gd name="T0" fmla="*/ 0 w 465"/>
                    <a:gd name="T1" fmla="*/ 0 h 453"/>
                    <a:gd name="T2" fmla="*/ 2147483646 w 465"/>
                    <a:gd name="T3" fmla="*/ 0 h 453"/>
                    <a:gd name="T4" fmla="*/ 2147483646 w 465"/>
                    <a:gd name="T5" fmla="*/ 2147483646 h 453"/>
                    <a:gd name="T6" fmla="*/ 0 60000 65536"/>
                    <a:gd name="T7" fmla="*/ 0 60000 65536"/>
                    <a:gd name="T8" fmla="*/ 0 60000 65536"/>
                    <a:gd name="T9" fmla="*/ 0 w 465"/>
                    <a:gd name="T10" fmla="*/ 0 h 453"/>
                    <a:gd name="T11" fmla="*/ 465 w 465"/>
                    <a:gd name="T12" fmla="*/ 453 h 453"/>
                  </a:gdLst>
                  <a:ahLst/>
                  <a:cxnLst>
                    <a:cxn ang="T6">
                      <a:pos x="T0" y="T1"/>
                    </a:cxn>
                    <a:cxn ang="T7">
                      <a:pos x="T2" y="T3"/>
                    </a:cxn>
                    <a:cxn ang="T8">
                      <a:pos x="T4" y="T5"/>
                    </a:cxn>
                  </a:cxnLst>
                  <a:rect l="T9" t="T10" r="T11" b="T12"/>
                  <a:pathLst>
                    <a:path w="465" h="453">
                      <a:moveTo>
                        <a:pt x="0" y="0"/>
                      </a:moveTo>
                      <a:lnTo>
                        <a:pt x="465" y="0"/>
                      </a:lnTo>
                      <a:lnTo>
                        <a:pt x="465" y="453"/>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grpSp>
        <p:sp>
          <p:nvSpPr>
            <p:cNvPr id="11" name="Rectangle 10"/>
            <p:cNvSpPr/>
            <p:nvPr/>
          </p:nvSpPr>
          <p:spPr bwMode="auto">
            <a:xfrm>
              <a:off x="709684" y="2333787"/>
              <a:ext cx="8775510" cy="3070726"/>
            </a:xfrm>
            <a:prstGeom prst="rect">
              <a:avLst/>
            </a:prstGeom>
            <a:ln w="28575">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56830">
                <a:defRPr/>
              </a:pPr>
              <a:endParaRPr lang="en-US" sz="2400">
                <a:solidFill>
                  <a:srgbClr val="9F958F">
                    <a:lumMod val="50000"/>
                  </a:srgbClr>
                </a:solidFill>
              </a:endParaRPr>
            </a:p>
          </p:txBody>
        </p:sp>
      </p:grpSp>
      <p:sp>
        <p:nvSpPr>
          <p:cNvPr id="89" name="TextBox 88"/>
          <p:cNvSpPr txBox="1"/>
          <p:nvPr/>
        </p:nvSpPr>
        <p:spPr>
          <a:xfrm>
            <a:off x="2292351" y="5418138"/>
            <a:ext cx="7397750" cy="677862"/>
          </a:xfrm>
          <a:prstGeom prst="rect">
            <a:avLst/>
          </a:prstGeom>
          <a:noFill/>
        </p:spPr>
        <p:txBody>
          <a:bodyPr>
            <a:spAutoFit/>
          </a:bodyPr>
          <a:lstStyle/>
          <a:p>
            <a:pPr algn="ctr">
              <a:defRPr/>
            </a:pPr>
            <a:r>
              <a:rPr lang="en-US" sz="1200" i="1">
                <a:solidFill>
                  <a:srgbClr val="505150"/>
                </a:solidFill>
              </a:rPr>
              <a:t>**Please note at any stage of the performance document where ever the action is pending on the reviewer or the employee, the document will move to the next stage after a defined period.</a:t>
            </a:r>
          </a:p>
          <a:p>
            <a:pPr>
              <a:defRPr/>
            </a:pPr>
            <a:endParaRPr lang="en-US" sz="1400" err="1">
              <a:solidFill>
                <a:srgbClr val="00264A">
                  <a:lumMod val="50000"/>
                </a:srgbClr>
              </a:solidFill>
            </a:endParaRPr>
          </a:p>
        </p:txBody>
      </p:sp>
    </p:spTree>
    <p:extLst>
      <p:ext uri="{BB962C8B-B14F-4D97-AF65-F5344CB8AC3E}">
        <p14:creationId xmlns:p14="http://schemas.microsoft.com/office/powerpoint/2010/main" val="38213891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diamond(in)">
                                      <p:cBhvr>
                                        <p:cTn id="7" dur="2000"/>
                                        <p:tgtEl>
                                          <p:spTgt spid="101"/>
                                        </p:tgtEl>
                                      </p:cBhvr>
                                    </p:animEffect>
                                  </p:childTnLst>
                                </p:cTn>
                              </p:par>
                              <p:par>
                                <p:cTn id="8" presetID="8"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amond(in)">
                                      <p:cBhvr>
                                        <p:cTn id="10" dur="2000"/>
                                        <p:tgtEl>
                                          <p:spTgt spid="3"/>
                                        </p:tgtEl>
                                      </p:cBhvr>
                                    </p:animEffect>
                                  </p:childTnLst>
                                </p:cTn>
                              </p:par>
                              <p:par>
                                <p:cTn id="11" presetID="8" presetClass="entr" presetSubtype="16"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amond(in)">
                                      <p:cBhvr>
                                        <p:cTn id="13" dur="2000"/>
                                        <p:tgtEl>
                                          <p:spTgt spid="7"/>
                                        </p:tgtEl>
                                      </p:cBhvr>
                                    </p:animEffect>
                                  </p:childTnLst>
                                </p:cTn>
                              </p:par>
                              <p:par>
                                <p:cTn id="14" presetID="8"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amond(in)">
                                      <p:cBhvr>
                                        <p:cTn id="16" dur="2000"/>
                                        <p:tgtEl>
                                          <p:spTgt spid="8"/>
                                        </p:tgtEl>
                                      </p:cBhvr>
                                    </p:animEffect>
                                  </p:childTnLst>
                                </p:cTn>
                              </p:par>
                              <p:par>
                                <p:cTn id="17" presetID="8" presetClass="entr" presetSubtype="16" fill="hold" grpId="0"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diamond(in)">
                                      <p:cBhvr>
                                        <p:cTn id="19" dur="2000"/>
                                        <p:tgtEl>
                                          <p:spTgt spid="89"/>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2" presetClass="exit" presetSubtype="4" fill="hold" nodeType="clickEffect">
                                  <p:stCondLst>
                                    <p:cond delay="0"/>
                                  </p:stCondLst>
                                  <p:childTnLst>
                                    <p:anim calcmode="lin" valueType="num">
                                      <p:cBhvr additive="base">
                                        <p:cTn id="23" dur="500"/>
                                        <p:tgtEl>
                                          <p:spTgt spid="3"/>
                                        </p:tgtEl>
                                        <p:attrNameLst>
                                          <p:attrName>ppt_x</p:attrName>
                                        </p:attrNameLst>
                                      </p:cBhvr>
                                      <p:tavLst>
                                        <p:tav tm="0">
                                          <p:val>
                                            <p:strVal val="ppt_x"/>
                                          </p:val>
                                        </p:tav>
                                        <p:tav tm="100000">
                                          <p:val>
                                            <p:strVal val="ppt_x"/>
                                          </p:val>
                                        </p:tav>
                                      </p:tavLst>
                                    </p:anim>
                                    <p:anim calcmode="lin" valueType="num">
                                      <p:cBhvr additive="base">
                                        <p:cTn id="24" dur="500"/>
                                        <p:tgtEl>
                                          <p:spTgt spid="3"/>
                                        </p:tgtEl>
                                        <p:attrNameLst>
                                          <p:attrName>ppt_y</p:attrName>
                                        </p:attrNameLst>
                                      </p:cBhvr>
                                      <p:tavLst>
                                        <p:tav tm="0">
                                          <p:val>
                                            <p:strVal val="ppt_y"/>
                                          </p:val>
                                        </p:tav>
                                        <p:tav tm="100000">
                                          <p:val>
                                            <p:strVal val="1+ppt_h/2"/>
                                          </p:val>
                                        </p:tav>
                                      </p:tavLst>
                                    </p:anim>
                                    <p:set>
                                      <p:cBhvr>
                                        <p:cTn id="25" dur="1" fill="hold">
                                          <p:stCondLst>
                                            <p:cond delay="499"/>
                                          </p:stCondLst>
                                        </p:cTn>
                                        <p:tgtEl>
                                          <p:spTgt spid="3"/>
                                        </p:tgtEl>
                                        <p:attrNameLst>
                                          <p:attrName>style.visibility</p:attrName>
                                        </p:attrNameLst>
                                      </p:cBhvr>
                                      <p:to>
                                        <p:strVal val="hidden"/>
                                      </p:to>
                                    </p:set>
                                  </p:childTnLst>
                                </p:cTn>
                              </p:par>
                              <p:par>
                                <p:cTn id="26" presetID="2" presetClass="exit" presetSubtype="4" fill="hold" nodeType="withEffect">
                                  <p:stCondLst>
                                    <p:cond delay="0"/>
                                  </p:stCondLst>
                                  <p:childTnLst>
                                    <p:anim calcmode="lin" valueType="num">
                                      <p:cBhvr additive="base">
                                        <p:cTn id="27" dur="500"/>
                                        <p:tgtEl>
                                          <p:spTgt spid="8"/>
                                        </p:tgtEl>
                                        <p:attrNameLst>
                                          <p:attrName>ppt_x</p:attrName>
                                        </p:attrNameLst>
                                      </p:cBhvr>
                                      <p:tavLst>
                                        <p:tav tm="0">
                                          <p:val>
                                            <p:strVal val="ppt_x"/>
                                          </p:val>
                                        </p:tav>
                                        <p:tav tm="100000">
                                          <p:val>
                                            <p:strVal val="ppt_x"/>
                                          </p:val>
                                        </p:tav>
                                      </p:tavLst>
                                    </p:anim>
                                    <p:anim calcmode="lin" valueType="num">
                                      <p:cBhvr additive="base">
                                        <p:cTn id="28" dur="500"/>
                                        <p:tgtEl>
                                          <p:spTgt spid="8"/>
                                        </p:tgtEl>
                                        <p:attrNameLst>
                                          <p:attrName>ppt_y</p:attrName>
                                        </p:attrNameLst>
                                      </p:cBhvr>
                                      <p:tavLst>
                                        <p:tav tm="0">
                                          <p:val>
                                            <p:strVal val="ppt_y"/>
                                          </p:val>
                                        </p:tav>
                                        <p:tav tm="100000">
                                          <p:val>
                                            <p:strVal val="1+ppt_h/2"/>
                                          </p:val>
                                        </p:tav>
                                      </p:tavLst>
                                    </p:anim>
                                    <p:set>
                                      <p:cBhvr>
                                        <p:cTn id="29" dur="1" fill="hold">
                                          <p:stCondLst>
                                            <p:cond delay="499"/>
                                          </p:stCondLst>
                                        </p:cTn>
                                        <p:tgtEl>
                                          <p:spTgt spid="8"/>
                                        </p:tgtEl>
                                        <p:attrNameLst>
                                          <p:attrName>style.visibility</p:attrName>
                                        </p:attrNameLst>
                                      </p:cBhvr>
                                      <p:to>
                                        <p:strVal val="hidden"/>
                                      </p:to>
                                    </p:set>
                                  </p:childTnLst>
                                </p:cTn>
                              </p:par>
                              <p:par>
                                <p:cTn id="30" presetID="2" presetClass="exit" presetSubtype="4" fill="hold" nodeType="withEffect">
                                  <p:stCondLst>
                                    <p:cond delay="0"/>
                                  </p:stCondLst>
                                  <p:childTnLst>
                                    <p:anim calcmode="lin" valueType="num">
                                      <p:cBhvr additive="base">
                                        <p:cTn id="31" dur="500"/>
                                        <p:tgtEl>
                                          <p:spTgt spid="7"/>
                                        </p:tgtEl>
                                        <p:attrNameLst>
                                          <p:attrName>ppt_x</p:attrName>
                                        </p:attrNameLst>
                                      </p:cBhvr>
                                      <p:tavLst>
                                        <p:tav tm="0">
                                          <p:val>
                                            <p:strVal val="ppt_x"/>
                                          </p:val>
                                        </p:tav>
                                        <p:tav tm="100000">
                                          <p:val>
                                            <p:strVal val="ppt_x"/>
                                          </p:val>
                                        </p:tav>
                                      </p:tavLst>
                                    </p:anim>
                                    <p:anim calcmode="lin" valueType="num">
                                      <p:cBhvr additive="base">
                                        <p:cTn id="32" dur="500"/>
                                        <p:tgtEl>
                                          <p:spTgt spid="7"/>
                                        </p:tgtEl>
                                        <p:attrNameLst>
                                          <p:attrName>ppt_y</p:attrName>
                                        </p:attrNameLst>
                                      </p:cBhvr>
                                      <p:tavLst>
                                        <p:tav tm="0">
                                          <p:val>
                                            <p:strVal val="ppt_y"/>
                                          </p:val>
                                        </p:tav>
                                        <p:tav tm="100000">
                                          <p:val>
                                            <p:strVal val="1+ppt_h/2"/>
                                          </p:val>
                                        </p:tav>
                                      </p:tavLst>
                                    </p:anim>
                                    <p:set>
                                      <p:cBhvr>
                                        <p:cTn id="33" dur="1" fill="hold">
                                          <p:stCondLst>
                                            <p:cond delay="499"/>
                                          </p:stCondLst>
                                        </p:cTn>
                                        <p:tgtEl>
                                          <p:spTgt spid="7"/>
                                        </p:tgtEl>
                                        <p:attrNameLst>
                                          <p:attrName>style.visibility</p:attrName>
                                        </p:attrNameLst>
                                      </p:cBhvr>
                                      <p:to>
                                        <p:strVal val="hidden"/>
                                      </p:to>
                                    </p:set>
                                  </p:childTnLst>
                                </p:cTn>
                              </p:par>
                              <p:par>
                                <p:cTn id="34" presetID="2" presetClass="exit" presetSubtype="4" fill="hold" grpId="1" nodeType="withEffect">
                                  <p:stCondLst>
                                    <p:cond delay="0"/>
                                  </p:stCondLst>
                                  <p:childTnLst>
                                    <p:anim calcmode="lin" valueType="num">
                                      <p:cBhvr additive="base">
                                        <p:cTn id="35" dur="500"/>
                                        <p:tgtEl>
                                          <p:spTgt spid="89"/>
                                        </p:tgtEl>
                                        <p:attrNameLst>
                                          <p:attrName>ppt_x</p:attrName>
                                        </p:attrNameLst>
                                      </p:cBhvr>
                                      <p:tavLst>
                                        <p:tav tm="0">
                                          <p:val>
                                            <p:strVal val="ppt_x"/>
                                          </p:val>
                                        </p:tav>
                                        <p:tav tm="100000">
                                          <p:val>
                                            <p:strVal val="ppt_x"/>
                                          </p:val>
                                        </p:tav>
                                      </p:tavLst>
                                    </p:anim>
                                    <p:anim calcmode="lin" valueType="num">
                                      <p:cBhvr additive="base">
                                        <p:cTn id="36" dur="500"/>
                                        <p:tgtEl>
                                          <p:spTgt spid="89"/>
                                        </p:tgtEl>
                                        <p:attrNameLst>
                                          <p:attrName>ppt_y</p:attrName>
                                        </p:attrNameLst>
                                      </p:cBhvr>
                                      <p:tavLst>
                                        <p:tav tm="0">
                                          <p:val>
                                            <p:strVal val="ppt_y"/>
                                          </p:val>
                                        </p:tav>
                                        <p:tav tm="100000">
                                          <p:val>
                                            <p:strVal val="1+ppt_h/2"/>
                                          </p:val>
                                        </p:tav>
                                      </p:tavLst>
                                    </p:anim>
                                    <p:set>
                                      <p:cBhvr>
                                        <p:cTn id="37" dur="1" fill="hold">
                                          <p:stCondLst>
                                            <p:cond delay="499"/>
                                          </p:stCondLst>
                                        </p:cTn>
                                        <p:tgtEl>
                                          <p:spTgt spid="8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89" grpId="0"/>
      <p:bldP spid="89"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1"/>
            <a:ext cx="9906000" cy="1001713"/>
          </a:xfrm>
          <a:prstGeom prst="rect">
            <a:avLst/>
          </a:prstGeom>
          <a:noFill/>
          <a:ln w="9525">
            <a:noFill/>
            <a:miter lim="800000"/>
            <a:headEnd/>
            <a:tailEnd/>
          </a:ln>
        </p:spPr>
        <p:txBody>
          <a:bodyPr lIns="297393" tIns="33044" rIns="165219" bIns="33044" anchor="ctr"/>
          <a:lstStyle/>
          <a:p>
            <a:pPr defTabSz="912398">
              <a:lnSpc>
                <a:spcPct val="85000"/>
              </a:lnSpc>
              <a:defRPr/>
            </a:pPr>
            <a:r>
              <a:rPr lang="en-US" sz="3200" b="1">
                <a:solidFill>
                  <a:srgbClr val="00B050"/>
                </a:solidFill>
                <a:cs typeface="Calibri" pitchFamily="34" charset="0"/>
              </a:rPr>
              <a:t>Year End Assessment</a:t>
            </a:r>
            <a:endParaRPr lang="en-US" sz="3200">
              <a:solidFill>
                <a:srgbClr val="00B050"/>
              </a:solidFill>
            </a:endParaRPr>
          </a:p>
        </p:txBody>
      </p:sp>
      <p:grpSp>
        <p:nvGrpSpPr>
          <p:cNvPr id="32771" name="Group 134"/>
          <p:cNvGrpSpPr>
            <a:grpSpLocks/>
          </p:cNvGrpSpPr>
          <p:nvPr/>
        </p:nvGrpSpPr>
        <p:grpSpPr bwMode="auto">
          <a:xfrm>
            <a:off x="269875" y="3155963"/>
            <a:ext cx="9458326" cy="3100389"/>
            <a:chOff x="0" y="2982969"/>
            <a:chExt cx="9906000" cy="3273513"/>
          </a:xfrm>
        </p:grpSpPr>
        <p:cxnSp>
          <p:nvCxnSpPr>
            <p:cNvPr id="129" name="Straight Connector 128"/>
            <p:cNvCxnSpPr/>
            <p:nvPr/>
          </p:nvCxnSpPr>
          <p:spPr>
            <a:xfrm>
              <a:off x="0" y="4900479"/>
              <a:ext cx="99060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5693296"/>
              <a:ext cx="99060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31" name="Rectangle 130"/>
            <p:cNvSpPr>
              <a:spLocks/>
            </p:cNvSpPr>
            <p:nvPr/>
          </p:nvSpPr>
          <p:spPr>
            <a:xfrm>
              <a:off x="1277693" y="5026850"/>
              <a:ext cx="1411434" cy="523361"/>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Input  Year End Self Assessment comments</a:t>
              </a:r>
            </a:p>
          </p:txBody>
        </p:sp>
        <p:sp>
          <p:nvSpPr>
            <p:cNvPr id="132" name="Rectangle 131"/>
            <p:cNvSpPr>
              <a:spLocks/>
            </p:cNvSpPr>
            <p:nvPr/>
          </p:nvSpPr>
          <p:spPr>
            <a:xfrm>
              <a:off x="2949188" y="4212397"/>
              <a:ext cx="1130299" cy="45337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Preliminary Comments</a:t>
              </a:r>
            </a:p>
          </p:txBody>
        </p:sp>
        <p:sp>
          <p:nvSpPr>
            <p:cNvPr id="133" name="Rectangle 132"/>
            <p:cNvSpPr>
              <a:spLocks/>
            </p:cNvSpPr>
            <p:nvPr/>
          </p:nvSpPr>
          <p:spPr>
            <a:xfrm>
              <a:off x="4282400" y="5776266"/>
              <a:ext cx="1130299" cy="45337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Conduct calibration. </a:t>
              </a:r>
            </a:p>
          </p:txBody>
        </p:sp>
        <p:cxnSp>
          <p:nvCxnSpPr>
            <p:cNvPr id="134" name="Straight Arrow Connector 103"/>
            <p:cNvCxnSpPr/>
            <p:nvPr/>
          </p:nvCxnSpPr>
          <p:spPr>
            <a:xfrm flipV="1">
              <a:off x="2688487" y="4439540"/>
              <a:ext cx="261034" cy="849805"/>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Elbow Connector 134"/>
            <p:cNvCxnSpPr/>
            <p:nvPr/>
          </p:nvCxnSpPr>
          <p:spPr>
            <a:xfrm>
              <a:off x="4080115" y="4439540"/>
              <a:ext cx="202842" cy="1563843"/>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hape 48"/>
            <p:cNvCxnSpPr/>
            <p:nvPr/>
          </p:nvCxnSpPr>
          <p:spPr>
            <a:xfrm>
              <a:off x="6803517" y="4439540"/>
              <a:ext cx="337516" cy="849805"/>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Shape 48"/>
            <p:cNvCxnSpPr/>
            <p:nvPr/>
          </p:nvCxnSpPr>
          <p:spPr>
            <a:xfrm flipV="1">
              <a:off x="5411889" y="4439540"/>
              <a:ext cx="261034" cy="1563843"/>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8" name="Rectangle 137"/>
            <p:cNvSpPr>
              <a:spLocks/>
            </p:cNvSpPr>
            <p:nvPr/>
          </p:nvSpPr>
          <p:spPr>
            <a:xfrm>
              <a:off x="5672762" y="4212397"/>
              <a:ext cx="1130299" cy="45337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Final Comments</a:t>
              </a:r>
            </a:p>
          </p:txBody>
        </p:sp>
        <p:sp>
          <p:nvSpPr>
            <p:cNvPr id="139" name="Rectangle 138"/>
            <p:cNvSpPr>
              <a:spLocks/>
            </p:cNvSpPr>
            <p:nvPr/>
          </p:nvSpPr>
          <p:spPr>
            <a:xfrm>
              <a:off x="7141419" y="5061845"/>
              <a:ext cx="1130299" cy="45337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Accept  Comments</a:t>
              </a:r>
            </a:p>
          </p:txBody>
        </p:sp>
        <p:sp>
          <p:nvSpPr>
            <p:cNvPr id="140" name="Rectangle 139"/>
            <p:cNvSpPr>
              <a:spLocks/>
            </p:cNvSpPr>
            <p:nvPr/>
          </p:nvSpPr>
          <p:spPr>
            <a:xfrm>
              <a:off x="8531779" y="5061845"/>
              <a:ext cx="1130299" cy="453370"/>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Year End Complete</a:t>
              </a:r>
            </a:p>
          </p:txBody>
        </p:sp>
        <p:cxnSp>
          <p:nvCxnSpPr>
            <p:cNvPr id="141" name="Shape 48"/>
            <p:cNvCxnSpPr/>
            <p:nvPr/>
          </p:nvCxnSpPr>
          <p:spPr>
            <a:xfrm>
              <a:off x="8271627" y="5289345"/>
              <a:ext cx="259372" cy="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a:xfrm>
              <a:off x="1471436" y="3014816"/>
              <a:ext cx="1305171"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43" name="Oval 142"/>
            <p:cNvSpPr/>
            <p:nvPr/>
          </p:nvSpPr>
          <p:spPr>
            <a:xfrm>
              <a:off x="2015118"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1</a:t>
              </a:r>
            </a:p>
          </p:txBody>
        </p:sp>
        <p:sp>
          <p:nvSpPr>
            <p:cNvPr id="144" name="Rectangle 143"/>
            <p:cNvSpPr/>
            <p:nvPr/>
          </p:nvSpPr>
          <p:spPr>
            <a:xfrm>
              <a:off x="1524640" y="3503502"/>
              <a:ext cx="1198762" cy="536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100" b="1">
                  <a:solidFill>
                    <a:srgbClr val="505150"/>
                  </a:solidFill>
                </a:rPr>
                <a:t>Year End Self Assessment (Employee)</a:t>
              </a:r>
            </a:p>
          </p:txBody>
        </p:sp>
        <p:grpSp>
          <p:nvGrpSpPr>
            <p:cNvPr id="32803" name="Group 156"/>
            <p:cNvGrpSpPr>
              <a:grpSpLocks/>
            </p:cNvGrpSpPr>
            <p:nvPr/>
          </p:nvGrpSpPr>
          <p:grpSpPr bwMode="auto">
            <a:xfrm>
              <a:off x="1897051" y="3190580"/>
              <a:ext cx="497697" cy="354946"/>
              <a:chOff x="1897051" y="1518211"/>
              <a:chExt cx="497697" cy="542678"/>
            </a:xfrm>
          </p:grpSpPr>
          <p:sp>
            <p:nvSpPr>
              <p:cNvPr id="241" name="Freeform 257"/>
              <p:cNvSpPr>
                <a:spLocks/>
              </p:cNvSpPr>
              <p:nvPr/>
            </p:nvSpPr>
            <p:spPr bwMode="auto">
              <a:xfrm>
                <a:off x="1897071" y="1636447"/>
                <a:ext cx="440599" cy="425402"/>
              </a:xfrm>
              <a:custGeom>
                <a:avLst/>
                <a:gdLst/>
                <a:ahLst/>
                <a:cxnLst>
                  <a:cxn ang="0">
                    <a:pos x="130" y="273"/>
                  </a:cxn>
                  <a:cxn ang="0">
                    <a:pos x="147" y="258"/>
                  </a:cxn>
                  <a:cxn ang="0">
                    <a:pos x="162" y="175"/>
                  </a:cxn>
                  <a:cxn ang="0">
                    <a:pos x="166" y="219"/>
                  </a:cxn>
                  <a:cxn ang="0">
                    <a:pos x="170" y="270"/>
                  </a:cxn>
                  <a:cxn ang="0">
                    <a:pos x="188" y="270"/>
                  </a:cxn>
                  <a:cxn ang="0">
                    <a:pos x="179" y="171"/>
                  </a:cxn>
                  <a:cxn ang="0">
                    <a:pos x="243" y="171"/>
                  </a:cxn>
                  <a:cxn ang="0">
                    <a:pos x="258" y="163"/>
                  </a:cxn>
                  <a:cxn ang="0">
                    <a:pos x="276" y="135"/>
                  </a:cxn>
                  <a:cxn ang="0">
                    <a:pos x="276" y="39"/>
                  </a:cxn>
                  <a:cxn ang="0">
                    <a:pos x="233" y="8"/>
                  </a:cxn>
                  <a:cxn ang="0">
                    <a:pos x="212" y="41"/>
                  </a:cxn>
                  <a:cxn ang="0">
                    <a:pos x="214" y="40"/>
                  </a:cxn>
                  <a:cxn ang="0">
                    <a:pos x="233" y="27"/>
                  </a:cxn>
                  <a:cxn ang="0">
                    <a:pos x="233" y="27"/>
                  </a:cxn>
                  <a:cxn ang="0">
                    <a:pos x="233" y="27"/>
                  </a:cxn>
                  <a:cxn ang="0">
                    <a:pos x="233" y="27"/>
                  </a:cxn>
                  <a:cxn ang="0">
                    <a:pos x="250" y="24"/>
                  </a:cxn>
                  <a:cxn ang="0">
                    <a:pos x="253" y="42"/>
                  </a:cxn>
                  <a:cxn ang="0">
                    <a:pos x="231" y="61"/>
                  </a:cxn>
                  <a:cxn ang="0">
                    <a:pos x="216" y="68"/>
                  </a:cxn>
                  <a:cxn ang="0">
                    <a:pos x="213" y="122"/>
                  </a:cxn>
                  <a:cxn ang="0">
                    <a:pos x="213" y="135"/>
                  </a:cxn>
                  <a:cxn ang="0">
                    <a:pos x="175" y="135"/>
                  </a:cxn>
                  <a:cxn ang="0">
                    <a:pos x="172" y="127"/>
                  </a:cxn>
                  <a:cxn ang="0">
                    <a:pos x="178" y="127"/>
                  </a:cxn>
                  <a:cxn ang="0">
                    <a:pos x="183" y="122"/>
                  </a:cxn>
                  <a:cxn ang="0">
                    <a:pos x="183" y="106"/>
                  </a:cxn>
                  <a:cxn ang="0">
                    <a:pos x="178" y="101"/>
                  </a:cxn>
                  <a:cxn ang="0">
                    <a:pos x="10" y="101"/>
                  </a:cxn>
                  <a:cxn ang="0">
                    <a:pos x="5" y="106"/>
                  </a:cxn>
                  <a:cxn ang="0">
                    <a:pos x="5" y="122"/>
                  </a:cxn>
                  <a:cxn ang="0">
                    <a:pos x="10" y="127"/>
                  </a:cxn>
                  <a:cxn ang="0">
                    <a:pos x="16" y="127"/>
                  </a:cxn>
                  <a:cxn ang="0">
                    <a:pos x="12" y="141"/>
                  </a:cxn>
                  <a:cxn ang="0">
                    <a:pos x="0" y="270"/>
                  </a:cxn>
                  <a:cxn ang="0">
                    <a:pos x="18" y="270"/>
                  </a:cxn>
                  <a:cxn ang="0">
                    <a:pos x="22" y="219"/>
                  </a:cxn>
                  <a:cxn ang="0">
                    <a:pos x="29" y="143"/>
                  </a:cxn>
                  <a:cxn ang="0">
                    <a:pos x="33" y="133"/>
                  </a:cxn>
                  <a:cxn ang="0">
                    <a:pos x="43" y="127"/>
                  </a:cxn>
                  <a:cxn ang="0">
                    <a:pos x="145" y="127"/>
                  </a:cxn>
                  <a:cxn ang="0">
                    <a:pos x="155" y="133"/>
                  </a:cxn>
                  <a:cxn ang="0">
                    <a:pos x="156" y="135"/>
                  </a:cxn>
                  <a:cxn ang="0">
                    <a:pos x="148" y="135"/>
                  </a:cxn>
                  <a:cxn ang="0">
                    <a:pos x="131" y="150"/>
                  </a:cxn>
                  <a:cxn ang="0">
                    <a:pos x="112" y="252"/>
                  </a:cxn>
                </a:cxnLst>
                <a:rect l="0" t="0" r="r" b="b"/>
                <a:pathLst>
                  <a:path w="283" h="273">
                    <a:moveTo>
                      <a:pt x="130" y="273"/>
                    </a:moveTo>
                    <a:cubicBezTo>
                      <a:pt x="138" y="273"/>
                      <a:pt x="146" y="267"/>
                      <a:pt x="147" y="258"/>
                    </a:cubicBezTo>
                    <a:cubicBezTo>
                      <a:pt x="162" y="175"/>
                      <a:pt x="162" y="175"/>
                      <a:pt x="162" y="175"/>
                    </a:cubicBezTo>
                    <a:cubicBezTo>
                      <a:pt x="163" y="189"/>
                      <a:pt x="165" y="203"/>
                      <a:pt x="166" y="219"/>
                    </a:cubicBezTo>
                    <a:cubicBezTo>
                      <a:pt x="168" y="241"/>
                      <a:pt x="169" y="260"/>
                      <a:pt x="170" y="270"/>
                    </a:cubicBezTo>
                    <a:cubicBezTo>
                      <a:pt x="188" y="270"/>
                      <a:pt x="188" y="270"/>
                      <a:pt x="188" y="270"/>
                    </a:cubicBezTo>
                    <a:cubicBezTo>
                      <a:pt x="186" y="254"/>
                      <a:pt x="182" y="206"/>
                      <a:pt x="179" y="171"/>
                    </a:cubicBezTo>
                    <a:cubicBezTo>
                      <a:pt x="243" y="171"/>
                      <a:pt x="243" y="171"/>
                      <a:pt x="243" y="171"/>
                    </a:cubicBezTo>
                    <a:cubicBezTo>
                      <a:pt x="249" y="171"/>
                      <a:pt x="255" y="168"/>
                      <a:pt x="258" y="163"/>
                    </a:cubicBezTo>
                    <a:cubicBezTo>
                      <a:pt x="266" y="158"/>
                      <a:pt x="273" y="148"/>
                      <a:pt x="276" y="135"/>
                    </a:cubicBezTo>
                    <a:cubicBezTo>
                      <a:pt x="283" y="103"/>
                      <a:pt x="283" y="70"/>
                      <a:pt x="276" y="39"/>
                    </a:cubicBezTo>
                    <a:cubicBezTo>
                      <a:pt x="271" y="14"/>
                      <a:pt x="249" y="0"/>
                      <a:pt x="233" y="8"/>
                    </a:cubicBezTo>
                    <a:cubicBezTo>
                      <a:pt x="220" y="14"/>
                      <a:pt x="213" y="28"/>
                      <a:pt x="212" y="41"/>
                    </a:cubicBezTo>
                    <a:cubicBezTo>
                      <a:pt x="213" y="41"/>
                      <a:pt x="214" y="41"/>
                      <a:pt x="214" y="40"/>
                    </a:cubicBezTo>
                    <a:cubicBezTo>
                      <a:pt x="226" y="34"/>
                      <a:pt x="231" y="28"/>
                      <a:pt x="233" y="27"/>
                    </a:cubicBezTo>
                    <a:cubicBezTo>
                      <a:pt x="233" y="27"/>
                      <a:pt x="233" y="27"/>
                      <a:pt x="233" y="27"/>
                    </a:cubicBezTo>
                    <a:cubicBezTo>
                      <a:pt x="233" y="27"/>
                      <a:pt x="233" y="27"/>
                      <a:pt x="233" y="27"/>
                    </a:cubicBezTo>
                    <a:cubicBezTo>
                      <a:pt x="233" y="27"/>
                      <a:pt x="233" y="27"/>
                      <a:pt x="233" y="27"/>
                    </a:cubicBezTo>
                    <a:cubicBezTo>
                      <a:pt x="237" y="21"/>
                      <a:pt x="245" y="20"/>
                      <a:pt x="250" y="24"/>
                    </a:cubicBezTo>
                    <a:cubicBezTo>
                      <a:pt x="256" y="28"/>
                      <a:pt x="257" y="36"/>
                      <a:pt x="253" y="42"/>
                    </a:cubicBezTo>
                    <a:cubicBezTo>
                      <a:pt x="253" y="43"/>
                      <a:pt x="246" y="52"/>
                      <a:pt x="231" y="61"/>
                    </a:cubicBezTo>
                    <a:cubicBezTo>
                      <a:pt x="226" y="63"/>
                      <a:pt x="221" y="66"/>
                      <a:pt x="216" y="68"/>
                    </a:cubicBezTo>
                    <a:cubicBezTo>
                      <a:pt x="218" y="86"/>
                      <a:pt x="217" y="104"/>
                      <a:pt x="213" y="122"/>
                    </a:cubicBezTo>
                    <a:cubicBezTo>
                      <a:pt x="212" y="126"/>
                      <a:pt x="212" y="131"/>
                      <a:pt x="213" y="135"/>
                    </a:cubicBezTo>
                    <a:cubicBezTo>
                      <a:pt x="175" y="135"/>
                      <a:pt x="175" y="135"/>
                      <a:pt x="175" y="135"/>
                    </a:cubicBezTo>
                    <a:cubicBezTo>
                      <a:pt x="175" y="132"/>
                      <a:pt x="174" y="129"/>
                      <a:pt x="172" y="127"/>
                    </a:cubicBezTo>
                    <a:cubicBezTo>
                      <a:pt x="178" y="127"/>
                      <a:pt x="178" y="127"/>
                      <a:pt x="178" y="127"/>
                    </a:cubicBezTo>
                    <a:cubicBezTo>
                      <a:pt x="181" y="127"/>
                      <a:pt x="183" y="125"/>
                      <a:pt x="183" y="122"/>
                    </a:cubicBezTo>
                    <a:cubicBezTo>
                      <a:pt x="183" y="106"/>
                      <a:pt x="183" y="106"/>
                      <a:pt x="183" y="106"/>
                    </a:cubicBezTo>
                    <a:cubicBezTo>
                      <a:pt x="183" y="103"/>
                      <a:pt x="181" y="101"/>
                      <a:pt x="178" y="101"/>
                    </a:cubicBezTo>
                    <a:cubicBezTo>
                      <a:pt x="10" y="101"/>
                      <a:pt x="10" y="101"/>
                      <a:pt x="10" y="101"/>
                    </a:cubicBezTo>
                    <a:cubicBezTo>
                      <a:pt x="7" y="101"/>
                      <a:pt x="5" y="103"/>
                      <a:pt x="5" y="106"/>
                    </a:cubicBezTo>
                    <a:cubicBezTo>
                      <a:pt x="5" y="122"/>
                      <a:pt x="5" y="122"/>
                      <a:pt x="5" y="122"/>
                    </a:cubicBezTo>
                    <a:cubicBezTo>
                      <a:pt x="5" y="125"/>
                      <a:pt x="7" y="127"/>
                      <a:pt x="10" y="127"/>
                    </a:cubicBezTo>
                    <a:cubicBezTo>
                      <a:pt x="16" y="127"/>
                      <a:pt x="16" y="127"/>
                      <a:pt x="16" y="127"/>
                    </a:cubicBezTo>
                    <a:cubicBezTo>
                      <a:pt x="14" y="131"/>
                      <a:pt x="12" y="136"/>
                      <a:pt x="12" y="141"/>
                    </a:cubicBezTo>
                    <a:cubicBezTo>
                      <a:pt x="9" y="170"/>
                      <a:pt x="2" y="248"/>
                      <a:pt x="0" y="270"/>
                    </a:cubicBezTo>
                    <a:cubicBezTo>
                      <a:pt x="18" y="270"/>
                      <a:pt x="18" y="270"/>
                      <a:pt x="18" y="270"/>
                    </a:cubicBezTo>
                    <a:cubicBezTo>
                      <a:pt x="19" y="260"/>
                      <a:pt x="21" y="241"/>
                      <a:pt x="22" y="219"/>
                    </a:cubicBezTo>
                    <a:cubicBezTo>
                      <a:pt x="25" y="188"/>
                      <a:pt x="28" y="159"/>
                      <a:pt x="29" y="143"/>
                    </a:cubicBezTo>
                    <a:cubicBezTo>
                      <a:pt x="30" y="138"/>
                      <a:pt x="31" y="136"/>
                      <a:pt x="33" y="133"/>
                    </a:cubicBezTo>
                    <a:cubicBezTo>
                      <a:pt x="35" y="131"/>
                      <a:pt x="39" y="129"/>
                      <a:pt x="43" y="127"/>
                    </a:cubicBezTo>
                    <a:cubicBezTo>
                      <a:pt x="145" y="127"/>
                      <a:pt x="145" y="127"/>
                      <a:pt x="145" y="127"/>
                    </a:cubicBezTo>
                    <a:cubicBezTo>
                      <a:pt x="150" y="129"/>
                      <a:pt x="153" y="131"/>
                      <a:pt x="155" y="133"/>
                    </a:cubicBezTo>
                    <a:cubicBezTo>
                      <a:pt x="156" y="134"/>
                      <a:pt x="156" y="135"/>
                      <a:pt x="156" y="135"/>
                    </a:cubicBezTo>
                    <a:cubicBezTo>
                      <a:pt x="148" y="135"/>
                      <a:pt x="148" y="135"/>
                      <a:pt x="148" y="135"/>
                    </a:cubicBezTo>
                    <a:cubicBezTo>
                      <a:pt x="140" y="135"/>
                      <a:pt x="133" y="141"/>
                      <a:pt x="131" y="150"/>
                    </a:cubicBezTo>
                    <a:cubicBezTo>
                      <a:pt x="112" y="252"/>
                      <a:pt x="112" y="252"/>
                      <a:pt x="112" y="252"/>
                    </a:cubicBezTo>
                  </a:path>
                </a:pathLst>
              </a:custGeom>
              <a:noFill/>
              <a:ln w="12700" cap="flat">
                <a:solidFill>
                  <a:schemeClr val="accent5"/>
                </a:solidFill>
                <a:prstDash val="solid"/>
                <a:miter lim="800000"/>
                <a:headEnd/>
                <a:tailEnd/>
              </a:ln>
            </p:spPr>
            <p:txBody>
              <a:bodyPr/>
              <a:lstStyle/>
              <a:p>
                <a:pPr>
                  <a:defRPr/>
                </a:pPr>
                <a:endParaRPr lang="en-US" sz="1100">
                  <a:solidFill>
                    <a:srgbClr val="505150"/>
                  </a:solidFill>
                </a:endParaRPr>
              </a:p>
            </p:txBody>
          </p:sp>
          <p:sp>
            <p:nvSpPr>
              <p:cNvPr id="242" name="Freeform 258"/>
              <p:cNvSpPr>
                <a:spLocks/>
              </p:cNvSpPr>
              <p:nvPr/>
            </p:nvSpPr>
            <p:spPr bwMode="auto">
              <a:xfrm>
                <a:off x="1948612" y="1613384"/>
                <a:ext cx="206167" cy="174261"/>
              </a:xfrm>
              <a:custGeom>
                <a:avLst/>
                <a:gdLst/>
                <a:ahLst/>
                <a:cxnLst>
                  <a:cxn ang="0">
                    <a:pos x="28" y="112"/>
                  </a:cxn>
                  <a:cxn ang="0">
                    <a:pos x="129" y="112"/>
                  </a:cxn>
                  <a:cxn ang="0">
                    <a:pos x="132" y="109"/>
                  </a:cxn>
                  <a:cxn ang="0">
                    <a:pos x="132" y="103"/>
                  </a:cxn>
                  <a:cxn ang="0">
                    <a:pos x="129" y="99"/>
                  </a:cxn>
                  <a:cxn ang="0">
                    <a:pos x="46" y="99"/>
                  </a:cxn>
                  <a:cxn ang="0">
                    <a:pos x="46" y="98"/>
                  </a:cxn>
                  <a:cxn ang="0">
                    <a:pos x="13" y="3"/>
                  </a:cxn>
                  <a:cxn ang="0">
                    <a:pos x="8" y="0"/>
                  </a:cxn>
                  <a:cxn ang="0">
                    <a:pos x="3" y="2"/>
                  </a:cxn>
                  <a:cxn ang="0">
                    <a:pos x="0" y="7"/>
                  </a:cxn>
                  <a:cxn ang="0">
                    <a:pos x="32" y="99"/>
                  </a:cxn>
                  <a:cxn ang="0">
                    <a:pos x="28" y="99"/>
                  </a:cxn>
                </a:cxnLst>
                <a:rect l="0" t="0" r="r" b="b"/>
                <a:pathLst>
                  <a:path w="132" h="112">
                    <a:moveTo>
                      <a:pt x="28" y="112"/>
                    </a:moveTo>
                    <a:cubicBezTo>
                      <a:pt x="129" y="112"/>
                      <a:pt x="129" y="112"/>
                      <a:pt x="129" y="112"/>
                    </a:cubicBezTo>
                    <a:cubicBezTo>
                      <a:pt x="131" y="112"/>
                      <a:pt x="132" y="111"/>
                      <a:pt x="132" y="109"/>
                    </a:cubicBezTo>
                    <a:cubicBezTo>
                      <a:pt x="132" y="103"/>
                      <a:pt x="132" y="103"/>
                      <a:pt x="132" y="103"/>
                    </a:cubicBezTo>
                    <a:cubicBezTo>
                      <a:pt x="132" y="101"/>
                      <a:pt x="131" y="99"/>
                      <a:pt x="129" y="99"/>
                    </a:cubicBezTo>
                    <a:cubicBezTo>
                      <a:pt x="46" y="99"/>
                      <a:pt x="46" y="99"/>
                      <a:pt x="46" y="99"/>
                    </a:cubicBezTo>
                    <a:cubicBezTo>
                      <a:pt x="46" y="99"/>
                      <a:pt x="46" y="99"/>
                      <a:pt x="46" y="98"/>
                    </a:cubicBezTo>
                    <a:cubicBezTo>
                      <a:pt x="13" y="3"/>
                      <a:pt x="13" y="3"/>
                      <a:pt x="13" y="3"/>
                    </a:cubicBezTo>
                    <a:cubicBezTo>
                      <a:pt x="12" y="1"/>
                      <a:pt x="10" y="0"/>
                      <a:pt x="8" y="0"/>
                    </a:cubicBezTo>
                    <a:cubicBezTo>
                      <a:pt x="3" y="2"/>
                      <a:pt x="3" y="2"/>
                      <a:pt x="3" y="2"/>
                    </a:cubicBezTo>
                    <a:cubicBezTo>
                      <a:pt x="1" y="3"/>
                      <a:pt x="0" y="5"/>
                      <a:pt x="0" y="7"/>
                    </a:cubicBezTo>
                    <a:cubicBezTo>
                      <a:pt x="32" y="99"/>
                      <a:pt x="32" y="99"/>
                      <a:pt x="32" y="99"/>
                    </a:cubicBezTo>
                    <a:cubicBezTo>
                      <a:pt x="28" y="99"/>
                      <a:pt x="28" y="99"/>
                      <a:pt x="28" y="99"/>
                    </a:cubicBezTo>
                  </a:path>
                </a:pathLst>
              </a:custGeom>
              <a:noFill/>
              <a:ln w="12700" cap="flat">
                <a:solidFill>
                  <a:schemeClr val="accent5"/>
                </a:solidFill>
                <a:prstDash val="solid"/>
                <a:miter lim="800000"/>
                <a:headEnd/>
                <a:tailEnd/>
              </a:ln>
            </p:spPr>
            <p:txBody>
              <a:bodyPr/>
              <a:lstStyle/>
              <a:p>
                <a:pPr>
                  <a:defRPr/>
                </a:pPr>
                <a:endParaRPr lang="en-US" sz="1100">
                  <a:solidFill>
                    <a:srgbClr val="505150"/>
                  </a:solidFill>
                </a:endParaRPr>
              </a:p>
            </p:txBody>
          </p:sp>
          <p:sp>
            <p:nvSpPr>
              <p:cNvPr id="243" name="Freeform 259"/>
              <p:cNvSpPr>
                <a:spLocks/>
              </p:cNvSpPr>
              <p:nvPr/>
            </p:nvSpPr>
            <p:spPr bwMode="auto">
              <a:xfrm>
                <a:off x="2179719" y="1518565"/>
                <a:ext cx="123035" cy="123008"/>
              </a:xfrm>
              <a:custGeom>
                <a:avLst/>
                <a:gdLst/>
                <a:ahLst/>
                <a:cxnLst>
                  <a:cxn ang="0">
                    <a:pos x="48" y="74"/>
                  </a:cxn>
                  <a:cxn ang="0">
                    <a:pos x="75" y="31"/>
                  </a:cxn>
                  <a:cxn ang="0">
                    <a:pos x="31" y="4"/>
                  </a:cxn>
                  <a:cxn ang="0">
                    <a:pos x="5" y="47"/>
                  </a:cxn>
                  <a:cxn ang="0">
                    <a:pos x="48" y="74"/>
                  </a:cxn>
                </a:cxnLst>
                <a:rect l="0" t="0" r="r" b="b"/>
                <a:pathLst>
                  <a:path w="80" h="79">
                    <a:moveTo>
                      <a:pt x="48" y="74"/>
                    </a:moveTo>
                    <a:cubicBezTo>
                      <a:pt x="67" y="70"/>
                      <a:pt x="80" y="50"/>
                      <a:pt x="75" y="31"/>
                    </a:cubicBezTo>
                    <a:cubicBezTo>
                      <a:pt x="70" y="12"/>
                      <a:pt x="51" y="0"/>
                      <a:pt x="31" y="4"/>
                    </a:cubicBezTo>
                    <a:cubicBezTo>
                      <a:pt x="12" y="8"/>
                      <a:pt x="0" y="28"/>
                      <a:pt x="5" y="47"/>
                    </a:cubicBezTo>
                    <a:cubicBezTo>
                      <a:pt x="9" y="66"/>
                      <a:pt x="29" y="79"/>
                      <a:pt x="48" y="74"/>
                    </a:cubicBezTo>
                    <a:close/>
                  </a:path>
                </a:pathLst>
              </a:custGeom>
              <a:noFill/>
              <a:ln w="12700" cap="flat">
                <a:solidFill>
                  <a:schemeClr val="accent5"/>
                </a:solidFill>
                <a:prstDash val="solid"/>
                <a:miter lim="800000"/>
                <a:headEnd/>
                <a:tailEnd/>
              </a:ln>
            </p:spPr>
            <p:txBody>
              <a:bodyPr/>
              <a:lstStyle/>
              <a:p>
                <a:pPr>
                  <a:defRPr/>
                </a:pPr>
                <a:endParaRPr lang="en-US" sz="1100">
                  <a:solidFill>
                    <a:srgbClr val="505150"/>
                  </a:solidFill>
                </a:endParaRPr>
              </a:p>
            </p:txBody>
          </p:sp>
          <p:sp>
            <p:nvSpPr>
              <p:cNvPr id="244" name="Freeform 260"/>
              <p:cNvSpPr>
                <a:spLocks/>
              </p:cNvSpPr>
              <p:nvPr/>
            </p:nvSpPr>
            <p:spPr bwMode="auto">
              <a:xfrm>
                <a:off x="2084948" y="1703076"/>
                <a:ext cx="139662" cy="48691"/>
              </a:xfrm>
              <a:custGeom>
                <a:avLst/>
                <a:gdLst/>
                <a:ahLst/>
                <a:cxnLst>
                  <a:cxn ang="0">
                    <a:pos x="90" y="0"/>
                  </a:cxn>
                  <a:cxn ang="0">
                    <a:pos x="87" y="2"/>
                  </a:cxn>
                  <a:cxn ang="0">
                    <a:pos x="30" y="13"/>
                  </a:cxn>
                  <a:cxn ang="0">
                    <a:pos x="11" y="12"/>
                  </a:cxn>
                  <a:cxn ang="0">
                    <a:pos x="10" y="12"/>
                  </a:cxn>
                  <a:cxn ang="0">
                    <a:pos x="0" y="21"/>
                  </a:cxn>
                  <a:cxn ang="0">
                    <a:pos x="9" y="31"/>
                  </a:cxn>
                  <a:cxn ang="0">
                    <a:pos x="30" y="32"/>
                  </a:cxn>
                  <a:cxn ang="0">
                    <a:pos x="30" y="32"/>
                  </a:cxn>
                  <a:cxn ang="0">
                    <a:pos x="90" y="21"/>
                  </a:cxn>
                </a:cxnLst>
                <a:rect l="0" t="0" r="r" b="b"/>
                <a:pathLst>
                  <a:path w="90" h="32">
                    <a:moveTo>
                      <a:pt x="90" y="0"/>
                    </a:moveTo>
                    <a:cubicBezTo>
                      <a:pt x="89" y="1"/>
                      <a:pt x="88" y="1"/>
                      <a:pt x="87" y="2"/>
                    </a:cubicBezTo>
                    <a:cubicBezTo>
                      <a:pt x="72" y="9"/>
                      <a:pt x="52" y="13"/>
                      <a:pt x="30" y="13"/>
                    </a:cubicBezTo>
                    <a:cubicBezTo>
                      <a:pt x="24" y="13"/>
                      <a:pt x="17" y="12"/>
                      <a:pt x="11" y="12"/>
                    </a:cubicBezTo>
                    <a:cubicBezTo>
                      <a:pt x="10" y="12"/>
                      <a:pt x="10" y="12"/>
                      <a:pt x="10" y="12"/>
                    </a:cubicBezTo>
                    <a:cubicBezTo>
                      <a:pt x="5" y="12"/>
                      <a:pt x="1" y="16"/>
                      <a:pt x="0" y="21"/>
                    </a:cubicBezTo>
                    <a:cubicBezTo>
                      <a:pt x="0" y="26"/>
                      <a:pt x="4" y="31"/>
                      <a:pt x="9" y="31"/>
                    </a:cubicBezTo>
                    <a:cubicBezTo>
                      <a:pt x="16" y="31"/>
                      <a:pt x="23" y="32"/>
                      <a:pt x="30" y="32"/>
                    </a:cubicBezTo>
                    <a:cubicBezTo>
                      <a:pt x="30" y="32"/>
                      <a:pt x="30" y="32"/>
                      <a:pt x="30" y="32"/>
                    </a:cubicBezTo>
                    <a:cubicBezTo>
                      <a:pt x="56" y="32"/>
                      <a:pt x="76" y="27"/>
                      <a:pt x="90" y="21"/>
                    </a:cubicBezTo>
                  </a:path>
                </a:pathLst>
              </a:custGeom>
              <a:noFill/>
              <a:ln w="12700" cap="flat">
                <a:solidFill>
                  <a:schemeClr val="accent5"/>
                </a:solidFill>
                <a:prstDash val="solid"/>
                <a:miter lim="800000"/>
                <a:headEnd/>
                <a:tailEnd/>
              </a:ln>
            </p:spPr>
            <p:txBody>
              <a:bodyPr/>
              <a:lstStyle/>
              <a:p>
                <a:pPr>
                  <a:defRPr/>
                </a:pPr>
                <a:endParaRPr lang="en-US" sz="1100">
                  <a:solidFill>
                    <a:srgbClr val="505150"/>
                  </a:solidFill>
                </a:endParaRPr>
              </a:p>
            </p:txBody>
          </p:sp>
          <p:sp>
            <p:nvSpPr>
              <p:cNvPr id="245" name="Freeform 261"/>
              <p:cNvSpPr>
                <a:spLocks/>
              </p:cNvSpPr>
              <p:nvPr/>
            </p:nvSpPr>
            <p:spPr bwMode="auto">
              <a:xfrm>
                <a:off x="2209647" y="1915778"/>
                <a:ext cx="184552" cy="138384"/>
              </a:xfrm>
              <a:custGeom>
                <a:avLst/>
                <a:gdLst/>
                <a:ahLst/>
                <a:cxnLst>
                  <a:cxn ang="0">
                    <a:pos x="0" y="332"/>
                  </a:cxn>
                  <a:cxn ang="0">
                    <a:pos x="446" y="332"/>
                  </a:cxn>
                  <a:cxn ang="0">
                    <a:pos x="389" y="0"/>
                  </a:cxn>
                  <a:cxn ang="0">
                    <a:pos x="56" y="0"/>
                  </a:cxn>
                  <a:cxn ang="0">
                    <a:pos x="0" y="332"/>
                  </a:cxn>
                  <a:cxn ang="0">
                    <a:pos x="0" y="332"/>
                  </a:cxn>
                </a:cxnLst>
                <a:rect l="0" t="0" r="r" b="b"/>
                <a:pathLst>
                  <a:path w="446" h="332">
                    <a:moveTo>
                      <a:pt x="0" y="332"/>
                    </a:moveTo>
                    <a:lnTo>
                      <a:pt x="446" y="332"/>
                    </a:lnTo>
                    <a:lnTo>
                      <a:pt x="389" y="0"/>
                    </a:lnTo>
                    <a:lnTo>
                      <a:pt x="56" y="0"/>
                    </a:lnTo>
                    <a:lnTo>
                      <a:pt x="0" y="332"/>
                    </a:lnTo>
                    <a:lnTo>
                      <a:pt x="0" y="332"/>
                    </a:lnTo>
                    <a:close/>
                  </a:path>
                </a:pathLst>
              </a:custGeom>
              <a:noFill/>
              <a:ln w="12700" cap="flat">
                <a:solidFill>
                  <a:schemeClr val="accent5"/>
                </a:solidFill>
                <a:prstDash val="solid"/>
                <a:miter lim="800000"/>
                <a:headEnd/>
                <a:tailEnd/>
              </a:ln>
            </p:spPr>
            <p:txBody>
              <a:bodyPr/>
              <a:lstStyle/>
              <a:p>
                <a:pPr>
                  <a:defRPr/>
                </a:pPr>
                <a:endParaRPr lang="en-US" sz="1100">
                  <a:solidFill>
                    <a:srgbClr val="505150"/>
                  </a:solidFill>
                </a:endParaRPr>
              </a:p>
            </p:txBody>
          </p:sp>
        </p:grpSp>
        <p:sp>
          <p:nvSpPr>
            <p:cNvPr id="146" name="Rounded Rectangle 145"/>
            <p:cNvSpPr/>
            <p:nvPr/>
          </p:nvSpPr>
          <p:spPr>
            <a:xfrm>
              <a:off x="4253029" y="3014816"/>
              <a:ext cx="1303509"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47" name="Oval 146"/>
            <p:cNvSpPr/>
            <p:nvPr/>
          </p:nvSpPr>
          <p:spPr>
            <a:xfrm>
              <a:off x="4796713"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3</a:t>
              </a:r>
            </a:p>
          </p:txBody>
        </p:sp>
        <p:sp>
          <p:nvSpPr>
            <p:cNvPr id="148" name="Rectangle 147"/>
            <p:cNvSpPr/>
            <p:nvPr/>
          </p:nvSpPr>
          <p:spPr>
            <a:xfrm>
              <a:off x="4304572" y="3792856"/>
              <a:ext cx="1200425" cy="178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GB" sz="1100" b="1">
                  <a:solidFill>
                    <a:srgbClr val="505150"/>
                  </a:solidFill>
                </a:rPr>
                <a:t>Calibration (HR)</a:t>
              </a:r>
            </a:p>
          </p:txBody>
        </p:sp>
        <p:grpSp>
          <p:nvGrpSpPr>
            <p:cNvPr id="32807" name="Group 158"/>
            <p:cNvGrpSpPr>
              <a:grpSpLocks/>
            </p:cNvGrpSpPr>
            <p:nvPr/>
          </p:nvGrpSpPr>
          <p:grpSpPr bwMode="auto">
            <a:xfrm>
              <a:off x="4720886" y="3215906"/>
              <a:ext cx="367627" cy="421355"/>
              <a:chOff x="4758235" y="1575982"/>
              <a:chExt cx="367627" cy="644212"/>
            </a:xfrm>
          </p:grpSpPr>
          <p:sp>
            <p:nvSpPr>
              <p:cNvPr id="32893" name="Freeform 5"/>
              <p:cNvSpPr>
                <a:spLocks/>
              </p:cNvSpPr>
              <p:nvPr/>
            </p:nvSpPr>
            <p:spPr bwMode="auto">
              <a:xfrm>
                <a:off x="4777827" y="1975877"/>
                <a:ext cx="328444" cy="119853"/>
              </a:xfrm>
              <a:custGeom>
                <a:avLst/>
                <a:gdLst>
                  <a:gd name="T0" fmla="*/ 2147483646 w 285"/>
                  <a:gd name="T1" fmla="*/ 2147483646 h 104"/>
                  <a:gd name="T2" fmla="*/ 2147483646 w 285"/>
                  <a:gd name="T3" fmla="*/ 2147483646 h 104"/>
                  <a:gd name="T4" fmla="*/ 2147483646 w 285"/>
                  <a:gd name="T5" fmla="*/ 2147483646 h 104"/>
                  <a:gd name="T6" fmla="*/ 2147483646 w 285"/>
                  <a:gd name="T7" fmla="*/ 0 h 104"/>
                  <a:gd name="T8" fmla="*/ 2147483646 w 285"/>
                  <a:gd name="T9" fmla="*/ 0 h 104"/>
                  <a:gd name="T10" fmla="*/ 0 w 285"/>
                  <a:gd name="T11" fmla="*/ 2147483646 h 104"/>
                  <a:gd name="T12" fmla="*/ 2147483646 w 285"/>
                  <a:gd name="T13" fmla="*/ 2147483646 h 104"/>
                  <a:gd name="T14" fmla="*/ 2147483646 w 285"/>
                  <a:gd name="T15" fmla="*/ 2147483646 h 10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5" h="104">
                    <a:moveTo>
                      <a:pt x="217" y="19"/>
                    </a:moveTo>
                    <a:lnTo>
                      <a:pt x="170" y="102"/>
                    </a:lnTo>
                    <a:lnTo>
                      <a:pt x="285" y="102"/>
                    </a:lnTo>
                    <a:lnTo>
                      <a:pt x="233" y="0"/>
                    </a:lnTo>
                    <a:lnTo>
                      <a:pt x="54" y="0"/>
                    </a:lnTo>
                    <a:lnTo>
                      <a:pt x="0" y="104"/>
                    </a:lnTo>
                    <a:lnTo>
                      <a:pt x="113" y="104"/>
                    </a:lnTo>
                    <a:lnTo>
                      <a:pt x="73" y="24"/>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94" name="Line 6"/>
              <p:cNvSpPr>
                <a:spLocks noChangeShapeType="1"/>
              </p:cNvSpPr>
              <p:nvPr/>
            </p:nvSpPr>
            <p:spPr bwMode="auto">
              <a:xfrm>
                <a:off x="4940320" y="1933237"/>
                <a:ext cx="1152" cy="266213"/>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95" name="Line 7"/>
              <p:cNvSpPr>
                <a:spLocks noChangeShapeType="1"/>
              </p:cNvSpPr>
              <p:nvPr/>
            </p:nvSpPr>
            <p:spPr bwMode="auto">
              <a:xfrm>
                <a:off x="4905747" y="2199449"/>
                <a:ext cx="72603" cy="1153"/>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96" name="Line 8"/>
              <p:cNvSpPr>
                <a:spLocks noChangeShapeType="1"/>
              </p:cNvSpPr>
              <p:nvPr/>
            </p:nvSpPr>
            <p:spPr bwMode="auto">
              <a:xfrm>
                <a:off x="4921881" y="1951676"/>
                <a:ext cx="38030" cy="1153"/>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97" name="Line 9"/>
              <p:cNvSpPr>
                <a:spLocks noChangeShapeType="1"/>
              </p:cNvSpPr>
              <p:nvPr/>
            </p:nvSpPr>
            <p:spPr bwMode="auto">
              <a:xfrm>
                <a:off x="4878088" y="2219041"/>
                <a:ext cx="125615" cy="1153"/>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98" name="Freeform 10"/>
              <p:cNvSpPr>
                <a:spLocks noEditPoints="1"/>
              </p:cNvSpPr>
              <p:nvPr/>
            </p:nvSpPr>
            <p:spPr bwMode="auto">
              <a:xfrm>
                <a:off x="4758235" y="1575982"/>
                <a:ext cx="367627" cy="471347"/>
              </a:xfrm>
              <a:custGeom>
                <a:avLst/>
                <a:gdLst>
                  <a:gd name="T0" fmla="*/ 2147483646 w 135"/>
                  <a:gd name="T1" fmla="*/ 2147483646 h 173"/>
                  <a:gd name="T2" fmla="*/ 2147483646 w 135"/>
                  <a:gd name="T3" fmla="*/ 2147483646 h 173"/>
                  <a:gd name="T4" fmla="*/ 2147483646 w 135"/>
                  <a:gd name="T5" fmla="*/ 2147483646 h 173"/>
                  <a:gd name="T6" fmla="*/ 2147483646 w 135"/>
                  <a:gd name="T7" fmla="*/ 2147483646 h 173"/>
                  <a:gd name="T8" fmla="*/ 2147483646 w 135"/>
                  <a:gd name="T9" fmla="*/ 2147483646 h 173"/>
                  <a:gd name="T10" fmla="*/ 2147483646 w 135"/>
                  <a:gd name="T11" fmla="*/ 2147483646 h 173"/>
                  <a:gd name="T12" fmla="*/ 2147483646 w 135"/>
                  <a:gd name="T13" fmla="*/ 2147483646 h 173"/>
                  <a:gd name="T14" fmla="*/ 2147483646 w 135"/>
                  <a:gd name="T15" fmla="*/ 2147483646 h 173"/>
                  <a:gd name="T16" fmla="*/ 2147483646 w 135"/>
                  <a:gd name="T17" fmla="*/ 2147483646 h 173"/>
                  <a:gd name="T18" fmla="*/ 2147483646 w 135"/>
                  <a:gd name="T19" fmla="*/ 2147483646 h 173"/>
                  <a:gd name="T20" fmla="*/ 2147483646 w 135"/>
                  <a:gd name="T21" fmla="*/ 2147483646 h 173"/>
                  <a:gd name="T22" fmla="*/ 2147483646 w 135"/>
                  <a:gd name="T23" fmla="*/ 2147483646 h 173"/>
                  <a:gd name="T24" fmla="*/ 2147483646 w 135"/>
                  <a:gd name="T25" fmla="*/ 2147483646 h 173"/>
                  <a:gd name="T26" fmla="*/ 2147483646 w 135"/>
                  <a:gd name="T27" fmla="*/ 2147483646 h 173"/>
                  <a:gd name="T28" fmla="*/ 2147483646 w 135"/>
                  <a:gd name="T29" fmla="*/ 2147483646 h 173"/>
                  <a:gd name="T30" fmla="*/ 2147483646 w 135"/>
                  <a:gd name="T31" fmla="*/ 0 h 173"/>
                  <a:gd name="T32" fmla="*/ 2147483646 w 135"/>
                  <a:gd name="T33" fmla="*/ 2147483646 h 173"/>
                  <a:gd name="T34" fmla="*/ 2147483646 w 135"/>
                  <a:gd name="T35" fmla="*/ 2147483646 h 173"/>
                  <a:gd name="T36" fmla="*/ 2147483646 w 135"/>
                  <a:gd name="T37" fmla="*/ 2147483646 h 173"/>
                  <a:gd name="T38" fmla="*/ 2147483646 w 135"/>
                  <a:gd name="T39" fmla="*/ 0 h 1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5" h="173">
                    <a:moveTo>
                      <a:pt x="1" y="173"/>
                    </a:moveTo>
                    <a:cubicBezTo>
                      <a:pt x="1" y="173"/>
                      <a:pt x="1" y="173"/>
                      <a:pt x="1" y="173"/>
                    </a:cubicBezTo>
                    <a:cubicBezTo>
                      <a:pt x="0" y="145"/>
                      <a:pt x="4" y="127"/>
                      <a:pt x="7" y="99"/>
                    </a:cubicBezTo>
                    <a:cubicBezTo>
                      <a:pt x="7" y="95"/>
                      <a:pt x="8" y="90"/>
                      <a:pt x="11" y="88"/>
                    </a:cubicBezTo>
                    <a:cubicBezTo>
                      <a:pt x="12" y="87"/>
                      <a:pt x="43" y="76"/>
                      <a:pt x="47" y="75"/>
                    </a:cubicBezTo>
                    <a:cubicBezTo>
                      <a:pt x="50" y="86"/>
                      <a:pt x="55" y="113"/>
                      <a:pt x="61" y="123"/>
                    </a:cubicBezTo>
                    <a:cubicBezTo>
                      <a:pt x="61" y="118"/>
                      <a:pt x="63" y="97"/>
                      <a:pt x="63" y="92"/>
                    </a:cubicBezTo>
                    <a:cubicBezTo>
                      <a:pt x="65" y="91"/>
                      <a:pt x="66" y="90"/>
                      <a:pt x="68" y="89"/>
                    </a:cubicBezTo>
                    <a:cubicBezTo>
                      <a:pt x="69" y="90"/>
                      <a:pt x="71" y="91"/>
                      <a:pt x="72" y="92"/>
                    </a:cubicBezTo>
                    <a:cubicBezTo>
                      <a:pt x="72" y="97"/>
                      <a:pt x="74" y="118"/>
                      <a:pt x="75" y="123"/>
                    </a:cubicBezTo>
                    <a:cubicBezTo>
                      <a:pt x="80" y="113"/>
                      <a:pt x="86" y="86"/>
                      <a:pt x="89" y="75"/>
                    </a:cubicBezTo>
                    <a:cubicBezTo>
                      <a:pt x="92" y="76"/>
                      <a:pt x="124" y="87"/>
                      <a:pt x="125" y="88"/>
                    </a:cubicBezTo>
                    <a:cubicBezTo>
                      <a:pt x="128" y="90"/>
                      <a:pt x="128" y="95"/>
                      <a:pt x="129" y="99"/>
                    </a:cubicBezTo>
                    <a:moveTo>
                      <a:pt x="132" y="125"/>
                    </a:moveTo>
                    <a:cubicBezTo>
                      <a:pt x="134" y="141"/>
                      <a:pt x="135" y="155"/>
                      <a:pt x="135" y="173"/>
                    </a:cubicBezTo>
                    <a:moveTo>
                      <a:pt x="68" y="0"/>
                    </a:moveTo>
                    <a:cubicBezTo>
                      <a:pt x="85" y="0"/>
                      <a:pt x="94" y="13"/>
                      <a:pt x="94" y="27"/>
                    </a:cubicBezTo>
                    <a:cubicBezTo>
                      <a:pt x="94" y="40"/>
                      <a:pt x="84" y="68"/>
                      <a:pt x="68" y="68"/>
                    </a:cubicBezTo>
                    <a:cubicBezTo>
                      <a:pt x="51" y="68"/>
                      <a:pt x="41" y="40"/>
                      <a:pt x="41" y="27"/>
                    </a:cubicBezTo>
                    <a:cubicBezTo>
                      <a:pt x="41" y="13"/>
                      <a:pt x="51" y="0"/>
                      <a:pt x="68" y="0"/>
                    </a:cubicBez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sp>
          <p:nvSpPr>
            <p:cNvPr id="150" name="Rounded Rectangle 149"/>
            <p:cNvSpPr/>
            <p:nvPr/>
          </p:nvSpPr>
          <p:spPr>
            <a:xfrm>
              <a:off x="2861401" y="3014816"/>
              <a:ext cx="1305171"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51" name="Oval 150"/>
            <p:cNvSpPr/>
            <p:nvPr/>
          </p:nvSpPr>
          <p:spPr>
            <a:xfrm>
              <a:off x="3406747"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2</a:t>
              </a:r>
            </a:p>
          </p:txBody>
        </p:sp>
        <p:sp>
          <p:nvSpPr>
            <p:cNvPr id="152" name="Rectangle 151"/>
            <p:cNvSpPr/>
            <p:nvPr/>
          </p:nvSpPr>
          <p:spPr>
            <a:xfrm>
              <a:off x="2914606" y="3503502"/>
              <a:ext cx="1198762" cy="536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GB" sz="1100" b="1">
                  <a:solidFill>
                    <a:srgbClr val="505150"/>
                  </a:solidFill>
                </a:rPr>
                <a:t>Year End Assessment (Reviewer)</a:t>
              </a:r>
            </a:p>
          </p:txBody>
        </p:sp>
        <p:grpSp>
          <p:nvGrpSpPr>
            <p:cNvPr id="32811" name="Group 157"/>
            <p:cNvGrpSpPr>
              <a:grpSpLocks/>
            </p:cNvGrpSpPr>
            <p:nvPr/>
          </p:nvGrpSpPr>
          <p:grpSpPr bwMode="auto">
            <a:xfrm>
              <a:off x="3249038" y="3183186"/>
              <a:ext cx="598182" cy="375511"/>
              <a:chOff x="3249038" y="1494206"/>
              <a:chExt cx="598182" cy="574121"/>
            </a:xfrm>
          </p:grpSpPr>
          <p:sp>
            <p:nvSpPr>
              <p:cNvPr id="220" name="Freeform 4"/>
              <p:cNvSpPr>
                <a:spLocks/>
              </p:cNvSpPr>
              <p:nvPr/>
            </p:nvSpPr>
            <p:spPr bwMode="auto">
              <a:xfrm flipH="1">
                <a:off x="3248796" y="1831324"/>
                <a:ext cx="149637" cy="151196"/>
              </a:xfrm>
              <a:custGeom>
                <a:avLst/>
                <a:gdLst/>
                <a:ahLst/>
                <a:cxnLst>
                  <a:cxn ang="0">
                    <a:pos x="97" y="0"/>
                  </a:cxn>
                  <a:cxn ang="0">
                    <a:pos x="86" y="66"/>
                  </a:cxn>
                  <a:cxn ang="0">
                    <a:pos x="50" y="96"/>
                  </a:cxn>
                  <a:cxn ang="0">
                    <a:pos x="0" y="96"/>
                  </a:cxn>
                </a:cxnLst>
                <a:rect l="0" t="0" r="r" b="b"/>
                <a:pathLst>
                  <a:path w="97" h="97">
                    <a:moveTo>
                      <a:pt x="97" y="0"/>
                    </a:moveTo>
                    <a:cubicBezTo>
                      <a:pt x="97" y="0"/>
                      <a:pt x="89" y="58"/>
                      <a:pt x="86" y="66"/>
                    </a:cubicBezTo>
                    <a:cubicBezTo>
                      <a:pt x="82" y="75"/>
                      <a:pt x="73" y="96"/>
                      <a:pt x="50" y="96"/>
                    </a:cubicBezTo>
                    <a:cubicBezTo>
                      <a:pt x="27" y="97"/>
                      <a:pt x="0" y="96"/>
                      <a:pt x="0" y="96"/>
                    </a:cubicBezTo>
                  </a:path>
                </a:pathLst>
              </a:cu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1" name="Line 5"/>
              <p:cNvSpPr>
                <a:spLocks noChangeShapeType="1"/>
              </p:cNvSpPr>
              <p:nvPr/>
            </p:nvSpPr>
            <p:spPr bwMode="auto">
              <a:xfrm>
                <a:off x="3368506" y="1990209"/>
                <a:ext cx="39903" cy="7688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2" name="Line 6"/>
              <p:cNvSpPr>
                <a:spLocks noChangeShapeType="1"/>
              </p:cNvSpPr>
              <p:nvPr/>
            </p:nvSpPr>
            <p:spPr bwMode="auto">
              <a:xfrm flipH="1">
                <a:off x="3253785" y="1990209"/>
                <a:ext cx="41565" cy="7688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3" name="Freeform 7"/>
              <p:cNvSpPr>
                <a:spLocks/>
              </p:cNvSpPr>
              <p:nvPr/>
            </p:nvSpPr>
            <p:spPr bwMode="auto">
              <a:xfrm flipH="1">
                <a:off x="3704359" y="1831324"/>
                <a:ext cx="142987" cy="151196"/>
              </a:xfrm>
              <a:custGeom>
                <a:avLst/>
                <a:gdLst/>
                <a:ahLst/>
                <a:cxnLst>
                  <a:cxn ang="0">
                    <a:pos x="0" y="0"/>
                  </a:cxn>
                  <a:cxn ang="0">
                    <a:pos x="11" y="66"/>
                  </a:cxn>
                  <a:cxn ang="0">
                    <a:pos x="47" y="96"/>
                  </a:cxn>
                  <a:cxn ang="0">
                    <a:pos x="93" y="96"/>
                  </a:cxn>
                </a:cxnLst>
                <a:rect l="0" t="0" r="r" b="b"/>
                <a:pathLst>
                  <a:path w="93" h="97">
                    <a:moveTo>
                      <a:pt x="0" y="0"/>
                    </a:moveTo>
                    <a:cubicBezTo>
                      <a:pt x="0" y="0"/>
                      <a:pt x="8" y="58"/>
                      <a:pt x="11" y="66"/>
                    </a:cubicBezTo>
                    <a:cubicBezTo>
                      <a:pt x="15" y="75"/>
                      <a:pt x="24" y="96"/>
                      <a:pt x="47" y="96"/>
                    </a:cubicBezTo>
                    <a:cubicBezTo>
                      <a:pt x="70" y="97"/>
                      <a:pt x="93" y="96"/>
                      <a:pt x="93" y="96"/>
                    </a:cubicBezTo>
                  </a:path>
                </a:pathLst>
              </a:cu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4" name="Oval 9"/>
              <p:cNvSpPr>
                <a:spLocks noChangeArrowheads="1"/>
              </p:cNvSpPr>
              <p:nvPr/>
            </p:nvSpPr>
            <p:spPr bwMode="auto">
              <a:xfrm flipH="1">
                <a:off x="3727636" y="1657062"/>
                <a:ext cx="83132" cy="82005"/>
              </a:xfrm>
              <a:prstGeom prst="ellipse">
                <a:avLst/>
              </a:prstGeom>
              <a:noFill/>
              <a:ln w="12700" cap="rnd">
                <a:solidFill>
                  <a:schemeClr val="accent3"/>
                </a:solidFill>
                <a:prstDash val="solid"/>
                <a:miter lim="800000"/>
                <a:headEnd/>
                <a:tailEnd/>
              </a:ln>
            </p:spPr>
            <p:txBody>
              <a:bodyPr/>
              <a:lstStyle/>
              <a:p>
                <a:pPr>
                  <a:defRPr/>
                </a:pPr>
                <a:endParaRPr lang="en-GB" sz="1100">
                  <a:solidFill>
                    <a:srgbClr val="505150"/>
                  </a:solidFill>
                </a:endParaRPr>
              </a:p>
            </p:txBody>
          </p:sp>
          <p:sp>
            <p:nvSpPr>
              <p:cNvPr id="225" name="Line 10"/>
              <p:cNvSpPr>
                <a:spLocks noChangeShapeType="1"/>
              </p:cNvSpPr>
              <p:nvPr/>
            </p:nvSpPr>
            <p:spPr bwMode="auto">
              <a:xfrm flipH="1">
                <a:off x="3694383" y="1990209"/>
                <a:ext cx="39903" cy="7688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6" name="Line 11"/>
              <p:cNvSpPr>
                <a:spLocks noChangeShapeType="1"/>
              </p:cNvSpPr>
              <p:nvPr/>
            </p:nvSpPr>
            <p:spPr bwMode="auto">
              <a:xfrm>
                <a:off x="3800792" y="1990209"/>
                <a:ext cx="39903" cy="7688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7" name="Line 12"/>
              <p:cNvSpPr>
                <a:spLocks noChangeShapeType="1"/>
              </p:cNvSpPr>
              <p:nvPr/>
            </p:nvSpPr>
            <p:spPr bwMode="auto">
              <a:xfrm flipH="1">
                <a:off x="3430024" y="1867201"/>
                <a:ext cx="221130" cy="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8" name="Line 13"/>
              <p:cNvSpPr>
                <a:spLocks noChangeShapeType="1"/>
              </p:cNvSpPr>
              <p:nvPr/>
            </p:nvSpPr>
            <p:spPr bwMode="auto">
              <a:xfrm flipH="1">
                <a:off x="3481565" y="2061964"/>
                <a:ext cx="121373" cy="0"/>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29" name="Line 14"/>
              <p:cNvSpPr>
                <a:spLocks noChangeShapeType="1"/>
              </p:cNvSpPr>
              <p:nvPr/>
            </p:nvSpPr>
            <p:spPr bwMode="auto">
              <a:xfrm flipH="1">
                <a:off x="3539758" y="1867201"/>
                <a:ext cx="1662" cy="194763"/>
              </a:xfrm>
              <a:prstGeom prst="lin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30" name="Freeform 15"/>
              <p:cNvSpPr>
                <a:spLocks/>
              </p:cNvSpPr>
              <p:nvPr/>
            </p:nvSpPr>
            <p:spPr bwMode="auto">
              <a:xfrm flipH="1">
                <a:off x="3298675" y="1739068"/>
                <a:ext cx="191204" cy="292144"/>
              </a:xfrm>
              <a:custGeom>
                <a:avLst/>
                <a:gdLst>
                  <a:gd name="connsiteX0" fmla="*/ 4068 w 10000"/>
                  <a:gd name="connsiteY0" fmla="*/ 9925 h 10000"/>
                  <a:gd name="connsiteX1" fmla="*/ 8644 w 10000"/>
                  <a:gd name="connsiteY1" fmla="*/ 9925 h 10000"/>
                  <a:gd name="connsiteX2" fmla="*/ 9915 w 10000"/>
                  <a:gd name="connsiteY2" fmla="*/ 8582 h 10000"/>
                  <a:gd name="connsiteX3" fmla="*/ 9915 w 10000"/>
                  <a:gd name="connsiteY3" fmla="*/ 1866 h 10000"/>
                  <a:gd name="connsiteX4" fmla="*/ 7203 w 10000"/>
                  <a:gd name="connsiteY4" fmla="*/ 1119 h 10000"/>
                  <a:gd name="connsiteX5" fmla="*/ 4068 w 10000"/>
                  <a:gd name="connsiteY5" fmla="*/ 3657 h 10000"/>
                  <a:gd name="connsiteX6" fmla="*/ 763 w 10000"/>
                  <a:gd name="connsiteY6" fmla="*/ 3657 h 10000"/>
                  <a:gd name="connsiteX7" fmla="*/ 0 w 10000"/>
                  <a:gd name="connsiteY7" fmla="*/ 4403 h 10000"/>
                  <a:gd name="connsiteX8" fmla="*/ 678 w 10000"/>
                  <a:gd name="connsiteY8" fmla="*/ 5000 h 10000"/>
                  <a:gd name="connsiteX9" fmla="*/ 4576 w 10000"/>
                  <a:gd name="connsiteY9" fmla="*/ 5000 h 10000"/>
                  <a:gd name="connsiteX10" fmla="*/ 6610 w 10000"/>
                  <a:gd name="connsiteY10" fmla="*/ 3433 h 10000"/>
                  <a:gd name="connsiteX11" fmla="*/ 6610 w 10000"/>
                  <a:gd name="connsiteY11" fmla="*/ 7985 h 10000"/>
                  <a:gd name="connsiteX12" fmla="*/ 4068 w 10000"/>
                  <a:gd name="connsiteY12" fmla="*/ 7985 h 10000"/>
                  <a:gd name="connsiteX0" fmla="*/ 633 w 10191"/>
                  <a:gd name="connsiteY0" fmla="*/ 14040 h 14040"/>
                  <a:gd name="connsiteX1" fmla="*/ 8644 w 10191"/>
                  <a:gd name="connsiteY1" fmla="*/ 9925 h 14040"/>
                  <a:gd name="connsiteX2" fmla="*/ 9915 w 10191"/>
                  <a:gd name="connsiteY2" fmla="*/ 8582 h 14040"/>
                  <a:gd name="connsiteX3" fmla="*/ 9915 w 10191"/>
                  <a:gd name="connsiteY3" fmla="*/ 1866 h 14040"/>
                  <a:gd name="connsiteX4" fmla="*/ 7203 w 10191"/>
                  <a:gd name="connsiteY4" fmla="*/ 1119 h 14040"/>
                  <a:gd name="connsiteX5" fmla="*/ 4068 w 10191"/>
                  <a:gd name="connsiteY5" fmla="*/ 3657 h 14040"/>
                  <a:gd name="connsiteX6" fmla="*/ 763 w 10191"/>
                  <a:gd name="connsiteY6" fmla="*/ 3657 h 14040"/>
                  <a:gd name="connsiteX7" fmla="*/ 0 w 10191"/>
                  <a:gd name="connsiteY7" fmla="*/ 4403 h 14040"/>
                  <a:gd name="connsiteX8" fmla="*/ 678 w 10191"/>
                  <a:gd name="connsiteY8" fmla="*/ 5000 h 14040"/>
                  <a:gd name="connsiteX9" fmla="*/ 4576 w 10191"/>
                  <a:gd name="connsiteY9" fmla="*/ 5000 h 14040"/>
                  <a:gd name="connsiteX10" fmla="*/ 6610 w 10191"/>
                  <a:gd name="connsiteY10" fmla="*/ 3433 h 14040"/>
                  <a:gd name="connsiteX11" fmla="*/ 6610 w 10191"/>
                  <a:gd name="connsiteY11" fmla="*/ 7985 h 14040"/>
                  <a:gd name="connsiteX12" fmla="*/ 4068 w 10191"/>
                  <a:gd name="connsiteY12" fmla="*/ 7985 h 14040"/>
                  <a:gd name="connsiteX0" fmla="*/ 633 w 10000"/>
                  <a:gd name="connsiteY0" fmla="*/ 14040 h 14040"/>
                  <a:gd name="connsiteX1" fmla="*/ 3045 w 10000"/>
                  <a:gd name="connsiteY1" fmla="*/ 10607 h 14040"/>
                  <a:gd name="connsiteX2" fmla="*/ 8644 w 10000"/>
                  <a:gd name="connsiteY2" fmla="*/ 9925 h 14040"/>
                  <a:gd name="connsiteX3" fmla="*/ 9915 w 10000"/>
                  <a:gd name="connsiteY3" fmla="*/ 8582 h 14040"/>
                  <a:gd name="connsiteX4" fmla="*/ 9915 w 10000"/>
                  <a:gd name="connsiteY4" fmla="*/ 1866 h 14040"/>
                  <a:gd name="connsiteX5" fmla="*/ 7203 w 10000"/>
                  <a:gd name="connsiteY5" fmla="*/ 1119 h 14040"/>
                  <a:gd name="connsiteX6" fmla="*/ 4068 w 10000"/>
                  <a:gd name="connsiteY6" fmla="*/ 3657 h 14040"/>
                  <a:gd name="connsiteX7" fmla="*/ 763 w 10000"/>
                  <a:gd name="connsiteY7" fmla="*/ 3657 h 14040"/>
                  <a:gd name="connsiteX8" fmla="*/ 0 w 10000"/>
                  <a:gd name="connsiteY8" fmla="*/ 4403 h 14040"/>
                  <a:gd name="connsiteX9" fmla="*/ 678 w 10000"/>
                  <a:gd name="connsiteY9" fmla="*/ 5000 h 14040"/>
                  <a:gd name="connsiteX10" fmla="*/ 4576 w 10000"/>
                  <a:gd name="connsiteY10" fmla="*/ 5000 h 14040"/>
                  <a:gd name="connsiteX11" fmla="*/ 6610 w 10000"/>
                  <a:gd name="connsiteY11" fmla="*/ 3433 h 14040"/>
                  <a:gd name="connsiteX12" fmla="*/ 6610 w 10000"/>
                  <a:gd name="connsiteY12" fmla="*/ 7985 h 14040"/>
                  <a:gd name="connsiteX13" fmla="*/ 4068 w 10000"/>
                  <a:gd name="connsiteY13" fmla="*/ 798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0 w 11153"/>
                  <a:gd name="connsiteY13" fmla="*/ 1270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3237 w 11153"/>
                  <a:gd name="connsiteY13" fmla="*/ 9397 h 14040"/>
                  <a:gd name="connsiteX14" fmla="*/ 0 w 11153"/>
                  <a:gd name="connsiteY14" fmla="*/ 12705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550 w 10466"/>
                  <a:gd name="connsiteY13" fmla="*/ 9397 h 14040"/>
                  <a:gd name="connsiteX14" fmla="*/ 0 w 10466"/>
                  <a:gd name="connsiteY14" fmla="*/ 13189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374 w 10466"/>
                  <a:gd name="connsiteY1" fmla="*/ 10849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237 w 10466"/>
                  <a:gd name="connsiteY1" fmla="*/ 10486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6" h="14040">
                    <a:moveTo>
                      <a:pt x="1099" y="14040"/>
                    </a:moveTo>
                    <a:lnTo>
                      <a:pt x="3237" y="10486"/>
                    </a:lnTo>
                    <a:cubicBezTo>
                      <a:pt x="4572" y="9800"/>
                      <a:pt x="7919" y="10242"/>
                      <a:pt x="9110" y="9925"/>
                    </a:cubicBezTo>
                    <a:cubicBezTo>
                      <a:pt x="10301" y="9608"/>
                      <a:pt x="10297" y="9552"/>
                      <a:pt x="10381" y="8582"/>
                    </a:cubicBezTo>
                    <a:cubicBezTo>
                      <a:pt x="10466" y="7687"/>
                      <a:pt x="10381" y="2313"/>
                      <a:pt x="10381" y="1866"/>
                    </a:cubicBezTo>
                    <a:cubicBezTo>
                      <a:pt x="10381" y="1343"/>
                      <a:pt x="9364" y="0"/>
                      <a:pt x="7669" y="1119"/>
                    </a:cubicBezTo>
                    <a:cubicBezTo>
                      <a:pt x="6991" y="1567"/>
                      <a:pt x="4703" y="3582"/>
                      <a:pt x="4534" y="3657"/>
                    </a:cubicBezTo>
                    <a:cubicBezTo>
                      <a:pt x="4449" y="3731"/>
                      <a:pt x="1229" y="3657"/>
                      <a:pt x="1229" y="3657"/>
                    </a:cubicBezTo>
                    <a:cubicBezTo>
                      <a:pt x="1229" y="3657"/>
                      <a:pt x="466" y="3806"/>
                      <a:pt x="466" y="4403"/>
                    </a:cubicBezTo>
                    <a:cubicBezTo>
                      <a:pt x="466" y="4925"/>
                      <a:pt x="1059" y="5000"/>
                      <a:pt x="1144" y="5000"/>
                    </a:cubicBezTo>
                    <a:lnTo>
                      <a:pt x="5042" y="5000"/>
                    </a:lnTo>
                    <a:lnTo>
                      <a:pt x="7076" y="3433"/>
                    </a:lnTo>
                    <a:lnTo>
                      <a:pt x="7076" y="7985"/>
                    </a:lnTo>
                    <a:lnTo>
                      <a:pt x="2413" y="9034"/>
                    </a:lnTo>
                    <a:lnTo>
                      <a:pt x="0" y="13189"/>
                    </a:lnTo>
                  </a:path>
                </a:pathLst>
              </a:cu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31" name="Oval 16"/>
              <p:cNvSpPr>
                <a:spLocks noChangeArrowheads="1"/>
              </p:cNvSpPr>
              <p:nvPr/>
            </p:nvSpPr>
            <p:spPr bwMode="auto">
              <a:xfrm flipH="1">
                <a:off x="3285374" y="1657062"/>
                <a:ext cx="83132" cy="82005"/>
              </a:xfrm>
              <a:prstGeom prst="ellipse">
                <a:avLst/>
              </a:pr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32" name="Freeform 17"/>
              <p:cNvSpPr>
                <a:spLocks/>
              </p:cNvSpPr>
              <p:nvPr/>
            </p:nvSpPr>
            <p:spPr bwMode="auto">
              <a:xfrm flipH="1">
                <a:off x="3433349" y="1749318"/>
                <a:ext cx="69831" cy="58940"/>
              </a:xfrm>
              <a:custGeom>
                <a:avLst/>
                <a:gdLst/>
                <a:ahLst/>
                <a:cxnLst>
                  <a:cxn ang="0">
                    <a:pos x="31" y="91"/>
                  </a:cxn>
                  <a:cxn ang="0">
                    <a:pos x="0" y="24"/>
                  </a:cxn>
                  <a:cxn ang="0">
                    <a:pos x="73" y="0"/>
                  </a:cxn>
                  <a:cxn ang="0">
                    <a:pos x="109" y="76"/>
                  </a:cxn>
                </a:cxnLst>
                <a:rect l="0" t="0" r="r" b="b"/>
                <a:pathLst>
                  <a:path w="109" h="91">
                    <a:moveTo>
                      <a:pt x="31" y="91"/>
                    </a:moveTo>
                    <a:lnTo>
                      <a:pt x="0" y="24"/>
                    </a:lnTo>
                    <a:lnTo>
                      <a:pt x="73" y="0"/>
                    </a:lnTo>
                    <a:lnTo>
                      <a:pt x="109" y="76"/>
                    </a:lnTo>
                  </a:path>
                </a:pathLst>
              </a:cu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33" name="Freeform 18"/>
              <p:cNvSpPr>
                <a:spLocks/>
              </p:cNvSpPr>
              <p:nvPr/>
            </p:nvSpPr>
            <p:spPr bwMode="auto">
              <a:xfrm flipH="1">
                <a:off x="3268748" y="1493052"/>
                <a:ext cx="171252" cy="128133"/>
              </a:xfrm>
              <a:custGeom>
                <a:avLst/>
                <a:gdLst/>
                <a:ahLst/>
                <a:cxnLst>
                  <a:cxn ang="0">
                    <a:pos x="59" y="69"/>
                  </a:cxn>
                  <a:cxn ang="0">
                    <a:pos x="61" y="83"/>
                  </a:cxn>
                  <a:cxn ang="0">
                    <a:pos x="37" y="63"/>
                  </a:cxn>
                  <a:cxn ang="0">
                    <a:pos x="13" y="63"/>
                  </a:cxn>
                  <a:cxn ang="0">
                    <a:pos x="2" y="50"/>
                  </a:cxn>
                  <a:cxn ang="0">
                    <a:pos x="2" y="14"/>
                  </a:cxn>
                  <a:cxn ang="0">
                    <a:pos x="13" y="0"/>
                  </a:cxn>
                  <a:cxn ang="0">
                    <a:pos x="100" y="0"/>
                  </a:cxn>
                  <a:cxn ang="0">
                    <a:pos x="110" y="14"/>
                  </a:cxn>
                  <a:cxn ang="0">
                    <a:pos x="110" y="50"/>
                  </a:cxn>
                  <a:cxn ang="0">
                    <a:pos x="97" y="62"/>
                  </a:cxn>
                  <a:cxn ang="0">
                    <a:pos x="74" y="62"/>
                  </a:cxn>
                </a:cxnLst>
                <a:rect l="0" t="0" r="r" b="b"/>
                <a:pathLst>
                  <a:path w="111" h="83">
                    <a:moveTo>
                      <a:pt x="59" y="69"/>
                    </a:moveTo>
                    <a:cubicBezTo>
                      <a:pt x="61" y="83"/>
                      <a:pt x="61" y="83"/>
                      <a:pt x="61" y="83"/>
                    </a:cubicBezTo>
                    <a:cubicBezTo>
                      <a:pt x="37" y="63"/>
                      <a:pt x="37" y="63"/>
                      <a:pt x="37" y="63"/>
                    </a:cubicBezTo>
                    <a:cubicBezTo>
                      <a:pt x="13" y="63"/>
                      <a:pt x="13" y="63"/>
                      <a:pt x="13" y="63"/>
                    </a:cubicBezTo>
                    <a:cubicBezTo>
                      <a:pt x="13" y="63"/>
                      <a:pt x="2" y="62"/>
                      <a:pt x="2" y="50"/>
                    </a:cubicBezTo>
                    <a:cubicBezTo>
                      <a:pt x="2" y="38"/>
                      <a:pt x="2" y="14"/>
                      <a:pt x="2" y="14"/>
                    </a:cubicBezTo>
                    <a:cubicBezTo>
                      <a:pt x="2" y="14"/>
                      <a:pt x="0" y="0"/>
                      <a:pt x="13" y="0"/>
                    </a:cubicBezTo>
                    <a:cubicBezTo>
                      <a:pt x="26" y="0"/>
                      <a:pt x="100" y="0"/>
                      <a:pt x="100" y="0"/>
                    </a:cubicBezTo>
                    <a:cubicBezTo>
                      <a:pt x="100" y="0"/>
                      <a:pt x="110" y="3"/>
                      <a:pt x="110" y="14"/>
                    </a:cubicBezTo>
                    <a:cubicBezTo>
                      <a:pt x="110" y="25"/>
                      <a:pt x="110" y="50"/>
                      <a:pt x="110" y="50"/>
                    </a:cubicBezTo>
                    <a:cubicBezTo>
                      <a:pt x="110" y="50"/>
                      <a:pt x="111" y="62"/>
                      <a:pt x="97" y="62"/>
                    </a:cubicBezTo>
                    <a:cubicBezTo>
                      <a:pt x="83" y="62"/>
                      <a:pt x="74" y="62"/>
                      <a:pt x="74" y="62"/>
                    </a:cubicBezTo>
                  </a:path>
                </a:pathLst>
              </a:custGeom>
              <a:noFill/>
              <a:ln w="12700" cap="rnd">
                <a:solidFill>
                  <a:schemeClr val="accent5"/>
                </a:solidFill>
                <a:prstDash val="solid"/>
                <a:miter lim="800000"/>
                <a:headEnd/>
                <a:tailEnd/>
              </a:ln>
            </p:spPr>
            <p:txBody>
              <a:bodyPr/>
              <a:lstStyle/>
              <a:p>
                <a:pPr>
                  <a:defRPr/>
                </a:pPr>
                <a:endParaRPr lang="en-GB" sz="1100">
                  <a:solidFill>
                    <a:srgbClr val="505150"/>
                  </a:solidFill>
                </a:endParaRPr>
              </a:p>
            </p:txBody>
          </p:sp>
          <p:sp>
            <p:nvSpPr>
              <p:cNvPr id="234" name="Freeform 15"/>
              <p:cNvSpPr>
                <a:spLocks/>
              </p:cNvSpPr>
              <p:nvPr/>
            </p:nvSpPr>
            <p:spPr bwMode="auto">
              <a:xfrm>
                <a:off x="3612914" y="1739068"/>
                <a:ext cx="191203" cy="292144"/>
              </a:xfrm>
              <a:custGeom>
                <a:avLst/>
                <a:gdLst>
                  <a:gd name="connsiteX0" fmla="*/ 4068 w 10000"/>
                  <a:gd name="connsiteY0" fmla="*/ 9925 h 10000"/>
                  <a:gd name="connsiteX1" fmla="*/ 8644 w 10000"/>
                  <a:gd name="connsiteY1" fmla="*/ 9925 h 10000"/>
                  <a:gd name="connsiteX2" fmla="*/ 9915 w 10000"/>
                  <a:gd name="connsiteY2" fmla="*/ 8582 h 10000"/>
                  <a:gd name="connsiteX3" fmla="*/ 9915 w 10000"/>
                  <a:gd name="connsiteY3" fmla="*/ 1866 h 10000"/>
                  <a:gd name="connsiteX4" fmla="*/ 7203 w 10000"/>
                  <a:gd name="connsiteY4" fmla="*/ 1119 h 10000"/>
                  <a:gd name="connsiteX5" fmla="*/ 4068 w 10000"/>
                  <a:gd name="connsiteY5" fmla="*/ 3657 h 10000"/>
                  <a:gd name="connsiteX6" fmla="*/ 763 w 10000"/>
                  <a:gd name="connsiteY6" fmla="*/ 3657 h 10000"/>
                  <a:gd name="connsiteX7" fmla="*/ 0 w 10000"/>
                  <a:gd name="connsiteY7" fmla="*/ 4403 h 10000"/>
                  <a:gd name="connsiteX8" fmla="*/ 678 w 10000"/>
                  <a:gd name="connsiteY8" fmla="*/ 5000 h 10000"/>
                  <a:gd name="connsiteX9" fmla="*/ 4576 w 10000"/>
                  <a:gd name="connsiteY9" fmla="*/ 5000 h 10000"/>
                  <a:gd name="connsiteX10" fmla="*/ 6610 w 10000"/>
                  <a:gd name="connsiteY10" fmla="*/ 3433 h 10000"/>
                  <a:gd name="connsiteX11" fmla="*/ 6610 w 10000"/>
                  <a:gd name="connsiteY11" fmla="*/ 7985 h 10000"/>
                  <a:gd name="connsiteX12" fmla="*/ 4068 w 10000"/>
                  <a:gd name="connsiteY12" fmla="*/ 7985 h 10000"/>
                  <a:gd name="connsiteX0" fmla="*/ 633 w 10191"/>
                  <a:gd name="connsiteY0" fmla="*/ 14040 h 14040"/>
                  <a:gd name="connsiteX1" fmla="*/ 8644 w 10191"/>
                  <a:gd name="connsiteY1" fmla="*/ 9925 h 14040"/>
                  <a:gd name="connsiteX2" fmla="*/ 9915 w 10191"/>
                  <a:gd name="connsiteY2" fmla="*/ 8582 h 14040"/>
                  <a:gd name="connsiteX3" fmla="*/ 9915 w 10191"/>
                  <a:gd name="connsiteY3" fmla="*/ 1866 h 14040"/>
                  <a:gd name="connsiteX4" fmla="*/ 7203 w 10191"/>
                  <a:gd name="connsiteY4" fmla="*/ 1119 h 14040"/>
                  <a:gd name="connsiteX5" fmla="*/ 4068 w 10191"/>
                  <a:gd name="connsiteY5" fmla="*/ 3657 h 14040"/>
                  <a:gd name="connsiteX6" fmla="*/ 763 w 10191"/>
                  <a:gd name="connsiteY6" fmla="*/ 3657 h 14040"/>
                  <a:gd name="connsiteX7" fmla="*/ 0 w 10191"/>
                  <a:gd name="connsiteY7" fmla="*/ 4403 h 14040"/>
                  <a:gd name="connsiteX8" fmla="*/ 678 w 10191"/>
                  <a:gd name="connsiteY8" fmla="*/ 5000 h 14040"/>
                  <a:gd name="connsiteX9" fmla="*/ 4576 w 10191"/>
                  <a:gd name="connsiteY9" fmla="*/ 5000 h 14040"/>
                  <a:gd name="connsiteX10" fmla="*/ 6610 w 10191"/>
                  <a:gd name="connsiteY10" fmla="*/ 3433 h 14040"/>
                  <a:gd name="connsiteX11" fmla="*/ 6610 w 10191"/>
                  <a:gd name="connsiteY11" fmla="*/ 7985 h 14040"/>
                  <a:gd name="connsiteX12" fmla="*/ 4068 w 10191"/>
                  <a:gd name="connsiteY12" fmla="*/ 7985 h 14040"/>
                  <a:gd name="connsiteX0" fmla="*/ 633 w 10000"/>
                  <a:gd name="connsiteY0" fmla="*/ 14040 h 14040"/>
                  <a:gd name="connsiteX1" fmla="*/ 3045 w 10000"/>
                  <a:gd name="connsiteY1" fmla="*/ 10607 h 14040"/>
                  <a:gd name="connsiteX2" fmla="*/ 8644 w 10000"/>
                  <a:gd name="connsiteY2" fmla="*/ 9925 h 14040"/>
                  <a:gd name="connsiteX3" fmla="*/ 9915 w 10000"/>
                  <a:gd name="connsiteY3" fmla="*/ 8582 h 14040"/>
                  <a:gd name="connsiteX4" fmla="*/ 9915 w 10000"/>
                  <a:gd name="connsiteY4" fmla="*/ 1866 h 14040"/>
                  <a:gd name="connsiteX5" fmla="*/ 7203 w 10000"/>
                  <a:gd name="connsiteY5" fmla="*/ 1119 h 14040"/>
                  <a:gd name="connsiteX6" fmla="*/ 4068 w 10000"/>
                  <a:gd name="connsiteY6" fmla="*/ 3657 h 14040"/>
                  <a:gd name="connsiteX7" fmla="*/ 763 w 10000"/>
                  <a:gd name="connsiteY7" fmla="*/ 3657 h 14040"/>
                  <a:gd name="connsiteX8" fmla="*/ 0 w 10000"/>
                  <a:gd name="connsiteY8" fmla="*/ 4403 h 14040"/>
                  <a:gd name="connsiteX9" fmla="*/ 678 w 10000"/>
                  <a:gd name="connsiteY9" fmla="*/ 5000 h 14040"/>
                  <a:gd name="connsiteX10" fmla="*/ 4576 w 10000"/>
                  <a:gd name="connsiteY10" fmla="*/ 5000 h 14040"/>
                  <a:gd name="connsiteX11" fmla="*/ 6610 w 10000"/>
                  <a:gd name="connsiteY11" fmla="*/ 3433 h 14040"/>
                  <a:gd name="connsiteX12" fmla="*/ 6610 w 10000"/>
                  <a:gd name="connsiteY12" fmla="*/ 7985 h 14040"/>
                  <a:gd name="connsiteX13" fmla="*/ 4068 w 10000"/>
                  <a:gd name="connsiteY13" fmla="*/ 798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0 w 11153"/>
                  <a:gd name="connsiteY13" fmla="*/ 12705 h 14040"/>
                  <a:gd name="connsiteX0" fmla="*/ 1786 w 11153"/>
                  <a:gd name="connsiteY0" fmla="*/ 14040 h 14040"/>
                  <a:gd name="connsiteX1" fmla="*/ 4198 w 11153"/>
                  <a:gd name="connsiteY1" fmla="*/ 10607 h 14040"/>
                  <a:gd name="connsiteX2" fmla="*/ 9797 w 11153"/>
                  <a:gd name="connsiteY2" fmla="*/ 9925 h 14040"/>
                  <a:gd name="connsiteX3" fmla="*/ 11068 w 11153"/>
                  <a:gd name="connsiteY3" fmla="*/ 8582 h 14040"/>
                  <a:gd name="connsiteX4" fmla="*/ 11068 w 11153"/>
                  <a:gd name="connsiteY4" fmla="*/ 1866 h 14040"/>
                  <a:gd name="connsiteX5" fmla="*/ 8356 w 11153"/>
                  <a:gd name="connsiteY5" fmla="*/ 1119 h 14040"/>
                  <a:gd name="connsiteX6" fmla="*/ 5221 w 11153"/>
                  <a:gd name="connsiteY6" fmla="*/ 3657 h 14040"/>
                  <a:gd name="connsiteX7" fmla="*/ 1916 w 11153"/>
                  <a:gd name="connsiteY7" fmla="*/ 3657 h 14040"/>
                  <a:gd name="connsiteX8" fmla="*/ 1153 w 11153"/>
                  <a:gd name="connsiteY8" fmla="*/ 4403 h 14040"/>
                  <a:gd name="connsiteX9" fmla="*/ 1831 w 11153"/>
                  <a:gd name="connsiteY9" fmla="*/ 5000 h 14040"/>
                  <a:gd name="connsiteX10" fmla="*/ 5729 w 11153"/>
                  <a:gd name="connsiteY10" fmla="*/ 5000 h 14040"/>
                  <a:gd name="connsiteX11" fmla="*/ 7763 w 11153"/>
                  <a:gd name="connsiteY11" fmla="*/ 3433 h 14040"/>
                  <a:gd name="connsiteX12" fmla="*/ 7763 w 11153"/>
                  <a:gd name="connsiteY12" fmla="*/ 7985 h 14040"/>
                  <a:gd name="connsiteX13" fmla="*/ 3237 w 11153"/>
                  <a:gd name="connsiteY13" fmla="*/ 9397 h 14040"/>
                  <a:gd name="connsiteX14" fmla="*/ 0 w 11153"/>
                  <a:gd name="connsiteY14" fmla="*/ 12705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550 w 10466"/>
                  <a:gd name="connsiteY13" fmla="*/ 9397 h 14040"/>
                  <a:gd name="connsiteX14" fmla="*/ 0 w 10466"/>
                  <a:gd name="connsiteY14" fmla="*/ 13189 h 14040"/>
                  <a:gd name="connsiteX0" fmla="*/ 1099 w 10466"/>
                  <a:gd name="connsiteY0" fmla="*/ 14040 h 14040"/>
                  <a:gd name="connsiteX1" fmla="*/ 3511 w 10466"/>
                  <a:gd name="connsiteY1" fmla="*/ 10607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374 w 10466"/>
                  <a:gd name="connsiteY1" fmla="*/ 10849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 name="connsiteX0" fmla="*/ 1099 w 10466"/>
                  <a:gd name="connsiteY0" fmla="*/ 14040 h 14040"/>
                  <a:gd name="connsiteX1" fmla="*/ 3237 w 10466"/>
                  <a:gd name="connsiteY1" fmla="*/ 10486 h 14040"/>
                  <a:gd name="connsiteX2" fmla="*/ 9110 w 10466"/>
                  <a:gd name="connsiteY2" fmla="*/ 9925 h 14040"/>
                  <a:gd name="connsiteX3" fmla="*/ 10381 w 10466"/>
                  <a:gd name="connsiteY3" fmla="*/ 8582 h 14040"/>
                  <a:gd name="connsiteX4" fmla="*/ 10381 w 10466"/>
                  <a:gd name="connsiteY4" fmla="*/ 1866 h 14040"/>
                  <a:gd name="connsiteX5" fmla="*/ 7669 w 10466"/>
                  <a:gd name="connsiteY5" fmla="*/ 1119 h 14040"/>
                  <a:gd name="connsiteX6" fmla="*/ 4534 w 10466"/>
                  <a:gd name="connsiteY6" fmla="*/ 3657 h 14040"/>
                  <a:gd name="connsiteX7" fmla="*/ 1229 w 10466"/>
                  <a:gd name="connsiteY7" fmla="*/ 3657 h 14040"/>
                  <a:gd name="connsiteX8" fmla="*/ 466 w 10466"/>
                  <a:gd name="connsiteY8" fmla="*/ 4403 h 14040"/>
                  <a:gd name="connsiteX9" fmla="*/ 1144 w 10466"/>
                  <a:gd name="connsiteY9" fmla="*/ 5000 h 14040"/>
                  <a:gd name="connsiteX10" fmla="*/ 5042 w 10466"/>
                  <a:gd name="connsiteY10" fmla="*/ 5000 h 14040"/>
                  <a:gd name="connsiteX11" fmla="*/ 7076 w 10466"/>
                  <a:gd name="connsiteY11" fmla="*/ 3433 h 14040"/>
                  <a:gd name="connsiteX12" fmla="*/ 7076 w 10466"/>
                  <a:gd name="connsiteY12" fmla="*/ 7985 h 14040"/>
                  <a:gd name="connsiteX13" fmla="*/ 2413 w 10466"/>
                  <a:gd name="connsiteY13" fmla="*/ 9034 h 14040"/>
                  <a:gd name="connsiteX14" fmla="*/ 0 w 10466"/>
                  <a:gd name="connsiteY14" fmla="*/ 13189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6" h="14040">
                    <a:moveTo>
                      <a:pt x="1099" y="14040"/>
                    </a:moveTo>
                    <a:lnTo>
                      <a:pt x="3237" y="10486"/>
                    </a:lnTo>
                    <a:cubicBezTo>
                      <a:pt x="4572" y="9800"/>
                      <a:pt x="7919" y="10242"/>
                      <a:pt x="9110" y="9925"/>
                    </a:cubicBezTo>
                    <a:cubicBezTo>
                      <a:pt x="10301" y="9608"/>
                      <a:pt x="10297" y="9552"/>
                      <a:pt x="10381" y="8582"/>
                    </a:cubicBezTo>
                    <a:cubicBezTo>
                      <a:pt x="10466" y="7687"/>
                      <a:pt x="10381" y="2313"/>
                      <a:pt x="10381" y="1866"/>
                    </a:cubicBezTo>
                    <a:cubicBezTo>
                      <a:pt x="10381" y="1343"/>
                      <a:pt x="9364" y="0"/>
                      <a:pt x="7669" y="1119"/>
                    </a:cubicBezTo>
                    <a:cubicBezTo>
                      <a:pt x="6991" y="1567"/>
                      <a:pt x="4703" y="3582"/>
                      <a:pt x="4534" y="3657"/>
                    </a:cubicBezTo>
                    <a:cubicBezTo>
                      <a:pt x="4449" y="3731"/>
                      <a:pt x="1229" y="3657"/>
                      <a:pt x="1229" y="3657"/>
                    </a:cubicBezTo>
                    <a:cubicBezTo>
                      <a:pt x="1229" y="3657"/>
                      <a:pt x="466" y="3806"/>
                      <a:pt x="466" y="4403"/>
                    </a:cubicBezTo>
                    <a:cubicBezTo>
                      <a:pt x="466" y="4925"/>
                      <a:pt x="1059" y="5000"/>
                      <a:pt x="1144" y="5000"/>
                    </a:cubicBezTo>
                    <a:lnTo>
                      <a:pt x="5042" y="5000"/>
                    </a:lnTo>
                    <a:lnTo>
                      <a:pt x="7076" y="3433"/>
                    </a:lnTo>
                    <a:lnTo>
                      <a:pt x="7076" y="7985"/>
                    </a:lnTo>
                    <a:lnTo>
                      <a:pt x="2413" y="9034"/>
                    </a:lnTo>
                    <a:lnTo>
                      <a:pt x="0" y="13189"/>
                    </a:lnTo>
                  </a:path>
                </a:pathLst>
              </a:custGeom>
              <a:noFill/>
              <a:ln w="12700" cap="rnd">
                <a:solidFill>
                  <a:schemeClr val="accent3"/>
                </a:solidFill>
                <a:prstDash val="solid"/>
                <a:miter lim="800000"/>
                <a:headEnd/>
                <a:tailEnd/>
              </a:ln>
            </p:spPr>
            <p:txBody>
              <a:bodyPr/>
              <a:lstStyle/>
              <a:p>
                <a:pPr>
                  <a:defRPr/>
                </a:pPr>
                <a:endParaRPr lang="en-GB" sz="1100">
                  <a:solidFill>
                    <a:srgbClr val="505150"/>
                  </a:solidFill>
                </a:endParaRPr>
              </a:p>
            </p:txBody>
          </p:sp>
        </p:grpSp>
        <p:sp>
          <p:nvSpPr>
            <p:cNvPr id="154" name="Rounded Rectangle 153"/>
            <p:cNvSpPr/>
            <p:nvPr/>
          </p:nvSpPr>
          <p:spPr>
            <a:xfrm>
              <a:off x="5642995" y="3014816"/>
              <a:ext cx="1305172"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55" name="Oval 154"/>
            <p:cNvSpPr/>
            <p:nvPr/>
          </p:nvSpPr>
          <p:spPr>
            <a:xfrm>
              <a:off x="6186678"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4</a:t>
              </a:r>
            </a:p>
          </p:txBody>
        </p:sp>
        <p:sp>
          <p:nvSpPr>
            <p:cNvPr id="156" name="Rectangle 155"/>
            <p:cNvSpPr/>
            <p:nvPr/>
          </p:nvSpPr>
          <p:spPr>
            <a:xfrm>
              <a:off x="5694537" y="3648178"/>
              <a:ext cx="1200425" cy="35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GB" sz="1100" b="1">
                  <a:solidFill>
                    <a:srgbClr val="505150"/>
                  </a:solidFill>
                </a:rPr>
                <a:t>Year End Signoff (Reviewer)</a:t>
              </a:r>
            </a:p>
          </p:txBody>
        </p:sp>
        <p:grpSp>
          <p:nvGrpSpPr>
            <p:cNvPr id="32815" name="Group 159"/>
            <p:cNvGrpSpPr>
              <a:grpSpLocks/>
            </p:cNvGrpSpPr>
            <p:nvPr/>
          </p:nvGrpSpPr>
          <p:grpSpPr bwMode="auto">
            <a:xfrm>
              <a:off x="6069406" y="3279910"/>
              <a:ext cx="451310" cy="293347"/>
              <a:chOff x="6095104" y="1631703"/>
              <a:chExt cx="451310" cy="448499"/>
            </a:xfrm>
          </p:grpSpPr>
          <p:grpSp>
            <p:nvGrpSpPr>
              <p:cNvPr id="32869" name="Group 56"/>
              <p:cNvGrpSpPr>
                <a:grpSpLocks/>
              </p:cNvGrpSpPr>
              <p:nvPr/>
            </p:nvGrpSpPr>
            <p:grpSpPr bwMode="auto">
              <a:xfrm>
                <a:off x="6095104" y="1631703"/>
                <a:ext cx="301872" cy="439087"/>
                <a:chOff x="2254251" y="9347200"/>
                <a:chExt cx="384175" cy="558800"/>
              </a:xfrm>
            </p:grpSpPr>
            <p:sp>
              <p:nvSpPr>
                <p:cNvPr id="215" name="Freeform 695"/>
                <p:cNvSpPr>
                  <a:spLocks/>
                </p:cNvSpPr>
                <p:nvPr/>
              </p:nvSpPr>
              <p:spPr bwMode="auto">
                <a:xfrm>
                  <a:off x="2253263" y="9346688"/>
                  <a:ext cx="385101" cy="557689"/>
                </a:xfrm>
                <a:custGeom>
                  <a:avLst/>
                  <a:gdLst/>
                  <a:ahLst/>
                  <a:cxnLst>
                    <a:cxn ang="0">
                      <a:pos x="63" y="116"/>
                    </a:cxn>
                    <a:cxn ang="0">
                      <a:pos x="18" y="116"/>
                    </a:cxn>
                    <a:cxn ang="0">
                      <a:pos x="0" y="98"/>
                    </a:cxn>
                    <a:cxn ang="0">
                      <a:pos x="0" y="17"/>
                    </a:cxn>
                    <a:cxn ang="0">
                      <a:pos x="18" y="0"/>
                    </a:cxn>
                    <a:cxn ang="0">
                      <a:pos x="63" y="0"/>
                    </a:cxn>
                    <a:cxn ang="0">
                      <a:pos x="80" y="17"/>
                    </a:cxn>
                    <a:cxn ang="0">
                      <a:pos x="80" y="98"/>
                    </a:cxn>
                  </a:cxnLst>
                  <a:rect l="0" t="0" r="r" b="b"/>
                  <a:pathLst>
                    <a:path w="80" h="116">
                      <a:moveTo>
                        <a:pt x="63" y="116"/>
                      </a:moveTo>
                      <a:cubicBezTo>
                        <a:pt x="18" y="116"/>
                        <a:pt x="18" y="116"/>
                        <a:pt x="18" y="116"/>
                      </a:cubicBezTo>
                      <a:cubicBezTo>
                        <a:pt x="8" y="116"/>
                        <a:pt x="0" y="108"/>
                        <a:pt x="0" y="98"/>
                      </a:cubicBezTo>
                      <a:cubicBezTo>
                        <a:pt x="0" y="17"/>
                        <a:pt x="0" y="17"/>
                        <a:pt x="0" y="17"/>
                      </a:cubicBezTo>
                      <a:cubicBezTo>
                        <a:pt x="0" y="8"/>
                        <a:pt x="8" y="0"/>
                        <a:pt x="18" y="0"/>
                      </a:cubicBezTo>
                      <a:cubicBezTo>
                        <a:pt x="63" y="0"/>
                        <a:pt x="63" y="0"/>
                        <a:pt x="63" y="0"/>
                      </a:cubicBezTo>
                      <a:cubicBezTo>
                        <a:pt x="73" y="0"/>
                        <a:pt x="80" y="8"/>
                        <a:pt x="80" y="17"/>
                      </a:cubicBezTo>
                      <a:cubicBezTo>
                        <a:pt x="80" y="98"/>
                        <a:pt x="80" y="98"/>
                        <a:pt x="80" y="98"/>
                      </a:cubicBezTo>
                    </a:path>
                  </a:pathLst>
                </a:custGeom>
                <a:noFill/>
                <a:ln w="12700" cap="rnd">
                  <a:solidFill>
                    <a:schemeClr val="accent5"/>
                  </a:solidFill>
                  <a:prstDash val="solid"/>
                  <a:round/>
                  <a:headEnd/>
                  <a:tailEnd/>
                </a:ln>
              </p:spPr>
              <p:txBody>
                <a:bodyPr/>
                <a:lstStyle/>
                <a:p>
                  <a:pPr>
                    <a:defRPr/>
                  </a:pPr>
                  <a:endParaRPr lang="en-US" sz="1100">
                    <a:solidFill>
                      <a:srgbClr val="505150"/>
                    </a:solidFill>
                  </a:endParaRPr>
                </a:p>
              </p:txBody>
            </p:sp>
            <p:sp>
              <p:nvSpPr>
                <p:cNvPr id="216" name="Line 696"/>
                <p:cNvSpPr>
                  <a:spLocks noChangeShapeType="1"/>
                </p:cNvSpPr>
                <p:nvPr/>
              </p:nvSpPr>
              <p:spPr bwMode="auto">
                <a:xfrm>
                  <a:off x="2333669" y="9480402"/>
                  <a:ext cx="228522" cy="3262"/>
                </a:xfrm>
                <a:prstGeom prst="line">
                  <a:avLst/>
                </a:prstGeom>
                <a:noFill/>
                <a:ln w="12700" cap="rnd">
                  <a:solidFill>
                    <a:schemeClr val="accent5"/>
                  </a:solidFill>
                  <a:prstDash val="solid"/>
                  <a:round/>
                  <a:headEnd/>
                  <a:tailEnd/>
                </a:ln>
              </p:spPr>
              <p:txBody>
                <a:bodyPr/>
                <a:lstStyle/>
                <a:p>
                  <a:pPr>
                    <a:defRPr/>
                  </a:pPr>
                  <a:endParaRPr lang="en-US" sz="1100">
                    <a:solidFill>
                      <a:srgbClr val="505150"/>
                    </a:solidFill>
                  </a:endParaRPr>
                </a:p>
              </p:txBody>
            </p:sp>
            <p:sp>
              <p:nvSpPr>
                <p:cNvPr id="217" name="Line 697"/>
                <p:cNvSpPr>
                  <a:spLocks noChangeShapeType="1"/>
                </p:cNvSpPr>
                <p:nvPr/>
              </p:nvSpPr>
              <p:spPr bwMode="auto">
                <a:xfrm>
                  <a:off x="2333669" y="9561937"/>
                  <a:ext cx="228522" cy="3260"/>
                </a:xfrm>
                <a:prstGeom prst="line">
                  <a:avLst/>
                </a:prstGeom>
                <a:noFill/>
                <a:ln w="12700" cap="rnd">
                  <a:solidFill>
                    <a:schemeClr val="accent5"/>
                  </a:solidFill>
                  <a:prstDash val="solid"/>
                  <a:round/>
                  <a:headEnd/>
                  <a:tailEnd/>
                </a:ln>
              </p:spPr>
              <p:txBody>
                <a:bodyPr/>
                <a:lstStyle/>
                <a:p>
                  <a:pPr>
                    <a:defRPr/>
                  </a:pPr>
                  <a:endParaRPr lang="en-US" sz="1100">
                    <a:solidFill>
                      <a:srgbClr val="505150"/>
                    </a:solidFill>
                  </a:endParaRPr>
                </a:p>
              </p:txBody>
            </p:sp>
            <p:sp>
              <p:nvSpPr>
                <p:cNvPr id="218" name="Line 698"/>
                <p:cNvSpPr>
                  <a:spLocks noChangeShapeType="1"/>
                </p:cNvSpPr>
                <p:nvPr/>
              </p:nvSpPr>
              <p:spPr bwMode="auto">
                <a:xfrm>
                  <a:off x="2333669" y="9643470"/>
                  <a:ext cx="228522" cy="3262"/>
                </a:xfrm>
                <a:prstGeom prst="line">
                  <a:avLst/>
                </a:prstGeom>
                <a:noFill/>
                <a:ln w="12700" cap="rnd">
                  <a:solidFill>
                    <a:schemeClr val="accent5"/>
                  </a:solidFill>
                  <a:prstDash val="solid"/>
                  <a:round/>
                  <a:headEnd/>
                  <a:tailEnd/>
                </a:ln>
              </p:spPr>
              <p:txBody>
                <a:bodyPr/>
                <a:lstStyle/>
                <a:p>
                  <a:pPr>
                    <a:defRPr/>
                  </a:pPr>
                  <a:endParaRPr lang="en-US" sz="1100">
                    <a:solidFill>
                      <a:srgbClr val="505150"/>
                    </a:solidFill>
                  </a:endParaRPr>
                </a:p>
              </p:txBody>
            </p:sp>
            <p:sp>
              <p:nvSpPr>
                <p:cNvPr id="219" name="Line 699"/>
                <p:cNvSpPr>
                  <a:spLocks noChangeShapeType="1"/>
                </p:cNvSpPr>
                <p:nvPr/>
              </p:nvSpPr>
              <p:spPr bwMode="auto">
                <a:xfrm>
                  <a:off x="2333669" y="9731527"/>
                  <a:ext cx="228522" cy="3260"/>
                </a:xfrm>
                <a:prstGeom prst="line">
                  <a:avLst/>
                </a:prstGeom>
                <a:noFill/>
                <a:ln w="12700" cap="rnd">
                  <a:solidFill>
                    <a:schemeClr val="accent5"/>
                  </a:solidFill>
                  <a:prstDash val="solid"/>
                  <a:round/>
                  <a:headEnd/>
                  <a:tailEnd/>
                </a:ln>
              </p:spPr>
              <p:txBody>
                <a:bodyPr/>
                <a:lstStyle/>
                <a:p>
                  <a:pPr>
                    <a:defRPr/>
                  </a:pPr>
                  <a:endParaRPr lang="en-US" sz="1100">
                    <a:solidFill>
                      <a:srgbClr val="505150"/>
                    </a:solidFill>
                  </a:endParaRPr>
                </a:p>
              </p:txBody>
            </p:sp>
          </p:grpSp>
          <p:grpSp>
            <p:nvGrpSpPr>
              <p:cNvPr id="32870" name="Group 72"/>
              <p:cNvGrpSpPr>
                <a:grpSpLocks/>
              </p:cNvGrpSpPr>
              <p:nvPr/>
            </p:nvGrpSpPr>
            <p:grpSpPr bwMode="auto">
              <a:xfrm>
                <a:off x="6348082" y="1879255"/>
                <a:ext cx="198332" cy="200947"/>
                <a:chOff x="8412629" y="1507026"/>
                <a:chExt cx="326360" cy="330664"/>
              </a:xfrm>
            </p:grpSpPr>
            <p:sp>
              <p:nvSpPr>
                <p:cNvPr id="213" name="Freeform 2722"/>
                <p:cNvSpPr>
                  <a:spLocks/>
                </p:cNvSpPr>
                <p:nvPr/>
              </p:nvSpPr>
              <p:spPr bwMode="auto">
                <a:xfrm>
                  <a:off x="8402723" y="1508051"/>
                  <a:ext cx="336516" cy="328921"/>
                </a:xfrm>
                <a:custGeom>
                  <a:avLst/>
                  <a:gdLst/>
                  <a:ahLst/>
                  <a:cxnLst>
                    <a:cxn ang="0">
                      <a:pos x="128" y="99"/>
                    </a:cxn>
                    <a:cxn ang="0">
                      <a:pos x="110" y="22"/>
                    </a:cxn>
                    <a:cxn ang="0">
                      <a:pos x="111" y="22"/>
                    </a:cxn>
                    <a:cxn ang="0">
                      <a:pos x="21" y="32"/>
                    </a:cxn>
                    <a:cxn ang="0">
                      <a:pos x="22" y="32"/>
                    </a:cxn>
                    <a:cxn ang="0">
                      <a:pos x="32" y="121"/>
                    </a:cxn>
                    <a:cxn ang="0">
                      <a:pos x="30" y="120"/>
                    </a:cxn>
                    <a:cxn ang="0">
                      <a:pos x="120" y="110"/>
                    </a:cxn>
                  </a:cxnLst>
                  <a:rect l="0" t="0" r="r" b="b"/>
                  <a:pathLst>
                    <a:path w="140" h="142">
                      <a:moveTo>
                        <a:pt x="128" y="99"/>
                      </a:moveTo>
                      <a:cubicBezTo>
                        <a:pt x="140" y="67"/>
                        <a:pt x="132" y="43"/>
                        <a:pt x="110" y="22"/>
                      </a:cubicBezTo>
                      <a:cubicBezTo>
                        <a:pt x="111" y="22"/>
                        <a:pt x="111" y="22"/>
                        <a:pt x="111" y="22"/>
                      </a:cubicBezTo>
                      <a:cubicBezTo>
                        <a:pt x="84" y="0"/>
                        <a:pt x="43" y="5"/>
                        <a:pt x="21" y="32"/>
                      </a:cubicBezTo>
                      <a:cubicBezTo>
                        <a:pt x="22" y="32"/>
                        <a:pt x="22" y="32"/>
                        <a:pt x="22" y="32"/>
                      </a:cubicBezTo>
                      <a:cubicBezTo>
                        <a:pt x="0" y="59"/>
                        <a:pt x="4" y="99"/>
                        <a:pt x="32" y="121"/>
                      </a:cubicBezTo>
                      <a:cubicBezTo>
                        <a:pt x="30" y="120"/>
                        <a:pt x="30" y="120"/>
                        <a:pt x="30" y="120"/>
                      </a:cubicBezTo>
                      <a:cubicBezTo>
                        <a:pt x="58" y="142"/>
                        <a:pt x="98" y="138"/>
                        <a:pt x="120" y="110"/>
                      </a:cubicBezTo>
                    </a:path>
                  </a:pathLst>
                </a:custGeom>
                <a:solidFill>
                  <a:schemeClr val="bg1">
                    <a:lumMod val="95000"/>
                  </a:schemeClr>
                </a:solidFill>
                <a:ln w="12700" cap="rnd">
                  <a:solidFill>
                    <a:schemeClr val="accent5"/>
                  </a:solidFill>
                  <a:prstDash val="solid"/>
                  <a:round/>
                  <a:headEnd/>
                  <a:tailEnd/>
                </a:ln>
              </p:spPr>
              <p:txBody>
                <a:bodyPr/>
                <a:lstStyle/>
                <a:p>
                  <a:pPr>
                    <a:defRPr/>
                  </a:pPr>
                  <a:endParaRPr lang="en-US" sz="1100">
                    <a:solidFill>
                      <a:srgbClr val="505150"/>
                    </a:solidFill>
                  </a:endParaRPr>
                </a:p>
              </p:txBody>
            </p:sp>
            <p:sp>
              <p:nvSpPr>
                <p:cNvPr id="214" name="Freeform 2721"/>
                <p:cNvSpPr>
                  <a:spLocks/>
                </p:cNvSpPr>
                <p:nvPr/>
              </p:nvSpPr>
              <p:spPr bwMode="auto">
                <a:xfrm>
                  <a:off x="8509422" y="1613476"/>
                  <a:ext cx="131324" cy="118074"/>
                </a:xfrm>
                <a:custGeom>
                  <a:avLst/>
                  <a:gdLst/>
                  <a:ahLst/>
                  <a:cxnLst>
                    <a:cxn ang="0">
                      <a:pos x="79" y="0"/>
                    </a:cxn>
                    <a:cxn ang="0">
                      <a:pos x="87" y="3"/>
                    </a:cxn>
                    <a:cxn ang="0">
                      <a:pos x="87" y="3"/>
                    </a:cxn>
                    <a:cxn ang="0">
                      <a:pos x="15" y="76"/>
                    </a:cxn>
                    <a:cxn ang="0">
                      <a:pos x="0" y="40"/>
                    </a:cxn>
                    <a:cxn ang="0">
                      <a:pos x="17" y="54"/>
                    </a:cxn>
                    <a:cxn ang="0">
                      <a:pos x="79" y="0"/>
                    </a:cxn>
                  </a:cxnLst>
                  <a:rect l="0" t="0" r="r" b="b"/>
                  <a:pathLst>
                    <a:path w="87" h="76">
                      <a:moveTo>
                        <a:pt x="79" y="0"/>
                      </a:moveTo>
                      <a:cubicBezTo>
                        <a:pt x="84" y="0"/>
                        <a:pt x="87" y="3"/>
                        <a:pt x="87" y="3"/>
                      </a:cubicBezTo>
                      <a:cubicBezTo>
                        <a:pt x="87" y="3"/>
                        <a:pt x="87" y="3"/>
                        <a:pt x="87" y="3"/>
                      </a:cubicBezTo>
                      <a:cubicBezTo>
                        <a:pt x="49" y="3"/>
                        <a:pt x="17" y="73"/>
                        <a:pt x="15" y="76"/>
                      </a:cubicBezTo>
                      <a:cubicBezTo>
                        <a:pt x="0" y="40"/>
                        <a:pt x="0" y="40"/>
                        <a:pt x="0" y="40"/>
                      </a:cubicBezTo>
                      <a:cubicBezTo>
                        <a:pt x="17" y="54"/>
                        <a:pt x="17" y="54"/>
                        <a:pt x="17" y="54"/>
                      </a:cubicBezTo>
                      <a:cubicBezTo>
                        <a:pt x="46" y="8"/>
                        <a:pt x="67" y="0"/>
                        <a:pt x="79" y="0"/>
                      </a:cubicBezTo>
                      <a:close/>
                    </a:path>
                  </a:pathLst>
                </a:custGeom>
                <a:solidFill>
                  <a:schemeClr val="accent5"/>
                </a:solidFill>
                <a:ln w="12700">
                  <a:solidFill>
                    <a:schemeClr val="accent5"/>
                  </a:solidFill>
                  <a:round/>
                  <a:headEnd/>
                  <a:tailEnd/>
                </a:ln>
              </p:spPr>
              <p:txBody>
                <a:bodyPr/>
                <a:lstStyle/>
                <a:p>
                  <a:pPr>
                    <a:defRPr/>
                  </a:pPr>
                  <a:endParaRPr lang="en-US" sz="1100">
                    <a:solidFill>
                      <a:srgbClr val="505150"/>
                    </a:solidFill>
                  </a:endParaRPr>
                </a:p>
              </p:txBody>
            </p:sp>
          </p:grpSp>
        </p:grpSp>
        <p:sp>
          <p:nvSpPr>
            <p:cNvPr id="158" name="Rounded Rectangle 157"/>
            <p:cNvSpPr/>
            <p:nvPr/>
          </p:nvSpPr>
          <p:spPr>
            <a:xfrm>
              <a:off x="7032961" y="3014816"/>
              <a:ext cx="1305172"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59" name="Oval 158"/>
            <p:cNvSpPr/>
            <p:nvPr/>
          </p:nvSpPr>
          <p:spPr>
            <a:xfrm>
              <a:off x="7576644"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5</a:t>
              </a:r>
            </a:p>
          </p:txBody>
        </p:sp>
        <p:sp>
          <p:nvSpPr>
            <p:cNvPr id="160" name="Rectangle 159"/>
            <p:cNvSpPr/>
            <p:nvPr/>
          </p:nvSpPr>
          <p:spPr>
            <a:xfrm>
              <a:off x="7086165" y="3648178"/>
              <a:ext cx="1198763" cy="35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GB" sz="1100" b="1">
                  <a:solidFill>
                    <a:srgbClr val="505150"/>
                  </a:solidFill>
                </a:rPr>
                <a:t>Year End Signoff (Employee)</a:t>
              </a:r>
            </a:p>
          </p:txBody>
        </p:sp>
        <p:grpSp>
          <p:nvGrpSpPr>
            <p:cNvPr id="32819" name="Group 160"/>
            <p:cNvGrpSpPr>
              <a:grpSpLocks/>
            </p:cNvGrpSpPr>
            <p:nvPr/>
          </p:nvGrpSpPr>
          <p:grpSpPr bwMode="auto">
            <a:xfrm>
              <a:off x="7499310" y="3236449"/>
              <a:ext cx="372227" cy="380268"/>
              <a:chOff x="7503511" y="1574805"/>
              <a:chExt cx="372227" cy="581394"/>
            </a:xfrm>
          </p:grpSpPr>
          <p:sp>
            <p:nvSpPr>
              <p:cNvPr id="32858" name="Freeform 15"/>
              <p:cNvSpPr>
                <a:spLocks/>
              </p:cNvSpPr>
              <p:nvPr/>
            </p:nvSpPr>
            <p:spPr bwMode="auto">
              <a:xfrm>
                <a:off x="7830756" y="1957154"/>
                <a:ext cx="44982" cy="106832"/>
              </a:xfrm>
              <a:custGeom>
                <a:avLst/>
                <a:gdLst>
                  <a:gd name="T0" fmla="*/ 2147483646 w 40"/>
                  <a:gd name="T1" fmla="*/ 0 h 95"/>
                  <a:gd name="T2" fmla="*/ 0 w 40"/>
                  <a:gd name="T3" fmla="*/ 0 h 95"/>
                  <a:gd name="T4" fmla="*/ 0 w 40"/>
                  <a:gd name="T5" fmla="*/ 2147483646 h 95"/>
                  <a:gd name="T6" fmla="*/ 2147483646 w 40"/>
                  <a:gd name="T7" fmla="*/ 2147483646 h 95"/>
                  <a:gd name="T8" fmla="*/ 2147483646 w 40"/>
                  <a:gd name="T9" fmla="*/ 2147483646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95">
                    <a:moveTo>
                      <a:pt x="40" y="0"/>
                    </a:moveTo>
                    <a:lnTo>
                      <a:pt x="0" y="0"/>
                    </a:lnTo>
                    <a:lnTo>
                      <a:pt x="0" y="95"/>
                    </a:lnTo>
                    <a:lnTo>
                      <a:pt x="40" y="95"/>
                    </a:lnTo>
                    <a:lnTo>
                      <a:pt x="40" y="57"/>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59" name="Freeform 16"/>
              <p:cNvSpPr>
                <a:spLocks/>
              </p:cNvSpPr>
              <p:nvPr/>
            </p:nvSpPr>
            <p:spPr bwMode="auto">
              <a:xfrm>
                <a:off x="7631710" y="1968399"/>
                <a:ext cx="201295" cy="97836"/>
              </a:xfrm>
              <a:custGeom>
                <a:avLst/>
                <a:gdLst>
                  <a:gd name="T0" fmla="*/ 2147483646 w 76"/>
                  <a:gd name="T1" fmla="*/ 2147483646 h 37"/>
                  <a:gd name="T2" fmla="*/ 2147483646 w 76"/>
                  <a:gd name="T3" fmla="*/ 2147483646 h 37"/>
                  <a:gd name="T4" fmla="*/ 2147483646 w 76"/>
                  <a:gd name="T5" fmla="*/ 0 h 37"/>
                  <a:gd name="T6" fmla="*/ 2147483646 w 76"/>
                  <a:gd name="T7" fmla="*/ 2147483646 h 37"/>
                  <a:gd name="T8" fmla="*/ 2147483646 w 76"/>
                  <a:gd name="T9" fmla="*/ 2147483646 h 37"/>
                  <a:gd name="T10" fmla="*/ 2147483646 w 76"/>
                  <a:gd name="T11" fmla="*/ 2147483646 h 37"/>
                  <a:gd name="T12" fmla="*/ 2147483646 w 76"/>
                  <a:gd name="T13" fmla="*/ 2147483646 h 37"/>
                  <a:gd name="T14" fmla="*/ 2147483646 w 76"/>
                  <a:gd name="T15" fmla="*/ 2147483646 h 37"/>
                  <a:gd name="T16" fmla="*/ 2147483646 w 76"/>
                  <a:gd name="T17" fmla="*/ 2147483646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37">
                    <a:moveTo>
                      <a:pt x="76" y="4"/>
                    </a:moveTo>
                    <a:cubicBezTo>
                      <a:pt x="76" y="4"/>
                      <a:pt x="52" y="6"/>
                      <a:pt x="49" y="6"/>
                    </a:cubicBezTo>
                    <a:cubicBezTo>
                      <a:pt x="45" y="6"/>
                      <a:pt x="25" y="0"/>
                      <a:pt x="25" y="0"/>
                    </a:cubicBezTo>
                    <a:cubicBezTo>
                      <a:pt x="2" y="19"/>
                      <a:pt x="2" y="19"/>
                      <a:pt x="2" y="19"/>
                    </a:cubicBezTo>
                    <a:cubicBezTo>
                      <a:pt x="2" y="19"/>
                      <a:pt x="0" y="27"/>
                      <a:pt x="5" y="27"/>
                    </a:cubicBezTo>
                    <a:cubicBezTo>
                      <a:pt x="9" y="28"/>
                      <a:pt x="26" y="18"/>
                      <a:pt x="26" y="18"/>
                    </a:cubicBezTo>
                    <a:cubicBezTo>
                      <a:pt x="56" y="36"/>
                      <a:pt x="56" y="36"/>
                      <a:pt x="56" y="36"/>
                    </a:cubicBezTo>
                    <a:cubicBezTo>
                      <a:pt x="56" y="36"/>
                      <a:pt x="63" y="37"/>
                      <a:pt x="67" y="33"/>
                    </a:cubicBezTo>
                    <a:cubicBezTo>
                      <a:pt x="71" y="29"/>
                      <a:pt x="75" y="29"/>
                      <a:pt x="75" y="29"/>
                    </a:cubicBez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0" name="Freeform 17"/>
              <p:cNvSpPr>
                <a:spLocks/>
              </p:cNvSpPr>
              <p:nvPr/>
            </p:nvSpPr>
            <p:spPr bwMode="auto">
              <a:xfrm>
                <a:off x="7503511" y="1943659"/>
                <a:ext cx="91089" cy="106832"/>
              </a:xfrm>
              <a:custGeom>
                <a:avLst/>
                <a:gdLst>
                  <a:gd name="T0" fmla="*/ 2147483646 w 81"/>
                  <a:gd name="T1" fmla="*/ 2147483646 h 95"/>
                  <a:gd name="T2" fmla="*/ 0 w 81"/>
                  <a:gd name="T3" fmla="*/ 2147483646 h 95"/>
                  <a:gd name="T4" fmla="*/ 2147483646 w 81"/>
                  <a:gd name="T5" fmla="*/ 2147483646 h 95"/>
                  <a:gd name="T6" fmla="*/ 2147483646 w 81"/>
                  <a:gd name="T7" fmla="*/ 2147483646 h 95"/>
                  <a:gd name="T8" fmla="*/ 2147483646 w 81"/>
                  <a:gd name="T9" fmla="*/ 0 h 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 h="95">
                    <a:moveTo>
                      <a:pt x="38" y="22"/>
                    </a:moveTo>
                    <a:lnTo>
                      <a:pt x="0" y="74"/>
                    </a:lnTo>
                    <a:lnTo>
                      <a:pt x="33" y="95"/>
                    </a:lnTo>
                    <a:lnTo>
                      <a:pt x="81" y="29"/>
                    </a:lnTo>
                    <a:lnTo>
                      <a:pt x="45"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1" name="Line 18"/>
              <p:cNvSpPr>
                <a:spLocks noChangeShapeType="1"/>
              </p:cNvSpPr>
              <p:nvPr/>
            </p:nvSpPr>
            <p:spPr bwMode="auto">
              <a:xfrm flipV="1">
                <a:off x="7594600" y="1981894"/>
                <a:ext cx="87715" cy="4499"/>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62" name="Line 19"/>
              <p:cNvSpPr>
                <a:spLocks noChangeShapeType="1"/>
              </p:cNvSpPr>
              <p:nvPr/>
            </p:nvSpPr>
            <p:spPr bwMode="auto">
              <a:xfrm flipH="1" flipV="1">
                <a:off x="7549618" y="2039246"/>
                <a:ext cx="44982" cy="34861"/>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63" name="Freeform 20"/>
              <p:cNvSpPr>
                <a:spLocks/>
              </p:cNvSpPr>
              <p:nvPr/>
            </p:nvSpPr>
            <p:spPr bwMode="auto">
              <a:xfrm>
                <a:off x="7686814" y="2063986"/>
                <a:ext cx="103459" cy="92213"/>
              </a:xfrm>
              <a:custGeom>
                <a:avLst/>
                <a:gdLst>
                  <a:gd name="T0" fmla="*/ 2147483646 w 39"/>
                  <a:gd name="T1" fmla="*/ 0 h 35"/>
                  <a:gd name="T2" fmla="*/ 2147483646 w 39"/>
                  <a:gd name="T3" fmla="*/ 2147483646 h 35"/>
                  <a:gd name="T4" fmla="*/ 2147483646 w 39"/>
                  <a:gd name="T5" fmla="*/ 2147483646 h 35"/>
                  <a:gd name="T6" fmla="*/ 2147483646 w 39"/>
                  <a:gd name="T7" fmla="*/ 2147483646 h 35"/>
                  <a:gd name="T8" fmla="*/ 0 w 39"/>
                  <a:gd name="T9" fmla="*/ 2147483646 h 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35">
                    <a:moveTo>
                      <a:pt x="38" y="0"/>
                    </a:moveTo>
                    <a:cubicBezTo>
                      <a:pt x="38" y="0"/>
                      <a:pt x="39" y="11"/>
                      <a:pt x="30" y="10"/>
                    </a:cubicBezTo>
                    <a:cubicBezTo>
                      <a:pt x="30" y="10"/>
                      <a:pt x="34" y="23"/>
                      <a:pt x="23" y="21"/>
                    </a:cubicBezTo>
                    <a:cubicBezTo>
                      <a:pt x="23" y="21"/>
                      <a:pt x="28" y="30"/>
                      <a:pt x="11" y="28"/>
                    </a:cubicBezTo>
                    <a:cubicBezTo>
                      <a:pt x="11" y="28"/>
                      <a:pt x="16" y="35"/>
                      <a:pt x="0" y="32"/>
                    </a:cubicBez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4" name="Freeform 21"/>
              <p:cNvSpPr>
                <a:spLocks/>
              </p:cNvSpPr>
              <p:nvPr/>
            </p:nvSpPr>
            <p:spPr bwMode="auto">
              <a:xfrm>
                <a:off x="7588977" y="2071858"/>
                <a:ext cx="37110" cy="37110"/>
              </a:xfrm>
              <a:custGeom>
                <a:avLst/>
                <a:gdLst>
                  <a:gd name="T0" fmla="*/ 2147483646 w 14"/>
                  <a:gd name="T1" fmla="*/ 2147483646 h 14"/>
                  <a:gd name="T2" fmla="*/ 2147483646 w 14"/>
                  <a:gd name="T3" fmla="*/ 2147483646 h 14"/>
                  <a:gd name="T4" fmla="*/ 2147483646 w 14"/>
                  <a:gd name="T5" fmla="*/ 2147483646 h 14"/>
                  <a:gd name="T6" fmla="*/ 2147483646 w 14"/>
                  <a:gd name="T7" fmla="*/ 2147483646 h 14"/>
                  <a:gd name="T8" fmla="*/ 2147483646 w 14"/>
                  <a:gd name="T9" fmla="*/ 2147483646 h 14"/>
                  <a:gd name="T10" fmla="*/ 2147483646 w 14"/>
                  <a:gd name="T11" fmla="*/ 2147483646 h 14"/>
                  <a:gd name="T12" fmla="*/ 2147483646 w 14"/>
                  <a:gd name="T13" fmla="*/ 2147483646 h 14"/>
                  <a:gd name="T14" fmla="*/ 2147483646 w 14"/>
                  <a:gd name="T15" fmla="*/ 2147483646 h 14"/>
                  <a:gd name="T16" fmla="*/ 2147483646 w 14"/>
                  <a:gd name="T17" fmla="*/ 2147483646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 h="14">
                    <a:moveTo>
                      <a:pt x="7" y="13"/>
                    </a:moveTo>
                    <a:cubicBezTo>
                      <a:pt x="6" y="14"/>
                      <a:pt x="4" y="14"/>
                      <a:pt x="2" y="12"/>
                    </a:cubicBezTo>
                    <a:cubicBezTo>
                      <a:pt x="2" y="12"/>
                      <a:pt x="2" y="12"/>
                      <a:pt x="2" y="12"/>
                    </a:cubicBezTo>
                    <a:cubicBezTo>
                      <a:pt x="0" y="11"/>
                      <a:pt x="0" y="8"/>
                      <a:pt x="1" y="7"/>
                    </a:cubicBezTo>
                    <a:cubicBezTo>
                      <a:pt x="7" y="1"/>
                      <a:pt x="7" y="1"/>
                      <a:pt x="7" y="1"/>
                    </a:cubicBezTo>
                    <a:cubicBezTo>
                      <a:pt x="8" y="0"/>
                      <a:pt x="10" y="0"/>
                      <a:pt x="12" y="1"/>
                    </a:cubicBezTo>
                    <a:cubicBezTo>
                      <a:pt x="12" y="1"/>
                      <a:pt x="12" y="1"/>
                      <a:pt x="12" y="1"/>
                    </a:cubicBezTo>
                    <a:cubicBezTo>
                      <a:pt x="13" y="3"/>
                      <a:pt x="14" y="5"/>
                      <a:pt x="13" y="6"/>
                    </a:cubicBezTo>
                    <a:lnTo>
                      <a:pt x="7" y="13"/>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5" name="Freeform 22"/>
              <p:cNvSpPr>
                <a:spLocks/>
              </p:cNvSpPr>
              <p:nvPr/>
            </p:nvSpPr>
            <p:spPr bwMode="auto">
              <a:xfrm>
                <a:off x="7649703" y="2119090"/>
                <a:ext cx="40484" cy="29239"/>
              </a:xfrm>
              <a:custGeom>
                <a:avLst/>
                <a:gdLst>
                  <a:gd name="T0" fmla="*/ 2147483646 w 15"/>
                  <a:gd name="T1" fmla="*/ 2147483646 h 11"/>
                  <a:gd name="T2" fmla="*/ 0 w 15"/>
                  <a:gd name="T3" fmla="*/ 2147483646 h 11"/>
                  <a:gd name="T4" fmla="*/ 0 w 15"/>
                  <a:gd name="T5" fmla="*/ 2147483646 h 11"/>
                  <a:gd name="T6" fmla="*/ 2147483646 w 15"/>
                  <a:gd name="T7" fmla="*/ 2147483646 h 11"/>
                  <a:gd name="T8" fmla="*/ 2147483646 w 15"/>
                  <a:gd name="T9" fmla="*/ 2147483646 h 11"/>
                  <a:gd name="T10" fmla="*/ 2147483646 w 15"/>
                  <a:gd name="T11" fmla="*/ 2147483646 h 11"/>
                  <a:gd name="T12" fmla="*/ 2147483646 w 15"/>
                  <a:gd name="T13" fmla="*/ 2147483646 h 11"/>
                  <a:gd name="T14" fmla="*/ 2147483646 w 15"/>
                  <a:gd name="T15" fmla="*/ 2147483646 h 11"/>
                  <a:gd name="T16" fmla="*/ 2147483646 w 15"/>
                  <a:gd name="T17" fmla="*/ 2147483646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11">
                    <a:moveTo>
                      <a:pt x="4" y="11"/>
                    </a:moveTo>
                    <a:cubicBezTo>
                      <a:pt x="3" y="11"/>
                      <a:pt x="1" y="10"/>
                      <a:pt x="0" y="8"/>
                    </a:cubicBezTo>
                    <a:cubicBezTo>
                      <a:pt x="0" y="8"/>
                      <a:pt x="0" y="8"/>
                      <a:pt x="0" y="8"/>
                    </a:cubicBezTo>
                    <a:cubicBezTo>
                      <a:pt x="0" y="6"/>
                      <a:pt x="0" y="4"/>
                      <a:pt x="2" y="3"/>
                    </a:cubicBezTo>
                    <a:cubicBezTo>
                      <a:pt x="10" y="1"/>
                      <a:pt x="10" y="1"/>
                      <a:pt x="10" y="1"/>
                    </a:cubicBezTo>
                    <a:cubicBezTo>
                      <a:pt x="12" y="0"/>
                      <a:pt x="13" y="1"/>
                      <a:pt x="14" y="3"/>
                    </a:cubicBezTo>
                    <a:cubicBezTo>
                      <a:pt x="14" y="3"/>
                      <a:pt x="14" y="3"/>
                      <a:pt x="14" y="3"/>
                    </a:cubicBezTo>
                    <a:cubicBezTo>
                      <a:pt x="15" y="6"/>
                      <a:pt x="14" y="8"/>
                      <a:pt x="12" y="8"/>
                    </a:cubicBezTo>
                    <a:lnTo>
                      <a:pt x="4" y="11"/>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6" name="Freeform 23"/>
              <p:cNvSpPr>
                <a:spLocks/>
              </p:cNvSpPr>
              <p:nvPr/>
            </p:nvSpPr>
            <p:spPr bwMode="auto">
              <a:xfrm>
                <a:off x="7623839" y="2097722"/>
                <a:ext cx="39359" cy="40484"/>
              </a:xfrm>
              <a:custGeom>
                <a:avLst/>
                <a:gdLst>
                  <a:gd name="T0" fmla="*/ 2147483646 w 15"/>
                  <a:gd name="T1" fmla="*/ 2147483646 h 15"/>
                  <a:gd name="T2" fmla="*/ 2147483646 w 15"/>
                  <a:gd name="T3" fmla="*/ 2147483646 h 15"/>
                  <a:gd name="T4" fmla="*/ 2147483646 w 15"/>
                  <a:gd name="T5" fmla="*/ 2147483646 h 15"/>
                  <a:gd name="T6" fmla="*/ 2147483646 w 15"/>
                  <a:gd name="T7" fmla="*/ 2147483646 h 15"/>
                  <a:gd name="T8" fmla="*/ 2147483646 w 15"/>
                  <a:gd name="T9" fmla="*/ 2147483646 h 15"/>
                  <a:gd name="T10" fmla="*/ 2147483646 w 15"/>
                  <a:gd name="T11" fmla="*/ 2147483646 h 15"/>
                  <a:gd name="T12" fmla="*/ 2147483646 w 15"/>
                  <a:gd name="T13" fmla="*/ 2147483646 h 15"/>
                  <a:gd name="T14" fmla="*/ 2147483646 w 15"/>
                  <a:gd name="T15" fmla="*/ 2147483646 h 15"/>
                  <a:gd name="T16" fmla="*/ 2147483646 w 15"/>
                  <a:gd name="T17" fmla="*/ 2147483646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15">
                    <a:moveTo>
                      <a:pt x="8" y="14"/>
                    </a:moveTo>
                    <a:cubicBezTo>
                      <a:pt x="6" y="15"/>
                      <a:pt x="4" y="15"/>
                      <a:pt x="2" y="13"/>
                    </a:cubicBezTo>
                    <a:cubicBezTo>
                      <a:pt x="2" y="13"/>
                      <a:pt x="2" y="13"/>
                      <a:pt x="2" y="13"/>
                    </a:cubicBezTo>
                    <a:cubicBezTo>
                      <a:pt x="1" y="12"/>
                      <a:pt x="0" y="10"/>
                      <a:pt x="2" y="8"/>
                    </a:cubicBezTo>
                    <a:cubicBezTo>
                      <a:pt x="8" y="1"/>
                      <a:pt x="8" y="1"/>
                      <a:pt x="8" y="1"/>
                    </a:cubicBezTo>
                    <a:cubicBezTo>
                      <a:pt x="9" y="0"/>
                      <a:pt x="11" y="0"/>
                      <a:pt x="13" y="2"/>
                    </a:cubicBezTo>
                    <a:cubicBezTo>
                      <a:pt x="13" y="2"/>
                      <a:pt x="13" y="2"/>
                      <a:pt x="13" y="2"/>
                    </a:cubicBezTo>
                    <a:cubicBezTo>
                      <a:pt x="15" y="3"/>
                      <a:pt x="15" y="5"/>
                      <a:pt x="14" y="7"/>
                    </a:cubicBezTo>
                    <a:lnTo>
                      <a:pt x="8" y="14"/>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7" name="Freeform 24"/>
              <p:cNvSpPr>
                <a:spLocks/>
              </p:cNvSpPr>
              <p:nvPr/>
            </p:nvSpPr>
            <p:spPr bwMode="auto">
              <a:xfrm>
                <a:off x="7602472" y="2076356"/>
                <a:ext cx="47231" cy="50604"/>
              </a:xfrm>
              <a:custGeom>
                <a:avLst/>
                <a:gdLst>
                  <a:gd name="T0" fmla="*/ 2147483646 w 18"/>
                  <a:gd name="T1" fmla="*/ 2147483646 h 19"/>
                  <a:gd name="T2" fmla="*/ 2147483646 w 18"/>
                  <a:gd name="T3" fmla="*/ 2147483646 h 19"/>
                  <a:gd name="T4" fmla="*/ 2147483646 w 18"/>
                  <a:gd name="T5" fmla="*/ 2147483646 h 19"/>
                  <a:gd name="T6" fmla="*/ 2147483646 w 18"/>
                  <a:gd name="T7" fmla="*/ 2147483646 h 19"/>
                  <a:gd name="T8" fmla="*/ 2147483646 w 18"/>
                  <a:gd name="T9" fmla="*/ 2147483646 h 19"/>
                  <a:gd name="T10" fmla="*/ 2147483646 w 18"/>
                  <a:gd name="T11" fmla="*/ 2147483646 h 19"/>
                  <a:gd name="T12" fmla="*/ 2147483646 w 18"/>
                  <a:gd name="T13" fmla="*/ 2147483646 h 19"/>
                  <a:gd name="T14" fmla="*/ 2147483646 w 18"/>
                  <a:gd name="T15" fmla="*/ 2147483646 h 19"/>
                  <a:gd name="T16" fmla="*/ 2147483646 w 18"/>
                  <a:gd name="T17" fmla="*/ 214748364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19">
                    <a:moveTo>
                      <a:pt x="8" y="17"/>
                    </a:moveTo>
                    <a:cubicBezTo>
                      <a:pt x="6" y="19"/>
                      <a:pt x="3" y="19"/>
                      <a:pt x="2" y="18"/>
                    </a:cubicBezTo>
                    <a:cubicBezTo>
                      <a:pt x="2" y="18"/>
                      <a:pt x="2" y="18"/>
                      <a:pt x="2" y="18"/>
                    </a:cubicBezTo>
                    <a:cubicBezTo>
                      <a:pt x="0" y="16"/>
                      <a:pt x="0" y="14"/>
                      <a:pt x="2" y="12"/>
                    </a:cubicBezTo>
                    <a:cubicBezTo>
                      <a:pt x="10" y="2"/>
                      <a:pt x="10" y="2"/>
                      <a:pt x="10" y="2"/>
                    </a:cubicBezTo>
                    <a:cubicBezTo>
                      <a:pt x="12" y="1"/>
                      <a:pt x="14" y="0"/>
                      <a:pt x="16" y="2"/>
                    </a:cubicBezTo>
                    <a:cubicBezTo>
                      <a:pt x="16" y="2"/>
                      <a:pt x="16" y="2"/>
                      <a:pt x="16" y="2"/>
                    </a:cubicBezTo>
                    <a:cubicBezTo>
                      <a:pt x="18" y="3"/>
                      <a:pt x="18" y="6"/>
                      <a:pt x="16" y="8"/>
                    </a:cubicBezTo>
                    <a:lnTo>
                      <a:pt x="8" y="17"/>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68" name="Freeform 25"/>
              <p:cNvSpPr>
                <a:spLocks/>
              </p:cNvSpPr>
              <p:nvPr/>
            </p:nvSpPr>
            <p:spPr bwMode="auto">
              <a:xfrm>
                <a:off x="7549618" y="1574805"/>
                <a:ext cx="291260" cy="364355"/>
              </a:xfrm>
              <a:custGeom>
                <a:avLst/>
                <a:gdLst>
                  <a:gd name="T0" fmla="*/ 2147483646 w 110"/>
                  <a:gd name="T1" fmla="*/ 2147483646 h 137"/>
                  <a:gd name="T2" fmla="*/ 2147483646 w 110"/>
                  <a:gd name="T3" fmla="*/ 2147483646 h 137"/>
                  <a:gd name="T4" fmla="*/ 2147483646 w 110"/>
                  <a:gd name="T5" fmla="*/ 2147483646 h 137"/>
                  <a:gd name="T6" fmla="*/ 2147483646 w 110"/>
                  <a:gd name="T7" fmla="*/ 2147483646 h 137"/>
                  <a:gd name="T8" fmla="*/ 2147483646 w 110"/>
                  <a:gd name="T9" fmla="*/ 2147483646 h 137"/>
                  <a:gd name="T10" fmla="*/ 2147483646 w 110"/>
                  <a:gd name="T11" fmla="*/ 2147483646 h 137"/>
                  <a:gd name="T12" fmla="*/ 2147483646 w 110"/>
                  <a:gd name="T13" fmla="*/ 2147483646 h 1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0" h="137">
                    <a:moveTo>
                      <a:pt x="54" y="107"/>
                    </a:moveTo>
                    <a:cubicBezTo>
                      <a:pt x="53" y="137"/>
                      <a:pt x="53" y="137"/>
                      <a:pt x="53" y="137"/>
                    </a:cubicBezTo>
                    <a:cubicBezTo>
                      <a:pt x="53" y="137"/>
                      <a:pt x="87" y="105"/>
                      <a:pt x="96" y="91"/>
                    </a:cubicBezTo>
                    <a:cubicBezTo>
                      <a:pt x="103" y="82"/>
                      <a:pt x="110" y="68"/>
                      <a:pt x="106" y="46"/>
                    </a:cubicBezTo>
                    <a:cubicBezTo>
                      <a:pt x="101" y="18"/>
                      <a:pt x="74" y="0"/>
                      <a:pt x="46" y="5"/>
                    </a:cubicBezTo>
                    <a:cubicBezTo>
                      <a:pt x="18" y="11"/>
                      <a:pt x="0" y="37"/>
                      <a:pt x="5" y="65"/>
                    </a:cubicBezTo>
                    <a:cubicBezTo>
                      <a:pt x="9" y="83"/>
                      <a:pt x="21" y="97"/>
                      <a:pt x="37" y="104"/>
                    </a:cubicBez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sp>
          <p:nvSpPr>
            <p:cNvPr id="162" name="Rounded Rectangle 161"/>
            <p:cNvSpPr/>
            <p:nvPr/>
          </p:nvSpPr>
          <p:spPr>
            <a:xfrm>
              <a:off x="8422926" y="3014816"/>
              <a:ext cx="1305172" cy="103753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100" err="1">
                <a:solidFill>
                  <a:srgbClr val="00264A">
                    <a:lumMod val="50000"/>
                  </a:srgbClr>
                </a:solidFill>
              </a:endParaRPr>
            </a:p>
          </p:txBody>
        </p:sp>
        <p:sp>
          <p:nvSpPr>
            <p:cNvPr id="163" name="Oval 162"/>
            <p:cNvSpPr/>
            <p:nvPr/>
          </p:nvSpPr>
          <p:spPr>
            <a:xfrm>
              <a:off x="8968272" y="2982969"/>
              <a:ext cx="269347" cy="1759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a:solidFill>
                    <a:srgbClr val="FFFFFE"/>
                  </a:solidFill>
                </a:rPr>
                <a:t>6</a:t>
              </a:r>
            </a:p>
          </p:txBody>
        </p:sp>
        <p:sp>
          <p:nvSpPr>
            <p:cNvPr id="164" name="Rectangle 163"/>
            <p:cNvSpPr/>
            <p:nvPr/>
          </p:nvSpPr>
          <p:spPr>
            <a:xfrm>
              <a:off x="8476131" y="3648180"/>
              <a:ext cx="1198763" cy="35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GB" sz="1100" b="1">
                  <a:solidFill>
                    <a:srgbClr val="505150"/>
                  </a:solidFill>
                </a:rPr>
                <a:t>Year End Complete</a:t>
              </a:r>
            </a:p>
          </p:txBody>
        </p:sp>
        <p:grpSp>
          <p:nvGrpSpPr>
            <p:cNvPr id="32823" name="Group 161"/>
            <p:cNvGrpSpPr>
              <a:grpSpLocks/>
            </p:cNvGrpSpPr>
            <p:nvPr/>
          </p:nvGrpSpPr>
          <p:grpSpPr bwMode="auto">
            <a:xfrm>
              <a:off x="8885843" y="3263077"/>
              <a:ext cx="379881" cy="327013"/>
              <a:chOff x="8920493" y="1667372"/>
              <a:chExt cx="379881" cy="499972"/>
            </a:xfrm>
          </p:grpSpPr>
          <p:sp>
            <p:nvSpPr>
              <p:cNvPr id="32849" name="Freeform 16"/>
              <p:cNvSpPr>
                <a:spLocks/>
              </p:cNvSpPr>
              <p:nvPr/>
            </p:nvSpPr>
            <p:spPr bwMode="auto">
              <a:xfrm>
                <a:off x="8920493" y="1758054"/>
                <a:ext cx="290833" cy="409290"/>
              </a:xfrm>
              <a:custGeom>
                <a:avLst/>
                <a:gdLst>
                  <a:gd name="T0" fmla="*/ 2147483646 w 151"/>
                  <a:gd name="T1" fmla="*/ 2147483646 h 212"/>
                  <a:gd name="T2" fmla="*/ 2147483646 w 151"/>
                  <a:gd name="T3" fmla="*/ 2147483646 h 212"/>
                  <a:gd name="T4" fmla="*/ 0 w 151"/>
                  <a:gd name="T5" fmla="*/ 2147483646 h 212"/>
                  <a:gd name="T6" fmla="*/ 0 w 151"/>
                  <a:gd name="T7" fmla="*/ 2147483646 h 212"/>
                  <a:gd name="T8" fmla="*/ 2147483646 w 151"/>
                  <a:gd name="T9" fmla="*/ 2147483646 h 212"/>
                  <a:gd name="T10" fmla="*/ 2147483646 w 151"/>
                  <a:gd name="T11" fmla="*/ 2147483646 h 212"/>
                  <a:gd name="T12" fmla="*/ 2147483646 w 151"/>
                  <a:gd name="T13" fmla="*/ 2147483646 h 212"/>
                  <a:gd name="T14" fmla="*/ 2147483646 w 151"/>
                  <a:gd name="T15" fmla="*/ 0 h 212"/>
                  <a:gd name="T16" fmla="*/ 2147483646 w 151"/>
                  <a:gd name="T17" fmla="*/ 0 h 212"/>
                  <a:gd name="T18" fmla="*/ 2147483646 w 151"/>
                  <a:gd name="T19" fmla="*/ 2147483646 h 212"/>
                  <a:gd name="T20" fmla="*/ 2147483646 w 151"/>
                  <a:gd name="T21" fmla="*/ 2147483646 h 212"/>
                  <a:gd name="T22" fmla="*/ 2147483646 w 151"/>
                  <a:gd name="T23" fmla="*/ 2147483646 h 212"/>
                  <a:gd name="T24" fmla="*/ 2147483646 w 151"/>
                  <a:gd name="T25" fmla="*/ 2147483646 h 212"/>
                  <a:gd name="T26" fmla="*/ 2147483646 w 151"/>
                  <a:gd name="T27" fmla="*/ 2147483646 h 212"/>
                  <a:gd name="T28" fmla="*/ 2147483646 w 151"/>
                  <a:gd name="T29" fmla="*/ 2147483646 h 2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1" h="212">
                    <a:moveTo>
                      <a:pt x="115" y="212"/>
                    </a:moveTo>
                    <a:cubicBezTo>
                      <a:pt x="6" y="212"/>
                      <a:pt x="6" y="212"/>
                      <a:pt x="6" y="212"/>
                    </a:cubicBezTo>
                    <a:cubicBezTo>
                      <a:pt x="3" y="212"/>
                      <a:pt x="0" y="210"/>
                      <a:pt x="0" y="207"/>
                    </a:cubicBezTo>
                    <a:cubicBezTo>
                      <a:pt x="0" y="24"/>
                      <a:pt x="0" y="24"/>
                      <a:pt x="0" y="24"/>
                    </a:cubicBezTo>
                    <a:cubicBezTo>
                      <a:pt x="0" y="22"/>
                      <a:pt x="3" y="19"/>
                      <a:pt x="6" y="19"/>
                    </a:cubicBezTo>
                    <a:cubicBezTo>
                      <a:pt x="40" y="19"/>
                      <a:pt x="40" y="19"/>
                      <a:pt x="40" y="19"/>
                    </a:cubicBezTo>
                    <a:cubicBezTo>
                      <a:pt x="40" y="6"/>
                      <a:pt x="40" y="6"/>
                      <a:pt x="40" y="6"/>
                    </a:cubicBezTo>
                    <a:cubicBezTo>
                      <a:pt x="40" y="2"/>
                      <a:pt x="43" y="0"/>
                      <a:pt x="46" y="0"/>
                    </a:cubicBezTo>
                    <a:cubicBezTo>
                      <a:pt x="106" y="0"/>
                      <a:pt x="106" y="0"/>
                      <a:pt x="106" y="0"/>
                    </a:cubicBezTo>
                    <a:cubicBezTo>
                      <a:pt x="109" y="0"/>
                      <a:pt x="112" y="2"/>
                      <a:pt x="112" y="6"/>
                    </a:cubicBezTo>
                    <a:cubicBezTo>
                      <a:pt x="112" y="19"/>
                      <a:pt x="112" y="19"/>
                      <a:pt x="112" y="19"/>
                    </a:cubicBezTo>
                    <a:cubicBezTo>
                      <a:pt x="146" y="19"/>
                      <a:pt x="146" y="19"/>
                      <a:pt x="146" y="19"/>
                    </a:cubicBezTo>
                    <a:cubicBezTo>
                      <a:pt x="149" y="19"/>
                      <a:pt x="151" y="22"/>
                      <a:pt x="151" y="24"/>
                    </a:cubicBezTo>
                    <a:cubicBezTo>
                      <a:pt x="151" y="172"/>
                      <a:pt x="151" y="172"/>
                      <a:pt x="151" y="172"/>
                    </a:cubicBezTo>
                    <a:lnTo>
                      <a:pt x="115" y="212"/>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50" name="Freeform 17"/>
              <p:cNvSpPr>
                <a:spLocks/>
              </p:cNvSpPr>
              <p:nvPr/>
            </p:nvSpPr>
            <p:spPr bwMode="auto">
              <a:xfrm>
                <a:off x="8983398" y="2030096"/>
                <a:ext cx="145417" cy="61272"/>
              </a:xfrm>
              <a:custGeom>
                <a:avLst/>
                <a:gdLst>
                  <a:gd name="T0" fmla="*/ 0 w 178"/>
                  <a:gd name="T1" fmla="*/ 2147483646 h 75"/>
                  <a:gd name="T2" fmla="*/ 2147483646 w 178"/>
                  <a:gd name="T3" fmla="*/ 2147483646 h 75"/>
                  <a:gd name="T4" fmla="*/ 2147483646 w 178"/>
                  <a:gd name="T5" fmla="*/ 0 h 75"/>
                  <a:gd name="T6" fmla="*/ 0 60000 65536"/>
                  <a:gd name="T7" fmla="*/ 0 60000 65536"/>
                  <a:gd name="T8" fmla="*/ 0 60000 65536"/>
                </a:gdLst>
                <a:ahLst/>
                <a:cxnLst>
                  <a:cxn ang="T6">
                    <a:pos x="T0" y="T1"/>
                  </a:cxn>
                  <a:cxn ang="T7">
                    <a:pos x="T2" y="T3"/>
                  </a:cxn>
                  <a:cxn ang="T8">
                    <a:pos x="T4" y="T5"/>
                  </a:cxn>
                </a:cxnLst>
                <a:rect l="0" t="0" r="r" b="b"/>
                <a:pathLst>
                  <a:path w="178" h="75">
                    <a:moveTo>
                      <a:pt x="0" y="14"/>
                    </a:moveTo>
                    <a:lnTo>
                      <a:pt x="36" y="75"/>
                    </a:lnTo>
                    <a:lnTo>
                      <a:pt x="178"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51" name="Line 18"/>
              <p:cNvSpPr>
                <a:spLocks noChangeShapeType="1"/>
              </p:cNvSpPr>
              <p:nvPr/>
            </p:nvSpPr>
            <p:spPr bwMode="auto">
              <a:xfrm>
                <a:off x="8970327" y="1844649"/>
                <a:ext cx="177277" cy="817"/>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52" name="Line 19"/>
              <p:cNvSpPr>
                <a:spLocks noChangeShapeType="1"/>
              </p:cNvSpPr>
              <p:nvPr/>
            </p:nvSpPr>
            <p:spPr bwMode="auto">
              <a:xfrm>
                <a:off x="8970327" y="1896934"/>
                <a:ext cx="177277" cy="817"/>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53" name="Line 20"/>
              <p:cNvSpPr>
                <a:spLocks noChangeShapeType="1"/>
              </p:cNvSpPr>
              <p:nvPr/>
            </p:nvSpPr>
            <p:spPr bwMode="auto">
              <a:xfrm>
                <a:off x="8970327" y="1952486"/>
                <a:ext cx="177277" cy="817"/>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54" name="Freeform 21"/>
              <p:cNvSpPr>
                <a:spLocks/>
              </p:cNvSpPr>
              <p:nvPr/>
            </p:nvSpPr>
            <p:spPr bwMode="auto">
              <a:xfrm>
                <a:off x="9138618" y="2082381"/>
                <a:ext cx="66990" cy="79244"/>
              </a:xfrm>
              <a:custGeom>
                <a:avLst/>
                <a:gdLst>
                  <a:gd name="T0" fmla="*/ 0 w 82"/>
                  <a:gd name="T1" fmla="*/ 2147483646 h 97"/>
                  <a:gd name="T2" fmla="*/ 0 w 82"/>
                  <a:gd name="T3" fmla="*/ 0 h 97"/>
                  <a:gd name="T4" fmla="*/ 2147483646 w 82"/>
                  <a:gd name="T5" fmla="*/ 0 h 97"/>
                  <a:gd name="T6" fmla="*/ 0 60000 65536"/>
                  <a:gd name="T7" fmla="*/ 0 60000 65536"/>
                  <a:gd name="T8" fmla="*/ 0 60000 65536"/>
                </a:gdLst>
                <a:ahLst/>
                <a:cxnLst>
                  <a:cxn ang="T6">
                    <a:pos x="T0" y="T1"/>
                  </a:cxn>
                  <a:cxn ang="T7">
                    <a:pos x="T2" y="T3"/>
                  </a:cxn>
                  <a:cxn ang="T8">
                    <a:pos x="T4" y="T5"/>
                  </a:cxn>
                </a:cxnLst>
                <a:rect l="0" t="0" r="r" b="b"/>
                <a:pathLst>
                  <a:path w="82" h="97">
                    <a:moveTo>
                      <a:pt x="0" y="97"/>
                    </a:moveTo>
                    <a:lnTo>
                      <a:pt x="0" y="0"/>
                    </a:lnTo>
                    <a:lnTo>
                      <a:pt x="82"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55" name="Line 22"/>
              <p:cNvSpPr>
                <a:spLocks noChangeShapeType="1"/>
              </p:cNvSpPr>
              <p:nvPr/>
            </p:nvSpPr>
            <p:spPr bwMode="auto">
              <a:xfrm>
                <a:off x="8997286" y="1794816"/>
                <a:ext cx="138881" cy="817"/>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32856" name="Freeform 23"/>
              <p:cNvSpPr>
                <a:spLocks/>
              </p:cNvSpPr>
              <p:nvPr/>
            </p:nvSpPr>
            <p:spPr bwMode="auto">
              <a:xfrm>
                <a:off x="8920493" y="1713121"/>
                <a:ext cx="333314" cy="370894"/>
              </a:xfrm>
              <a:custGeom>
                <a:avLst/>
                <a:gdLst>
                  <a:gd name="T0" fmla="*/ 0 w 408"/>
                  <a:gd name="T1" fmla="*/ 0 h 454"/>
                  <a:gd name="T2" fmla="*/ 2147483646 w 408"/>
                  <a:gd name="T3" fmla="*/ 0 h 454"/>
                  <a:gd name="T4" fmla="*/ 2147483646 w 408"/>
                  <a:gd name="T5" fmla="*/ 2147483646 h 454"/>
                  <a:gd name="T6" fmla="*/ 0 60000 65536"/>
                  <a:gd name="T7" fmla="*/ 0 60000 65536"/>
                  <a:gd name="T8" fmla="*/ 0 60000 65536"/>
                </a:gdLst>
                <a:ahLst/>
                <a:cxnLst>
                  <a:cxn ang="T6">
                    <a:pos x="T0" y="T1"/>
                  </a:cxn>
                  <a:cxn ang="T7">
                    <a:pos x="T2" y="T3"/>
                  </a:cxn>
                  <a:cxn ang="T8">
                    <a:pos x="T4" y="T5"/>
                  </a:cxn>
                </a:cxnLst>
                <a:rect l="0" t="0" r="r" b="b"/>
                <a:pathLst>
                  <a:path w="408" h="454">
                    <a:moveTo>
                      <a:pt x="0" y="0"/>
                    </a:moveTo>
                    <a:lnTo>
                      <a:pt x="408" y="0"/>
                    </a:lnTo>
                    <a:lnTo>
                      <a:pt x="408" y="454"/>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57" name="Freeform 24"/>
              <p:cNvSpPr>
                <a:spLocks/>
              </p:cNvSpPr>
              <p:nvPr/>
            </p:nvSpPr>
            <p:spPr bwMode="auto">
              <a:xfrm>
                <a:off x="8920493" y="1667372"/>
                <a:ext cx="379881" cy="370077"/>
              </a:xfrm>
              <a:custGeom>
                <a:avLst/>
                <a:gdLst>
                  <a:gd name="T0" fmla="*/ 0 w 465"/>
                  <a:gd name="T1" fmla="*/ 0 h 453"/>
                  <a:gd name="T2" fmla="*/ 2147483646 w 465"/>
                  <a:gd name="T3" fmla="*/ 0 h 453"/>
                  <a:gd name="T4" fmla="*/ 2147483646 w 465"/>
                  <a:gd name="T5" fmla="*/ 2147483646 h 453"/>
                  <a:gd name="T6" fmla="*/ 0 60000 65536"/>
                  <a:gd name="T7" fmla="*/ 0 60000 65536"/>
                  <a:gd name="T8" fmla="*/ 0 60000 65536"/>
                </a:gdLst>
                <a:ahLst/>
                <a:cxnLst>
                  <a:cxn ang="T6">
                    <a:pos x="T0" y="T1"/>
                  </a:cxn>
                  <a:cxn ang="T7">
                    <a:pos x="T2" y="T3"/>
                  </a:cxn>
                  <a:cxn ang="T8">
                    <a:pos x="T4" y="T5"/>
                  </a:cxn>
                </a:cxnLst>
                <a:rect l="0" t="0" r="r" b="b"/>
                <a:pathLst>
                  <a:path w="465" h="453">
                    <a:moveTo>
                      <a:pt x="0" y="0"/>
                    </a:moveTo>
                    <a:lnTo>
                      <a:pt x="465" y="0"/>
                    </a:lnTo>
                    <a:lnTo>
                      <a:pt x="465" y="453"/>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grpSp>
          <p:nvGrpSpPr>
            <p:cNvPr id="32824" name="Group 125"/>
            <p:cNvGrpSpPr>
              <a:grpSpLocks/>
            </p:cNvGrpSpPr>
            <p:nvPr/>
          </p:nvGrpSpPr>
          <p:grpSpPr bwMode="auto">
            <a:xfrm>
              <a:off x="226119" y="5026190"/>
              <a:ext cx="1050788" cy="524021"/>
              <a:chOff x="226119" y="4249000"/>
              <a:chExt cx="1050788" cy="801178"/>
            </a:xfrm>
          </p:grpSpPr>
          <p:sp>
            <p:nvSpPr>
              <p:cNvPr id="185" name="Content Placeholder 17"/>
              <p:cNvSpPr txBox="1">
                <a:spLocks/>
              </p:cNvSpPr>
              <p:nvPr/>
            </p:nvSpPr>
            <p:spPr>
              <a:xfrm>
                <a:off x="226119" y="4249000"/>
                <a:ext cx="1050788" cy="298102"/>
              </a:xfrm>
              <a:prstGeom prst="rect">
                <a:avLst/>
              </a:prstGeom>
            </p:spPr>
            <p:txBody>
              <a:bodyPr lIns="0" tIns="0" rIns="0" bIns="0">
                <a:spAutoFit/>
              </a:bodyPr>
              <a:lstStyle/>
              <a:p>
                <a:pPr algn="ctr" defTabSz="914342">
                  <a:buClr>
                    <a:srgbClr val="EC098D"/>
                  </a:buClr>
                  <a:defRPr/>
                </a:pPr>
                <a:r>
                  <a:rPr lang="en-GB" sz="1200" b="1">
                    <a:solidFill>
                      <a:srgbClr val="EC098D"/>
                    </a:solidFill>
                  </a:rPr>
                  <a:t>Employee</a:t>
                </a:r>
              </a:p>
            </p:txBody>
          </p:sp>
          <p:grpSp>
            <p:nvGrpSpPr>
              <p:cNvPr id="32844" name="Group 36"/>
              <p:cNvGrpSpPr>
                <a:grpSpLocks/>
              </p:cNvGrpSpPr>
              <p:nvPr/>
            </p:nvGrpSpPr>
            <p:grpSpPr bwMode="auto">
              <a:xfrm>
                <a:off x="552116" y="4583453"/>
                <a:ext cx="400050" cy="466725"/>
                <a:chOff x="345028" y="5391214"/>
                <a:chExt cx="400050" cy="466725"/>
              </a:xfrm>
            </p:grpSpPr>
            <p:sp>
              <p:nvSpPr>
                <p:cNvPr id="187" name="Oval 3415"/>
                <p:cNvSpPr>
                  <a:spLocks noChangeArrowheads="1"/>
                </p:cNvSpPr>
                <p:nvPr/>
              </p:nvSpPr>
              <p:spPr bwMode="auto">
                <a:xfrm>
                  <a:off x="461292" y="5382219"/>
                  <a:ext cx="162938" cy="197326"/>
                </a:xfrm>
                <a:prstGeom prst="ellipse">
                  <a:avLst/>
                </a:pr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188" name="Freeform 3416"/>
                <p:cNvSpPr>
                  <a:spLocks/>
                </p:cNvSpPr>
                <p:nvPr/>
              </p:nvSpPr>
              <p:spPr bwMode="auto">
                <a:xfrm>
                  <a:off x="344908" y="5579545"/>
                  <a:ext cx="394046" cy="279330"/>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189" name="Freeform 3417"/>
                <p:cNvSpPr>
                  <a:spLocks/>
                </p:cNvSpPr>
                <p:nvPr/>
              </p:nvSpPr>
              <p:spPr bwMode="auto">
                <a:xfrm>
                  <a:off x="624231" y="5705115"/>
                  <a:ext cx="29927" cy="153760"/>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a:lstStyle/>
                <a:p>
                  <a:pPr>
                    <a:defRPr/>
                  </a:pPr>
                  <a:endParaRPr lang="en-US">
                    <a:solidFill>
                      <a:srgbClr val="505150"/>
                    </a:solidFill>
                  </a:endParaRPr>
                </a:p>
              </p:txBody>
            </p:sp>
            <p:sp>
              <p:nvSpPr>
                <p:cNvPr id="190" name="Freeform 3418"/>
                <p:cNvSpPr>
                  <a:spLocks/>
                </p:cNvSpPr>
                <p:nvPr/>
              </p:nvSpPr>
              <p:spPr bwMode="auto">
                <a:xfrm>
                  <a:off x="429703" y="5705115"/>
                  <a:ext cx="31590" cy="153760"/>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a:lstStyle/>
                <a:p>
                  <a:pPr>
                    <a:defRPr/>
                  </a:pPr>
                  <a:endParaRPr lang="en-US">
                    <a:solidFill>
                      <a:srgbClr val="505150"/>
                    </a:solidFill>
                  </a:endParaRPr>
                </a:p>
              </p:txBody>
            </p:sp>
          </p:grpSp>
        </p:grpSp>
        <p:grpSp>
          <p:nvGrpSpPr>
            <p:cNvPr id="32825" name="Group 132"/>
            <p:cNvGrpSpPr>
              <a:grpSpLocks/>
            </p:cNvGrpSpPr>
            <p:nvPr/>
          </p:nvGrpSpPr>
          <p:grpSpPr bwMode="auto">
            <a:xfrm>
              <a:off x="226119" y="4038940"/>
              <a:ext cx="1050788" cy="731603"/>
              <a:chOff x="226119" y="2866075"/>
              <a:chExt cx="1050788" cy="1118551"/>
            </a:xfrm>
          </p:grpSpPr>
          <p:sp>
            <p:nvSpPr>
              <p:cNvPr id="174" name="Content Placeholder 17"/>
              <p:cNvSpPr txBox="1">
                <a:spLocks/>
              </p:cNvSpPr>
              <p:nvPr/>
            </p:nvSpPr>
            <p:spPr>
              <a:xfrm>
                <a:off x="226119" y="2866075"/>
                <a:ext cx="1050788" cy="596205"/>
              </a:xfrm>
              <a:prstGeom prst="rect">
                <a:avLst/>
              </a:prstGeom>
            </p:spPr>
            <p:txBody>
              <a:bodyPr lIns="0" tIns="0" rIns="0" bIns="0">
                <a:spAutoFit/>
              </a:bodyPr>
              <a:lstStyle/>
              <a:p>
                <a:pPr algn="ctr" defTabSz="914342">
                  <a:buClr>
                    <a:srgbClr val="EC098D"/>
                  </a:buClr>
                  <a:defRPr/>
                </a:pPr>
                <a:r>
                  <a:rPr lang="en-GB" sz="1200" b="1">
                    <a:solidFill>
                      <a:srgbClr val="F26531"/>
                    </a:solidFill>
                  </a:rPr>
                  <a:t>Performance Reviewer</a:t>
                </a:r>
              </a:p>
            </p:txBody>
          </p:sp>
          <p:grpSp>
            <p:nvGrpSpPr>
              <p:cNvPr id="32833" name="Group 152"/>
              <p:cNvGrpSpPr>
                <a:grpSpLocks/>
              </p:cNvGrpSpPr>
              <p:nvPr/>
            </p:nvGrpSpPr>
            <p:grpSpPr bwMode="auto">
              <a:xfrm>
                <a:off x="512429" y="3378852"/>
                <a:ext cx="479424" cy="605774"/>
                <a:chOff x="2254251" y="3027365"/>
                <a:chExt cx="644525" cy="814386"/>
              </a:xfrm>
            </p:grpSpPr>
            <p:sp>
              <p:nvSpPr>
                <p:cNvPr id="176" name="Freeform 29"/>
                <p:cNvSpPr>
                  <a:spLocks noEditPoints="1"/>
                </p:cNvSpPr>
                <p:nvPr/>
              </p:nvSpPr>
              <p:spPr bwMode="auto">
                <a:xfrm>
                  <a:off x="2430381" y="3027037"/>
                  <a:ext cx="460452" cy="627023"/>
                </a:xfrm>
                <a:custGeom>
                  <a:avLst/>
                  <a:gdLst/>
                  <a:ahLst/>
                  <a:cxnLst>
                    <a:cxn ang="0">
                      <a:pos x="0" y="95"/>
                    </a:cxn>
                    <a:cxn ang="0">
                      <a:pos x="6" y="84"/>
                    </a:cxn>
                    <a:cxn ang="0">
                      <a:pos x="37" y="72"/>
                    </a:cxn>
                    <a:cxn ang="0">
                      <a:pos x="50" y="118"/>
                    </a:cxn>
                    <a:cxn ang="0">
                      <a:pos x="53" y="88"/>
                    </a:cxn>
                    <a:cxn ang="0">
                      <a:pos x="57" y="85"/>
                    </a:cxn>
                    <a:cxn ang="0">
                      <a:pos x="61" y="88"/>
                    </a:cxn>
                    <a:cxn ang="0">
                      <a:pos x="64" y="118"/>
                    </a:cxn>
                    <a:cxn ang="0">
                      <a:pos x="78" y="72"/>
                    </a:cxn>
                    <a:cxn ang="0">
                      <a:pos x="108" y="84"/>
                    </a:cxn>
                    <a:cxn ang="0">
                      <a:pos x="115" y="96"/>
                    </a:cxn>
                    <a:cxn ang="0">
                      <a:pos x="125" y="167"/>
                    </a:cxn>
                    <a:cxn ang="0">
                      <a:pos x="60" y="167"/>
                    </a:cxn>
                    <a:cxn ang="0">
                      <a:pos x="57" y="0"/>
                    </a:cxn>
                    <a:cxn ang="0">
                      <a:pos x="83" y="25"/>
                    </a:cxn>
                    <a:cxn ang="0">
                      <a:pos x="57" y="65"/>
                    </a:cxn>
                    <a:cxn ang="0">
                      <a:pos x="31" y="25"/>
                    </a:cxn>
                    <a:cxn ang="0">
                      <a:pos x="57" y="0"/>
                    </a:cxn>
                  </a:cxnLst>
                  <a:rect l="0" t="0" r="r" b="b"/>
                  <a:pathLst>
                    <a:path w="125" h="167">
                      <a:moveTo>
                        <a:pt x="0" y="95"/>
                      </a:moveTo>
                      <a:cubicBezTo>
                        <a:pt x="1" y="91"/>
                        <a:pt x="3" y="87"/>
                        <a:pt x="6" y="84"/>
                      </a:cubicBezTo>
                      <a:cubicBezTo>
                        <a:pt x="7" y="83"/>
                        <a:pt x="34" y="73"/>
                        <a:pt x="37" y="72"/>
                      </a:cubicBezTo>
                      <a:cubicBezTo>
                        <a:pt x="40" y="83"/>
                        <a:pt x="45" y="108"/>
                        <a:pt x="50" y="118"/>
                      </a:cubicBezTo>
                      <a:cubicBezTo>
                        <a:pt x="51" y="114"/>
                        <a:pt x="53" y="93"/>
                        <a:pt x="53" y="88"/>
                      </a:cubicBezTo>
                      <a:cubicBezTo>
                        <a:pt x="54" y="87"/>
                        <a:pt x="56" y="86"/>
                        <a:pt x="57" y="85"/>
                      </a:cubicBezTo>
                      <a:cubicBezTo>
                        <a:pt x="59" y="86"/>
                        <a:pt x="60" y="87"/>
                        <a:pt x="61" y="88"/>
                      </a:cubicBezTo>
                      <a:cubicBezTo>
                        <a:pt x="62" y="93"/>
                        <a:pt x="64" y="114"/>
                        <a:pt x="64" y="118"/>
                      </a:cubicBezTo>
                      <a:cubicBezTo>
                        <a:pt x="69" y="108"/>
                        <a:pt x="75" y="83"/>
                        <a:pt x="78" y="72"/>
                      </a:cubicBezTo>
                      <a:cubicBezTo>
                        <a:pt x="81" y="73"/>
                        <a:pt x="107" y="83"/>
                        <a:pt x="108" y="84"/>
                      </a:cubicBezTo>
                      <a:cubicBezTo>
                        <a:pt x="112" y="88"/>
                        <a:pt x="114" y="92"/>
                        <a:pt x="115" y="96"/>
                      </a:cubicBezTo>
                      <a:cubicBezTo>
                        <a:pt x="125" y="167"/>
                        <a:pt x="125" y="167"/>
                        <a:pt x="125" y="167"/>
                      </a:cubicBezTo>
                      <a:cubicBezTo>
                        <a:pt x="60" y="167"/>
                        <a:pt x="60" y="167"/>
                        <a:pt x="60" y="167"/>
                      </a:cubicBezTo>
                      <a:moveTo>
                        <a:pt x="57" y="0"/>
                      </a:moveTo>
                      <a:cubicBezTo>
                        <a:pt x="73" y="0"/>
                        <a:pt x="83" y="12"/>
                        <a:pt x="83" y="25"/>
                      </a:cubicBezTo>
                      <a:cubicBezTo>
                        <a:pt x="83" y="38"/>
                        <a:pt x="73" y="65"/>
                        <a:pt x="57" y="65"/>
                      </a:cubicBezTo>
                      <a:cubicBezTo>
                        <a:pt x="41" y="65"/>
                        <a:pt x="31" y="38"/>
                        <a:pt x="31" y="25"/>
                      </a:cubicBezTo>
                      <a:cubicBezTo>
                        <a:pt x="31" y="12"/>
                        <a:pt x="41" y="0"/>
                        <a:pt x="57" y="0"/>
                      </a:cubicBezTo>
                      <a:close/>
                    </a:path>
                  </a:pathLst>
                </a:cu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77" name="Line 30"/>
                <p:cNvSpPr>
                  <a:spLocks noChangeShapeType="1"/>
                </p:cNvSpPr>
                <p:nvPr/>
              </p:nvSpPr>
              <p:spPr bwMode="auto">
                <a:xfrm>
                  <a:off x="2589080" y="3543814"/>
                  <a:ext cx="2236" cy="0"/>
                </a:xfrm>
                <a:prstGeom prst="line">
                  <a:avLst/>
                </a:pr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78" name="Freeform 31"/>
                <p:cNvSpPr>
                  <a:spLocks/>
                </p:cNvSpPr>
                <p:nvPr/>
              </p:nvSpPr>
              <p:spPr bwMode="auto">
                <a:xfrm>
                  <a:off x="2253799" y="3543814"/>
                  <a:ext cx="335281" cy="296285"/>
                </a:xfrm>
                <a:custGeom>
                  <a:avLst/>
                  <a:gdLst/>
                  <a:ahLst/>
                  <a:cxnLst>
                    <a:cxn ang="0">
                      <a:pos x="0" y="135"/>
                    </a:cxn>
                    <a:cxn ang="0">
                      <a:pos x="0" y="187"/>
                    </a:cxn>
                    <a:cxn ang="0">
                      <a:pos x="212" y="187"/>
                    </a:cxn>
                    <a:cxn ang="0">
                      <a:pos x="212" y="0"/>
                    </a:cxn>
                  </a:cxnLst>
                  <a:rect l="0" t="0" r="r" b="b"/>
                  <a:pathLst>
                    <a:path w="212" h="187">
                      <a:moveTo>
                        <a:pt x="0" y="135"/>
                      </a:moveTo>
                      <a:lnTo>
                        <a:pt x="0" y="187"/>
                      </a:lnTo>
                      <a:lnTo>
                        <a:pt x="212" y="187"/>
                      </a:lnTo>
                      <a:lnTo>
                        <a:pt x="212" y="0"/>
                      </a:lnTo>
                    </a:path>
                  </a:pathLst>
                </a:cu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79" name="Freeform 32"/>
                <p:cNvSpPr>
                  <a:spLocks/>
                </p:cNvSpPr>
                <p:nvPr/>
              </p:nvSpPr>
              <p:spPr bwMode="auto">
                <a:xfrm>
                  <a:off x="2253799" y="3419788"/>
                  <a:ext cx="335281" cy="210157"/>
                </a:xfrm>
                <a:custGeom>
                  <a:avLst/>
                  <a:gdLst/>
                  <a:ahLst/>
                  <a:cxnLst>
                    <a:cxn ang="0">
                      <a:pos x="165" y="0"/>
                    </a:cxn>
                    <a:cxn ang="0">
                      <a:pos x="165" y="74"/>
                    </a:cxn>
                    <a:cxn ang="0">
                      <a:pos x="212" y="78"/>
                    </a:cxn>
                    <a:cxn ang="0">
                      <a:pos x="165" y="0"/>
                    </a:cxn>
                    <a:cxn ang="0">
                      <a:pos x="0" y="0"/>
                    </a:cxn>
                    <a:cxn ang="0">
                      <a:pos x="0" y="133"/>
                    </a:cxn>
                  </a:cxnLst>
                  <a:rect l="0" t="0" r="r" b="b"/>
                  <a:pathLst>
                    <a:path w="212" h="133">
                      <a:moveTo>
                        <a:pt x="165" y="0"/>
                      </a:moveTo>
                      <a:lnTo>
                        <a:pt x="165" y="74"/>
                      </a:lnTo>
                      <a:lnTo>
                        <a:pt x="212" y="78"/>
                      </a:lnTo>
                      <a:lnTo>
                        <a:pt x="165" y="0"/>
                      </a:lnTo>
                      <a:lnTo>
                        <a:pt x="0" y="0"/>
                      </a:lnTo>
                      <a:lnTo>
                        <a:pt x="0" y="133"/>
                      </a:lnTo>
                    </a:path>
                  </a:pathLst>
                </a:cu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80" name="Freeform 33"/>
                <p:cNvSpPr>
                  <a:spLocks/>
                </p:cNvSpPr>
                <p:nvPr/>
              </p:nvSpPr>
              <p:spPr bwMode="auto">
                <a:xfrm>
                  <a:off x="2253799" y="3550704"/>
                  <a:ext cx="333046" cy="65459"/>
                </a:xfrm>
                <a:custGeom>
                  <a:avLst/>
                  <a:gdLst/>
                  <a:ahLst/>
                  <a:cxnLst>
                    <a:cxn ang="0">
                      <a:pos x="0" y="7"/>
                    </a:cxn>
                    <a:cxn ang="0">
                      <a:pos x="15" y="7"/>
                    </a:cxn>
                    <a:cxn ang="0">
                      <a:pos x="24" y="17"/>
                    </a:cxn>
                    <a:cxn ang="0">
                      <a:pos x="32" y="7"/>
                    </a:cxn>
                    <a:cxn ang="0">
                      <a:pos x="82" y="7"/>
                    </a:cxn>
                    <a:cxn ang="0">
                      <a:pos x="89" y="0"/>
                    </a:cxn>
                  </a:cxnLst>
                  <a:rect l="0" t="0" r="r" b="b"/>
                  <a:pathLst>
                    <a:path w="89" h="17">
                      <a:moveTo>
                        <a:pt x="0" y="7"/>
                      </a:moveTo>
                      <a:cubicBezTo>
                        <a:pt x="15" y="7"/>
                        <a:pt x="15" y="7"/>
                        <a:pt x="15" y="7"/>
                      </a:cubicBezTo>
                      <a:cubicBezTo>
                        <a:pt x="15" y="7"/>
                        <a:pt x="23" y="7"/>
                        <a:pt x="24" y="17"/>
                      </a:cubicBezTo>
                      <a:cubicBezTo>
                        <a:pt x="24" y="17"/>
                        <a:pt x="26" y="7"/>
                        <a:pt x="32" y="7"/>
                      </a:cubicBezTo>
                      <a:cubicBezTo>
                        <a:pt x="38" y="7"/>
                        <a:pt x="82" y="7"/>
                        <a:pt x="82" y="7"/>
                      </a:cubicBezTo>
                      <a:cubicBezTo>
                        <a:pt x="82" y="7"/>
                        <a:pt x="89" y="6"/>
                        <a:pt x="89" y="0"/>
                      </a:cubicBezTo>
                    </a:path>
                  </a:pathLst>
                </a:cu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81" name="Line 34"/>
                <p:cNvSpPr>
                  <a:spLocks noChangeShapeType="1"/>
                </p:cNvSpPr>
                <p:nvPr/>
              </p:nvSpPr>
              <p:spPr bwMode="auto">
                <a:xfrm>
                  <a:off x="2354384" y="3640279"/>
                  <a:ext cx="194462" cy="3446"/>
                </a:xfrm>
                <a:prstGeom prst="line">
                  <a:avLst/>
                </a:pr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82" name="Line 35"/>
                <p:cNvSpPr>
                  <a:spLocks noChangeShapeType="1"/>
                </p:cNvSpPr>
                <p:nvPr/>
              </p:nvSpPr>
              <p:spPr bwMode="auto">
                <a:xfrm>
                  <a:off x="2354384" y="3688512"/>
                  <a:ext cx="194462" cy="3446"/>
                </a:xfrm>
                <a:prstGeom prst="line">
                  <a:avLst/>
                </a:pr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83" name="Line 36"/>
                <p:cNvSpPr>
                  <a:spLocks noChangeShapeType="1"/>
                </p:cNvSpPr>
                <p:nvPr/>
              </p:nvSpPr>
              <p:spPr bwMode="auto">
                <a:xfrm>
                  <a:off x="2354384" y="3740190"/>
                  <a:ext cx="194462" cy="0"/>
                </a:xfrm>
                <a:prstGeom prst="line">
                  <a:avLst/>
                </a:pr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sp>
              <p:nvSpPr>
                <p:cNvPr id="184" name="Line 37"/>
                <p:cNvSpPr>
                  <a:spLocks noChangeShapeType="1"/>
                </p:cNvSpPr>
                <p:nvPr/>
              </p:nvSpPr>
              <p:spPr bwMode="auto">
                <a:xfrm>
                  <a:off x="2354384" y="3788423"/>
                  <a:ext cx="194462" cy="0"/>
                </a:xfrm>
                <a:prstGeom prst="line">
                  <a:avLst/>
                </a:prstGeom>
                <a:noFill/>
                <a:ln w="12700" cap="rnd">
                  <a:solidFill>
                    <a:schemeClr val="accent4">
                      <a:lumMod val="75000"/>
                    </a:schemeClr>
                  </a:solidFill>
                  <a:prstDash val="solid"/>
                  <a:round/>
                  <a:headEnd/>
                  <a:tailEnd/>
                </a:ln>
              </p:spPr>
              <p:txBody>
                <a:bodyPr/>
                <a:lstStyle/>
                <a:p>
                  <a:pPr>
                    <a:defRPr/>
                  </a:pPr>
                  <a:endParaRPr lang="en-US">
                    <a:solidFill>
                      <a:srgbClr val="505150"/>
                    </a:solidFill>
                  </a:endParaRPr>
                </a:p>
              </p:txBody>
            </p:sp>
          </p:grpSp>
        </p:grpSp>
        <p:grpSp>
          <p:nvGrpSpPr>
            <p:cNvPr id="32826" name="Group 162"/>
            <p:cNvGrpSpPr>
              <a:grpSpLocks/>
            </p:cNvGrpSpPr>
            <p:nvPr/>
          </p:nvGrpSpPr>
          <p:grpSpPr bwMode="auto">
            <a:xfrm>
              <a:off x="226119" y="5726820"/>
              <a:ext cx="1050788" cy="529662"/>
              <a:chOff x="226119" y="5446680"/>
              <a:chExt cx="1050788" cy="809802"/>
            </a:xfrm>
          </p:grpSpPr>
          <p:sp>
            <p:nvSpPr>
              <p:cNvPr id="169" name="Content Placeholder 17"/>
              <p:cNvSpPr txBox="1">
                <a:spLocks/>
              </p:cNvSpPr>
              <p:nvPr/>
            </p:nvSpPr>
            <p:spPr>
              <a:xfrm>
                <a:off x="226119" y="5446680"/>
                <a:ext cx="1050788" cy="298102"/>
              </a:xfrm>
              <a:prstGeom prst="rect">
                <a:avLst/>
              </a:prstGeom>
            </p:spPr>
            <p:txBody>
              <a:bodyPr lIns="0" tIns="0" rIns="0" bIns="0">
                <a:spAutoFit/>
              </a:bodyPr>
              <a:lstStyle/>
              <a:p>
                <a:pPr algn="ctr" defTabSz="914342">
                  <a:buClr>
                    <a:srgbClr val="EC098D"/>
                  </a:buClr>
                  <a:defRPr/>
                </a:pPr>
                <a:r>
                  <a:rPr lang="en-GB" sz="1200" b="1">
                    <a:solidFill>
                      <a:srgbClr val="00BDF2"/>
                    </a:solidFill>
                  </a:rPr>
                  <a:t>HR</a:t>
                </a:r>
              </a:p>
            </p:txBody>
          </p:sp>
          <p:grpSp>
            <p:nvGrpSpPr>
              <p:cNvPr id="32828" name="Group 145"/>
              <p:cNvGrpSpPr>
                <a:grpSpLocks/>
              </p:cNvGrpSpPr>
              <p:nvPr/>
            </p:nvGrpSpPr>
            <p:grpSpPr bwMode="auto">
              <a:xfrm>
                <a:off x="498442" y="5656334"/>
                <a:ext cx="507398" cy="600148"/>
                <a:chOff x="1966913" y="4149725"/>
                <a:chExt cx="738188" cy="873125"/>
              </a:xfrm>
            </p:grpSpPr>
            <p:sp>
              <p:nvSpPr>
                <p:cNvPr id="32829" name="Freeform 42"/>
                <p:cNvSpPr>
                  <a:spLocks noEditPoints="1"/>
                </p:cNvSpPr>
                <p:nvPr/>
              </p:nvSpPr>
              <p:spPr bwMode="auto">
                <a:xfrm>
                  <a:off x="2173288" y="4149725"/>
                  <a:ext cx="292100" cy="873125"/>
                </a:xfrm>
                <a:custGeom>
                  <a:avLst/>
                  <a:gdLst>
                    <a:gd name="T0" fmla="*/ 2147483646 w 78"/>
                    <a:gd name="T1" fmla="*/ 2147483646 h 233"/>
                    <a:gd name="T2" fmla="*/ 2147483646 w 78"/>
                    <a:gd name="T3" fmla="*/ 2147483646 h 233"/>
                    <a:gd name="T4" fmla="*/ 2147483646 w 78"/>
                    <a:gd name="T5" fmla="*/ 2147483646 h 233"/>
                    <a:gd name="T6" fmla="*/ 2147483646 w 78"/>
                    <a:gd name="T7" fmla="*/ 2147483646 h 233"/>
                    <a:gd name="T8" fmla="*/ 2147483646 w 78"/>
                    <a:gd name="T9" fmla="*/ 2147483646 h 233"/>
                    <a:gd name="T10" fmla="*/ 2147483646 w 78"/>
                    <a:gd name="T11" fmla="*/ 2147483646 h 233"/>
                    <a:gd name="T12" fmla="*/ 2147483646 w 78"/>
                    <a:gd name="T13" fmla="*/ 2147483646 h 233"/>
                    <a:gd name="T14" fmla="*/ 2147483646 w 78"/>
                    <a:gd name="T15" fmla="*/ 2147483646 h 233"/>
                    <a:gd name="T16" fmla="*/ 2147483646 w 78"/>
                    <a:gd name="T17" fmla="*/ 2147483646 h 233"/>
                    <a:gd name="T18" fmla="*/ 2147483646 w 78"/>
                    <a:gd name="T19" fmla="*/ 2147483646 h 233"/>
                    <a:gd name="T20" fmla="*/ 2147483646 w 78"/>
                    <a:gd name="T21" fmla="*/ 2147483646 h 233"/>
                    <a:gd name="T22" fmla="*/ 2147483646 w 78"/>
                    <a:gd name="T23" fmla="*/ 2147483646 h 233"/>
                    <a:gd name="T24" fmla="*/ 2147483646 w 78"/>
                    <a:gd name="T25" fmla="*/ 2147483646 h 233"/>
                    <a:gd name="T26" fmla="*/ 2147483646 w 78"/>
                    <a:gd name="T27" fmla="*/ 2147483646 h 233"/>
                    <a:gd name="T28" fmla="*/ 2147483646 w 78"/>
                    <a:gd name="T29" fmla="*/ 2147483646 h 233"/>
                    <a:gd name="T30" fmla="*/ 2147483646 w 78"/>
                    <a:gd name="T31" fmla="*/ 2147483646 h 233"/>
                    <a:gd name="T32" fmla="*/ 2147483646 w 78"/>
                    <a:gd name="T33" fmla="*/ 2147483646 h 233"/>
                    <a:gd name="T34" fmla="*/ 2147483646 w 78"/>
                    <a:gd name="T35" fmla="*/ 2147483646 h 233"/>
                    <a:gd name="T36" fmla="*/ 2147483646 w 78"/>
                    <a:gd name="T37" fmla="*/ 2147483646 h 233"/>
                    <a:gd name="T38" fmla="*/ 2147483646 w 78"/>
                    <a:gd name="T39" fmla="*/ 2147483646 h 233"/>
                    <a:gd name="T40" fmla="*/ 2147483646 w 78"/>
                    <a:gd name="T41" fmla="*/ 2147483646 h 233"/>
                    <a:gd name="T42" fmla="*/ 2147483646 w 78"/>
                    <a:gd name="T43" fmla="*/ 0 h 233"/>
                    <a:gd name="T44" fmla="*/ 2147483646 w 78"/>
                    <a:gd name="T45" fmla="*/ 2147483646 h 233"/>
                    <a:gd name="T46" fmla="*/ 2147483646 w 78"/>
                    <a:gd name="T47" fmla="*/ 2147483646 h 233"/>
                    <a:gd name="T48" fmla="*/ 2147483646 w 78"/>
                    <a:gd name="T49" fmla="*/ 2147483646 h 233"/>
                    <a:gd name="T50" fmla="*/ 2147483646 w 78"/>
                    <a:gd name="T51" fmla="*/ 0 h 2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8" h="233">
                      <a:moveTo>
                        <a:pt x="77" y="69"/>
                      </a:moveTo>
                      <a:cubicBezTo>
                        <a:pt x="78" y="78"/>
                        <a:pt x="74" y="128"/>
                        <a:pt x="73" y="138"/>
                      </a:cubicBezTo>
                      <a:cubicBezTo>
                        <a:pt x="66" y="138"/>
                        <a:pt x="66" y="138"/>
                        <a:pt x="66" y="138"/>
                      </a:cubicBezTo>
                      <a:cubicBezTo>
                        <a:pt x="57" y="233"/>
                        <a:pt x="57" y="233"/>
                        <a:pt x="57" y="233"/>
                      </a:cubicBezTo>
                      <a:cubicBezTo>
                        <a:pt x="46" y="233"/>
                        <a:pt x="46" y="233"/>
                        <a:pt x="46" y="233"/>
                      </a:cubicBezTo>
                      <a:cubicBezTo>
                        <a:pt x="39" y="142"/>
                        <a:pt x="39" y="142"/>
                        <a:pt x="39" y="142"/>
                      </a:cubicBezTo>
                      <a:cubicBezTo>
                        <a:pt x="32" y="233"/>
                        <a:pt x="32" y="233"/>
                        <a:pt x="32" y="233"/>
                      </a:cubicBezTo>
                      <a:cubicBezTo>
                        <a:pt x="21" y="233"/>
                        <a:pt x="21" y="233"/>
                        <a:pt x="21" y="233"/>
                      </a:cubicBezTo>
                      <a:cubicBezTo>
                        <a:pt x="14" y="138"/>
                        <a:pt x="14" y="138"/>
                        <a:pt x="14" y="138"/>
                      </a:cubicBezTo>
                      <a:cubicBezTo>
                        <a:pt x="5" y="138"/>
                        <a:pt x="5" y="138"/>
                        <a:pt x="5" y="138"/>
                      </a:cubicBezTo>
                      <a:cubicBezTo>
                        <a:pt x="4" y="123"/>
                        <a:pt x="0" y="69"/>
                        <a:pt x="2" y="54"/>
                      </a:cubicBezTo>
                      <a:cubicBezTo>
                        <a:pt x="2" y="52"/>
                        <a:pt x="5" y="49"/>
                        <a:pt x="6" y="48"/>
                      </a:cubicBezTo>
                      <a:cubicBezTo>
                        <a:pt x="7" y="47"/>
                        <a:pt x="25" y="42"/>
                        <a:pt x="27" y="41"/>
                      </a:cubicBezTo>
                      <a:cubicBezTo>
                        <a:pt x="28" y="47"/>
                        <a:pt x="31" y="62"/>
                        <a:pt x="34" y="67"/>
                      </a:cubicBezTo>
                      <a:cubicBezTo>
                        <a:pt x="34" y="65"/>
                        <a:pt x="36" y="53"/>
                        <a:pt x="36" y="50"/>
                      </a:cubicBezTo>
                      <a:cubicBezTo>
                        <a:pt x="37" y="50"/>
                        <a:pt x="37" y="49"/>
                        <a:pt x="38" y="49"/>
                      </a:cubicBezTo>
                      <a:cubicBezTo>
                        <a:pt x="39" y="49"/>
                        <a:pt x="40" y="50"/>
                        <a:pt x="41" y="50"/>
                      </a:cubicBezTo>
                      <a:cubicBezTo>
                        <a:pt x="41" y="53"/>
                        <a:pt x="42" y="65"/>
                        <a:pt x="42" y="67"/>
                      </a:cubicBezTo>
                      <a:cubicBezTo>
                        <a:pt x="45" y="62"/>
                        <a:pt x="48" y="47"/>
                        <a:pt x="50" y="41"/>
                      </a:cubicBezTo>
                      <a:cubicBezTo>
                        <a:pt x="52" y="42"/>
                        <a:pt x="72" y="48"/>
                        <a:pt x="73" y="48"/>
                      </a:cubicBezTo>
                      <a:cubicBezTo>
                        <a:pt x="74" y="49"/>
                        <a:pt x="75" y="52"/>
                        <a:pt x="75" y="54"/>
                      </a:cubicBezTo>
                      <a:moveTo>
                        <a:pt x="38" y="0"/>
                      </a:moveTo>
                      <a:cubicBezTo>
                        <a:pt x="47" y="0"/>
                        <a:pt x="53" y="7"/>
                        <a:pt x="53" y="14"/>
                      </a:cubicBezTo>
                      <a:cubicBezTo>
                        <a:pt x="53" y="22"/>
                        <a:pt x="47" y="37"/>
                        <a:pt x="38" y="37"/>
                      </a:cubicBezTo>
                      <a:cubicBezTo>
                        <a:pt x="29" y="37"/>
                        <a:pt x="23" y="22"/>
                        <a:pt x="23" y="14"/>
                      </a:cubicBezTo>
                      <a:cubicBezTo>
                        <a:pt x="23" y="7"/>
                        <a:pt x="29" y="0"/>
                        <a:pt x="38" y="0"/>
                      </a:cubicBezTo>
                      <a:close/>
                    </a:path>
                  </a:pathLst>
                </a:custGeom>
                <a:noFill/>
                <a:ln w="1270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30" name="Freeform 43"/>
                <p:cNvSpPr>
                  <a:spLocks noEditPoints="1"/>
                </p:cNvSpPr>
                <p:nvPr/>
              </p:nvSpPr>
              <p:spPr bwMode="auto">
                <a:xfrm>
                  <a:off x="1966913" y="4224338"/>
                  <a:ext cx="198438" cy="708025"/>
                </a:xfrm>
                <a:custGeom>
                  <a:avLst/>
                  <a:gdLst>
                    <a:gd name="T0" fmla="*/ 2147483646 w 53"/>
                    <a:gd name="T1" fmla="*/ 2147483646 h 189"/>
                    <a:gd name="T2" fmla="*/ 2147483646 w 53"/>
                    <a:gd name="T3" fmla="*/ 2147483646 h 189"/>
                    <a:gd name="T4" fmla="*/ 2147483646 w 53"/>
                    <a:gd name="T5" fmla="*/ 2147483646 h 189"/>
                    <a:gd name="T6" fmla="*/ 2147483646 w 53"/>
                    <a:gd name="T7" fmla="*/ 2147483646 h 189"/>
                    <a:gd name="T8" fmla="*/ 2147483646 w 53"/>
                    <a:gd name="T9" fmla="*/ 2147483646 h 189"/>
                    <a:gd name="T10" fmla="*/ 2147483646 w 53"/>
                    <a:gd name="T11" fmla="*/ 2147483646 h 189"/>
                    <a:gd name="T12" fmla="*/ 2147483646 w 53"/>
                    <a:gd name="T13" fmla="*/ 2147483646 h 189"/>
                    <a:gd name="T14" fmla="*/ 2147483646 w 53"/>
                    <a:gd name="T15" fmla="*/ 2147483646 h 189"/>
                    <a:gd name="T16" fmla="*/ 2147483646 w 53"/>
                    <a:gd name="T17" fmla="*/ 2147483646 h 189"/>
                    <a:gd name="T18" fmla="*/ 2147483646 w 53"/>
                    <a:gd name="T19" fmla="*/ 2147483646 h 189"/>
                    <a:gd name="T20" fmla="*/ 2147483646 w 53"/>
                    <a:gd name="T21" fmla="*/ 2147483646 h 189"/>
                    <a:gd name="T22" fmla="*/ 2147483646 w 53"/>
                    <a:gd name="T23" fmla="*/ 2147483646 h 189"/>
                    <a:gd name="T24" fmla="*/ 2147483646 w 53"/>
                    <a:gd name="T25" fmla="*/ 2147483646 h 189"/>
                    <a:gd name="T26" fmla="*/ 2147483646 w 53"/>
                    <a:gd name="T27" fmla="*/ 2147483646 h 189"/>
                    <a:gd name="T28" fmla="*/ 2147483646 w 53"/>
                    <a:gd name="T29" fmla="*/ 2147483646 h 189"/>
                    <a:gd name="T30" fmla="*/ 2147483646 w 53"/>
                    <a:gd name="T31" fmla="*/ 2147483646 h 189"/>
                    <a:gd name="T32" fmla="*/ 2147483646 w 53"/>
                    <a:gd name="T33" fmla="*/ 2147483646 h 189"/>
                    <a:gd name="T34" fmla="*/ 2147483646 w 53"/>
                    <a:gd name="T35" fmla="*/ 2147483646 h 189"/>
                    <a:gd name="T36" fmla="*/ 2147483646 w 53"/>
                    <a:gd name="T37" fmla="*/ 0 h 189"/>
                    <a:gd name="T38" fmla="*/ 2147483646 w 53"/>
                    <a:gd name="T39" fmla="*/ 2147483646 h 189"/>
                    <a:gd name="T40" fmla="*/ 2147483646 w 53"/>
                    <a:gd name="T41" fmla="*/ 2147483646 h 189"/>
                    <a:gd name="T42" fmla="*/ 2147483646 w 53"/>
                    <a:gd name="T43" fmla="*/ 2147483646 h 189"/>
                    <a:gd name="T44" fmla="*/ 2147483646 w 53"/>
                    <a:gd name="T45" fmla="*/ 0 h 1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3" h="189">
                      <a:moveTo>
                        <a:pt x="53" y="112"/>
                      </a:moveTo>
                      <a:cubicBezTo>
                        <a:pt x="46" y="189"/>
                        <a:pt x="46" y="189"/>
                        <a:pt x="46" y="189"/>
                      </a:cubicBezTo>
                      <a:cubicBezTo>
                        <a:pt x="37" y="189"/>
                        <a:pt x="37" y="189"/>
                        <a:pt x="37" y="189"/>
                      </a:cubicBezTo>
                      <a:cubicBezTo>
                        <a:pt x="32" y="115"/>
                        <a:pt x="32" y="115"/>
                        <a:pt x="32" y="115"/>
                      </a:cubicBezTo>
                      <a:cubicBezTo>
                        <a:pt x="26" y="189"/>
                        <a:pt x="26" y="189"/>
                        <a:pt x="26" y="189"/>
                      </a:cubicBezTo>
                      <a:cubicBezTo>
                        <a:pt x="17" y="189"/>
                        <a:pt x="17" y="189"/>
                        <a:pt x="17" y="189"/>
                      </a:cubicBezTo>
                      <a:cubicBezTo>
                        <a:pt x="12" y="112"/>
                        <a:pt x="12" y="112"/>
                        <a:pt x="12" y="112"/>
                      </a:cubicBezTo>
                      <a:cubicBezTo>
                        <a:pt x="4" y="112"/>
                        <a:pt x="4" y="112"/>
                        <a:pt x="4" y="112"/>
                      </a:cubicBezTo>
                      <a:cubicBezTo>
                        <a:pt x="3" y="99"/>
                        <a:pt x="0" y="57"/>
                        <a:pt x="1" y="44"/>
                      </a:cubicBezTo>
                      <a:cubicBezTo>
                        <a:pt x="1" y="42"/>
                        <a:pt x="4" y="40"/>
                        <a:pt x="5" y="39"/>
                      </a:cubicBezTo>
                      <a:cubicBezTo>
                        <a:pt x="6" y="39"/>
                        <a:pt x="20" y="34"/>
                        <a:pt x="21" y="34"/>
                      </a:cubicBezTo>
                      <a:cubicBezTo>
                        <a:pt x="23" y="39"/>
                        <a:pt x="25" y="50"/>
                        <a:pt x="28" y="55"/>
                      </a:cubicBezTo>
                      <a:cubicBezTo>
                        <a:pt x="28" y="53"/>
                        <a:pt x="29" y="43"/>
                        <a:pt x="29" y="41"/>
                      </a:cubicBezTo>
                      <a:cubicBezTo>
                        <a:pt x="29" y="41"/>
                        <a:pt x="30" y="40"/>
                        <a:pt x="31" y="40"/>
                      </a:cubicBezTo>
                      <a:cubicBezTo>
                        <a:pt x="31" y="40"/>
                        <a:pt x="32" y="41"/>
                        <a:pt x="33" y="41"/>
                      </a:cubicBezTo>
                      <a:cubicBezTo>
                        <a:pt x="33" y="43"/>
                        <a:pt x="34" y="53"/>
                        <a:pt x="34" y="55"/>
                      </a:cubicBezTo>
                      <a:cubicBezTo>
                        <a:pt x="36" y="50"/>
                        <a:pt x="39" y="39"/>
                        <a:pt x="40" y="34"/>
                      </a:cubicBezTo>
                      <a:cubicBezTo>
                        <a:pt x="41" y="34"/>
                        <a:pt x="44" y="35"/>
                        <a:pt x="48" y="36"/>
                      </a:cubicBezTo>
                      <a:moveTo>
                        <a:pt x="31" y="0"/>
                      </a:moveTo>
                      <a:cubicBezTo>
                        <a:pt x="38" y="0"/>
                        <a:pt x="43" y="6"/>
                        <a:pt x="43" y="12"/>
                      </a:cubicBezTo>
                      <a:cubicBezTo>
                        <a:pt x="43" y="18"/>
                        <a:pt x="38" y="30"/>
                        <a:pt x="31" y="30"/>
                      </a:cubicBezTo>
                      <a:cubicBezTo>
                        <a:pt x="23" y="30"/>
                        <a:pt x="19" y="18"/>
                        <a:pt x="19" y="12"/>
                      </a:cubicBezTo>
                      <a:cubicBezTo>
                        <a:pt x="19" y="6"/>
                        <a:pt x="23" y="0"/>
                        <a:pt x="31" y="0"/>
                      </a:cubicBezTo>
                      <a:close/>
                    </a:path>
                  </a:pathLst>
                </a:custGeom>
                <a:noFill/>
                <a:ln w="1270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831" name="Freeform 44"/>
                <p:cNvSpPr>
                  <a:spLocks noEditPoints="1"/>
                </p:cNvSpPr>
                <p:nvPr/>
              </p:nvSpPr>
              <p:spPr bwMode="auto">
                <a:xfrm>
                  <a:off x="2487613" y="4208463"/>
                  <a:ext cx="217488" cy="735013"/>
                </a:xfrm>
                <a:custGeom>
                  <a:avLst/>
                  <a:gdLst>
                    <a:gd name="T0" fmla="*/ 0 w 58"/>
                    <a:gd name="T1" fmla="*/ 2147483646 h 196"/>
                    <a:gd name="T2" fmla="*/ 2147483646 w 58"/>
                    <a:gd name="T3" fmla="*/ 2147483646 h 196"/>
                    <a:gd name="T4" fmla="*/ 2147483646 w 58"/>
                    <a:gd name="T5" fmla="*/ 2147483646 h 196"/>
                    <a:gd name="T6" fmla="*/ 2147483646 w 58"/>
                    <a:gd name="T7" fmla="*/ 2147483646 h 196"/>
                    <a:gd name="T8" fmla="*/ 2147483646 w 58"/>
                    <a:gd name="T9" fmla="*/ 2147483646 h 196"/>
                    <a:gd name="T10" fmla="*/ 2147483646 w 58"/>
                    <a:gd name="T11" fmla="*/ 2147483646 h 196"/>
                    <a:gd name="T12" fmla="*/ 2147483646 w 58"/>
                    <a:gd name="T13" fmla="*/ 2147483646 h 196"/>
                    <a:gd name="T14" fmla="*/ 2147483646 w 58"/>
                    <a:gd name="T15" fmla="*/ 2147483646 h 196"/>
                    <a:gd name="T16" fmla="*/ 2147483646 w 58"/>
                    <a:gd name="T17" fmla="*/ 2147483646 h 196"/>
                    <a:gd name="T18" fmla="*/ 2147483646 w 58"/>
                    <a:gd name="T19" fmla="*/ 2147483646 h 196"/>
                    <a:gd name="T20" fmla="*/ 2147483646 w 58"/>
                    <a:gd name="T21" fmla="*/ 2147483646 h 196"/>
                    <a:gd name="T22" fmla="*/ 2147483646 w 58"/>
                    <a:gd name="T23" fmla="*/ 2147483646 h 196"/>
                    <a:gd name="T24" fmla="*/ 2147483646 w 58"/>
                    <a:gd name="T25" fmla="*/ 2147483646 h 196"/>
                    <a:gd name="T26" fmla="*/ 2147483646 w 58"/>
                    <a:gd name="T27" fmla="*/ 2147483646 h 196"/>
                    <a:gd name="T28" fmla="*/ 2147483646 w 58"/>
                    <a:gd name="T29" fmla="*/ 2147483646 h 196"/>
                    <a:gd name="T30" fmla="*/ 2147483646 w 58"/>
                    <a:gd name="T31" fmla="*/ 2147483646 h 196"/>
                    <a:gd name="T32" fmla="*/ 2147483646 w 58"/>
                    <a:gd name="T33" fmla="*/ 2147483646 h 196"/>
                    <a:gd name="T34" fmla="*/ 2147483646 w 58"/>
                    <a:gd name="T35" fmla="*/ 2147483646 h 196"/>
                    <a:gd name="T36" fmla="*/ 2147483646 w 58"/>
                    <a:gd name="T37" fmla="*/ 2147483646 h 196"/>
                    <a:gd name="T38" fmla="*/ 0 w 58"/>
                    <a:gd name="T39" fmla="*/ 2147483646 h 196"/>
                    <a:gd name="T40" fmla="*/ 2147483646 w 58"/>
                    <a:gd name="T41" fmla="*/ 0 h 196"/>
                    <a:gd name="T42" fmla="*/ 2147483646 w 58"/>
                    <a:gd name="T43" fmla="*/ 2147483646 h 196"/>
                    <a:gd name="T44" fmla="*/ 2147483646 w 58"/>
                    <a:gd name="T45" fmla="*/ 2147483646 h 196"/>
                    <a:gd name="T46" fmla="*/ 2147483646 w 58"/>
                    <a:gd name="T47" fmla="*/ 2147483646 h 196"/>
                    <a:gd name="T48" fmla="*/ 2147483646 w 58"/>
                    <a:gd name="T49" fmla="*/ 0 h 1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8" h="196">
                      <a:moveTo>
                        <a:pt x="0" y="39"/>
                      </a:moveTo>
                      <a:cubicBezTo>
                        <a:pt x="0" y="39"/>
                        <a:pt x="13" y="35"/>
                        <a:pt x="15" y="34"/>
                      </a:cubicBezTo>
                      <a:cubicBezTo>
                        <a:pt x="16" y="40"/>
                        <a:pt x="19" y="52"/>
                        <a:pt x="21" y="56"/>
                      </a:cubicBezTo>
                      <a:cubicBezTo>
                        <a:pt x="21" y="54"/>
                        <a:pt x="22" y="44"/>
                        <a:pt x="22" y="42"/>
                      </a:cubicBezTo>
                      <a:cubicBezTo>
                        <a:pt x="23" y="42"/>
                        <a:pt x="24" y="41"/>
                        <a:pt x="24" y="41"/>
                      </a:cubicBezTo>
                      <a:cubicBezTo>
                        <a:pt x="25" y="41"/>
                        <a:pt x="26" y="42"/>
                        <a:pt x="26" y="42"/>
                      </a:cubicBezTo>
                      <a:cubicBezTo>
                        <a:pt x="26" y="44"/>
                        <a:pt x="27" y="54"/>
                        <a:pt x="27" y="56"/>
                      </a:cubicBezTo>
                      <a:cubicBezTo>
                        <a:pt x="30" y="52"/>
                        <a:pt x="33" y="40"/>
                        <a:pt x="34" y="34"/>
                      </a:cubicBezTo>
                      <a:cubicBezTo>
                        <a:pt x="36" y="35"/>
                        <a:pt x="53" y="40"/>
                        <a:pt x="53" y="40"/>
                      </a:cubicBezTo>
                      <a:cubicBezTo>
                        <a:pt x="55" y="41"/>
                        <a:pt x="55" y="43"/>
                        <a:pt x="55" y="45"/>
                      </a:cubicBezTo>
                      <a:moveTo>
                        <a:pt x="57" y="58"/>
                      </a:moveTo>
                      <a:cubicBezTo>
                        <a:pt x="58" y="65"/>
                        <a:pt x="55" y="108"/>
                        <a:pt x="53" y="116"/>
                      </a:cubicBezTo>
                      <a:cubicBezTo>
                        <a:pt x="48" y="116"/>
                        <a:pt x="48" y="116"/>
                        <a:pt x="48" y="116"/>
                      </a:cubicBezTo>
                      <a:cubicBezTo>
                        <a:pt x="40" y="196"/>
                        <a:pt x="40" y="196"/>
                        <a:pt x="40" y="196"/>
                      </a:cubicBezTo>
                      <a:cubicBezTo>
                        <a:pt x="31" y="196"/>
                        <a:pt x="31" y="196"/>
                        <a:pt x="31" y="196"/>
                      </a:cubicBezTo>
                      <a:cubicBezTo>
                        <a:pt x="25" y="119"/>
                        <a:pt x="25" y="119"/>
                        <a:pt x="25" y="119"/>
                      </a:cubicBezTo>
                      <a:cubicBezTo>
                        <a:pt x="19" y="196"/>
                        <a:pt x="19" y="196"/>
                        <a:pt x="19" y="196"/>
                      </a:cubicBezTo>
                      <a:cubicBezTo>
                        <a:pt x="10" y="196"/>
                        <a:pt x="10" y="196"/>
                        <a:pt x="10" y="196"/>
                      </a:cubicBezTo>
                      <a:cubicBezTo>
                        <a:pt x="4" y="116"/>
                        <a:pt x="4" y="116"/>
                        <a:pt x="4" y="116"/>
                      </a:cubicBezTo>
                      <a:cubicBezTo>
                        <a:pt x="0" y="116"/>
                        <a:pt x="0" y="116"/>
                        <a:pt x="0" y="116"/>
                      </a:cubicBezTo>
                      <a:moveTo>
                        <a:pt x="24" y="0"/>
                      </a:moveTo>
                      <a:cubicBezTo>
                        <a:pt x="32" y="0"/>
                        <a:pt x="37" y="6"/>
                        <a:pt x="37" y="12"/>
                      </a:cubicBezTo>
                      <a:cubicBezTo>
                        <a:pt x="37" y="18"/>
                        <a:pt x="32" y="31"/>
                        <a:pt x="24" y="31"/>
                      </a:cubicBezTo>
                      <a:cubicBezTo>
                        <a:pt x="17" y="31"/>
                        <a:pt x="12" y="18"/>
                        <a:pt x="12" y="12"/>
                      </a:cubicBezTo>
                      <a:cubicBezTo>
                        <a:pt x="12" y="6"/>
                        <a:pt x="16" y="0"/>
                        <a:pt x="24" y="0"/>
                      </a:cubicBezTo>
                      <a:close/>
                    </a:path>
                  </a:pathLst>
                </a:custGeom>
                <a:noFill/>
                <a:ln w="12700" cap="rnd">
                  <a:solidFill>
                    <a:srgbClr val="C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grpSp>
      </p:grpSp>
      <p:sp>
        <p:nvSpPr>
          <p:cNvPr id="246" name="Rectangle 245"/>
          <p:cNvSpPr/>
          <p:nvPr/>
        </p:nvSpPr>
        <p:spPr>
          <a:xfrm flipV="1">
            <a:off x="269875" y="3159139"/>
            <a:ext cx="9458326" cy="31654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err="1">
              <a:solidFill>
                <a:srgbClr val="00264A">
                  <a:lumMod val="50000"/>
                </a:srgbClr>
              </a:solidFill>
            </a:endParaRPr>
          </a:p>
        </p:txBody>
      </p:sp>
      <p:sp>
        <p:nvSpPr>
          <p:cNvPr id="247" name="TextBox 246"/>
          <p:cNvSpPr txBox="1"/>
          <p:nvPr/>
        </p:nvSpPr>
        <p:spPr>
          <a:xfrm>
            <a:off x="5562600" y="5759450"/>
            <a:ext cx="4127500" cy="554038"/>
          </a:xfrm>
          <a:prstGeom prst="rect">
            <a:avLst/>
          </a:prstGeom>
          <a:noFill/>
        </p:spPr>
        <p:txBody>
          <a:bodyPr>
            <a:spAutoFit/>
          </a:bodyPr>
          <a:lstStyle/>
          <a:p>
            <a:pPr algn="ctr">
              <a:defRPr/>
            </a:pPr>
            <a:r>
              <a:rPr lang="en-US" sz="1000" i="1">
                <a:solidFill>
                  <a:srgbClr val="505150"/>
                </a:solidFill>
              </a:rPr>
              <a:t>**Please note at any stage of the performance document where ever the action is pending on the reviewer or the employee, the document will move to the next stage after a defined period.</a:t>
            </a:r>
          </a:p>
        </p:txBody>
      </p:sp>
      <p:sp>
        <p:nvSpPr>
          <p:cNvPr id="248" name="Rounded Rectangle 247"/>
          <p:cNvSpPr/>
          <p:nvPr/>
        </p:nvSpPr>
        <p:spPr>
          <a:xfrm>
            <a:off x="685800" y="1133478"/>
            <a:ext cx="8763000" cy="1882775"/>
          </a:xfrm>
          <a:prstGeom prst="roundRect">
            <a:avLst/>
          </a:prstGeom>
          <a:ln w="28575">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marL="342900" indent="-342900" defTabSz="914400">
              <a:buClr>
                <a:srgbClr val="ED771A"/>
              </a:buClr>
              <a:defRPr/>
            </a:pPr>
            <a:r>
              <a:rPr lang="en-US" sz="1500">
                <a:solidFill>
                  <a:srgbClr val="00234B"/>
                </a:solidFill>
                <a:cs typeface="Calibri" pitchFamily="34" charset="0"/>
              </a:rPr>
              <a:t>Rating  – </a:t>
            </a:r>
          </a:p>
          <a:p>
            <a:pPr marL="342900" indent="-342900" defTabSz="914400">
              <a:buClr>
                <a:srgbClr val="ED771A"/>
              </a:buClr>
              <a:buFont typeface="Wingdings" pitchFamily="2" charset="2"/>
              <a:buChar char="§"/>
              <a:defRPr/>
            </a:pPr>
            <a:r>
              <a:rPr lang="en-US" sz="1500">
                <a:solidFill>
                  <a:srgbClr val="00234B"/>
                </a:solidFill>
                <a:cs typeface="Calibri" pitchFamily="34" charset="0"/>
              </a:rPr>
              <a:t>KPI wise comments to be entered</a:t>
            </a:r>
          </a:p>
          <a:p>
            <a:pPr marL="342900" indent="-342900" defTabSz="914400">
              <a:buClr>
                <a:srgbClr val="ED771A"/>
              </a:buClr>
              <a:buFont typeface="Wingdings" pitchFamily="2" charset="2"/>
              <a:buChar char="§"/>
              <a:defRPr/>
            </a:pPr>
            <a:r>
              <a:rPr lang="en-US" sz="1500">
                <a:solidFill>
                  <a:srgbClr val="00234B"/>
                </a:solidFill>
                <a:cs typeface="Calibri" pitchFamily="34" charset="0"/>
              </a:rPr>
              <a:t>In self assessment employee provides comments on KPIs</a:t>
            </a:r>
          </a:p>
          <a:p>
            <a:pPr marL="342900" indent="-342900" defTabSz="914400">
              <a:buClr>
                <a:srgbClr val="ED771A"/>
              </a:buClr>
              <a:buFont typeface="Wingdings" pitchFamily="2" charset="2"/>
              <a:buChar char="§"/>
              <a:defRPr/>
            </a:pPr>
            <a:r>
              <a:rPr lang="en-US" sz="1500">
                <a:solidFill>
                  <a:srgbClr val="00234B"/>
                </a:solidFill>
                <a:cs typeface="Calibri" pitchFamily="34" charset="0"/>
              </a:rPr>
              <a:t>In Reviewer evaluation manager provides comments on KPIs and one holistic rating</a:t>
            </a:r>
          </a:p>
          <a:p>
            <a:pPr marL="342900" indent="-342900" defTabSz="914400">
              <a:buClr>
                <a:srgbClr val="ED771A"/>
              </a:buClr>
              <a:defRPr/>
            </a:pPr>
            <a:r>
              <a:rPr lang="en-US" sz="1500">
                <a:solidFill>
                  <a:srgbClr val="00234B"/>
                </a:solidFill>
                <a:cs typeface="Calibri" pitchFamily="34" charset="0"/>
              </a:rPr>
              <a:t>Calibration – </a:t>
            </a:r>
          </a:p>
          <a:p>
            <a:pPr marL="342900" indent="-342900" defTabSz="914400">
              <a:buClr>
                <a:srgbClr val="ED771A"/>
              </a:buClr>
              <a:buFont typeface="Wingdings" pitchFamily="2" charset="2"/>
              <a:buChar char="§"/>
              <a:defRPr/>
            </a:pPr>
            <a:r>
              <a:rPr lang="en-US" sz="1500">
                <a:solidFill>
                  <a:srgbClr val="00234B"/>
                </a:solidFill>
                <a:cs typeface="Calibri" pitchFamily="34" charset="0"/>
              </a:rPr>
              <a:t>Employee view the feedback comments and calibrated rating after calibration, only after Reviewer gives “Final Signoff”</a:t>
            </a:r>
          </a:p>
        </p:txBody>
      </p:sp>
    </p:spTree>
    <p:extLst>
      <p:ext uri="{BB962C8B-B14F-4D97-AF65-F5344CB8AC3E}">
        <p14:creationId xmlns:p14="http://schemas.microsoft.com/office/powerpoint/2010/main" val="19315065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8" presetClass="entr" presetSubtype="16" fill="hold" grpId="0" nodeType="withEffect">
                                  <p:stCondLst>
                                    <p:cond delay="0"/>
                                  </p:stCondLst>
                                  <p:childTnLst>
                                    <p:set>
                                      <p:cBhvr>
                                        <p:cTn id="6" dur="1" fill="hold">
                                          <p:stCondLst>
                                            <p:cond delay="0"/>
                                          </p:stCondLst>
                                        </p:cTn>
                                        <p:tgtEl>
                                          <p:spTgt spid="247"/>
                                        </p:tgtEl>
                                        <p:attrNameLst>
                                          <p:attrName>style.visibility</p:attrName>
                                        </p:attrNameLst>
                                      </p:cBhvr>
                                      <p:to>
                                        <p:strVal val="visible"/>
                                      </p:to>
                                    </p:set>
                                    <p:animEffect transition="in" filter="diamond(in)">
                                      <p:cBhvr>
                                        <p:cTn id="7" dur="2000"/>
                                        <p:tgtEl>
                                          <p:spTgt spid="247"/>
                                        </p:tgtEl>
                                      </p:cBhvr>
                                    </p:animEffect>
                                  </p:childTnLst>
                                </p:cTn>
                              </p:par>
                              <p:par>
                                <p:cTn id="8" presetID="2" presetClass="exit" presetSubtype="4" fill="hold" grpId="1" nodeType="withEffect">
                                  <p:stCondLst>
                                    <p:cond delay="0"/>
                                  </p:stCondLst>
                                  <p:childTnLst>
                                    <p:anim calcmode="lin" valueType="num">
                                      <p:cBhvr additive="base">
                                        <p:cTn id="9" dur="500"/>
                                        <p:tgtEl>
                                          <p:spTgt spid="247"/>
                                        </p:tgtEl>
                                        <p:attrNameLst>
                                          <p:attrName>ppt_x</p:attrName>
                                        </p:attrNameLst>
                                      </p:cBhvr>
                                      <p:tavLst>
                                        <p:tav tm="0">
                                          <p:val>
                                            <p:strVal val="ppt_x"/>
                                          </p:val>
                                        </p:tav>
                                        <p:tav tm="100000">
                                          <p:val>
                                            <p:strVal val="ppt_x"/>
                                          </p:val>
                                        </p:tav>
                                      </p:tavLst>
                                    </p:anim>
                                    <p:anim calcmode="lin" valueType="num">
                                      <p:cBhvr additive="base">
                                        <p:cTn id="10" dur="500"/>
                                        <p:tgtEl>
                                          <p:spTgt spid="247"/>
                                        </p:tgtEl>
                                        <p:attrNameLst>
                                          <p:attrName>ppt_y</p:attrName>
                                        </p:attrNameLst>
                                      </p:cBhvr>
                                      <p:tavLst>
                                        <p:tav tm="0">
                                          <p:val>
                                            <p:strVal val="ppt_y"/>
                                          </p:val>
                                        </p:tav>
                                        <p:tav tm="100000">
                                          <p:val>
                                            <p:strVal val="1+ppt_h/2"/>
                                          </p:val>
                                        </p:tav>
                                      </p:tavLst>
                                    </p:anim>
                                    <p:set>
                                      <p:cBhvr>
                                        <p:cTn id="11" dur="1" fill="hold">
                                          <p:stCondLst>
                                            <p:cond delay="499"/>
                                          </p:stCondLst>
                                        </p:cTn>
                                        <p:tgtEl>
                                          <p:spTgt spid="2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p:bldP spid="247"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7020">
              <a:defRPr/>
            </a:pPr>
            <a:r>
              <a:rPr lang="en-GB" sz="2100" b="1">
                <a:latin typeface="+mj-lt"/>
                <a:cs typeface="+mj-cs"/>
              </a:rPr>
              <a:t>Assignment Appraisals</a:t>
            </a:r>
            <a:endParaRPr lang="en-GB" sz="2100" b="1">
              <a:latin typeface="+mj-lt"/>
              <a:ea typeface="Verdana"/>
              <a:cs typeface="Verdana"/>
            </a:endParaRPr>
          </a:p>
        </p:txBody>
      </p:sp>
      <p:grpSp>
        <p:nvGrpSpPr>
          <p:cNvPr id="4" name="Group 77">
            <a:extLst>
              <a:ext uri="{FF2B5EF4-FFF2-40B4-BE49-F238E27FC236}">
                <a16:creationId xmlns:a16="http://schemas.microsoft.com/office/drawing/2014/main" id="{A012EA56-135E-4F06-9A09-0C86F0A9A5C6}"/>
              </a:ext>
            </a:extLst>
          </p:cNvPr>
          <p:cNvGrpSpPr>
            <a:grpSpLocks/>
          </p:cNvGrpSpPr>
          <p:nvPr/>
        </p:nvGrpSpPr>
        <p:grpSpPr bwMode="auto">
          <a:xfrm>
            <a:off x="1508125" y="1219202"/>
            <a:ext cx="1754188" cy="1520825"/>
            <a:chOff x="1507524" y="1317797"/>
            <a:chExt cx="1754660" cy="1520653"/>
          </a:xfrm>
        </p:grpSpPr>
        <p:sp>
          <p:nvSpPr>
            <p:cNvPr id="5" name="Rounded Rectangle 5">
              <a:extLst>
                <a:ext uri="{FF2B5EF4-FFF2-40B4-BE49-F238E27FC236}">
                  <a16:creationId xmlns:a16="http://schemas.microsoft.com/office/drawing/2014/main" id="{3687EF12-04D4-4274-92EC-3B36F1C49B9B}"/>
                </a:ext>
              </a:extLst>
            </p:cNvPr>
            <p:cNvSpPr/>
            <p:nvPr/>
          </p:nvSpPr>
          <p:spPr>
            <a:xfrm>
              <a:off x="1507524" y="1473354"/>
              <a:ext cx="1754660" cy="1365096"/>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6" name="Oval 5">
              <a:extLst>
                <a:ext uri="{FF2B5EF4-FFF2-40B4-BE49-F238E27FC236}">
                  <a16:creationId xmlns:a16="http://schemas.microsoft.com/office/drawing/2014/main" id="{D7E67C6D-6068-47D7-A177-C87AA227ED59}"/>
                </a:ext>
              </a:extLst>
            </p:cNvPr>
            <p:cNvSpPr/>
            <p:nvPr/>
          </p:nvSpPr>
          <p:spPr>
            <a:xfrm>
              <a:off x="2228443" y="1317797"/>
              <a:ext cx="312822" cy="3142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1</a:t>
              </a:r>
            </a:p>
          </p:txBody>
        </p:sp>
      </p:grpSp>
      <p:sp>
        <p:nvSpPr>
          <p:cNvPr id="7" name="Rectangle 6">
            <a:extLst>
              <a:ext uri="{FF2B5EF4-FFF2-40B4-BE49-F238E27FC236}">
                <a16:creationId xmlns:a16="http://schemas.microsoft.com/office/drawing/2014/main" id="{8A5953AC-73F7-40A7-B188-EAA3FEDFE489}"/>
              </a:ext>
            </a:extLst>
          </p:cNvPr>
          <p:cNvSpPr/>
          <p:nvPr/>
        </p:nvSpPr>
        <p:spPr>
          <a:xfrm>
            <a:off x="1541588" y="1920081"/>
            <a:ext cx="1704975" cy="369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AA Objectives Definition (Employee)</a:t>
            </a:r>
          </a:p>
        </p:txBody>
      </p:sp>
      <p:sp>
        <p:nvSpPr>
          <p:cNvPr id="8" name="Rounded Rectangle 14">
            <a:extLst>
              <a:ext uri="{FF2B5EF4-FFF2-40B4-BE49-F238E27FC236}">
                <a16:creationId xmlns:a16="http://schemas.microsoft.com/office/drawing/2014/main" id="{A156A461-8350-44E4-B93F-8A65D14A0BB4}"/>
              </a:ext>
            </a:extLst>
          </p:cNvPr>
          <p:cNvSpPr/>
          <p:nvPr/>
        </p:nvSpPr>
        <p:spPr>
          <a:xfrm>
            <a:off x="5521325" y="1373190"/>
            <a:ext cx="1754188" cy="1366837"/>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9" name="Oval 8">
            <a:extLst>
              <a:ext uri="{FF2B5EF4-FFF2-40B4-BE49-F238E27FC236}">
                <a16:creationId xmlns:a16="http://schemas.microsoft.com/office/drawing/2014/main" id="{8FB634A9-E8E3-484A-B91D-1F5393538157}"/>
              </a:ext>
            </a:extLst>
          </p:cNvPr>
          <p:cNvSpPr/>
          <p:nvPr/>
        </p:nvSpPr>
        <p:spPr>
          <a:xfrm>
            <a:off x="6240469" y="1219200"/>
            <a:ext cx="314325" cy="3127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3</a:t>
            </a:r>
          </a:p>
        </p:txBody>
      </p:sp>
      <p:sp>
        <p:nvSpPr>
          <p:cNvPr id="10" name="Rectangle 6">
            <a:extLst>
              <a:ext uri="{FF2B5EF4-FFF2-40B4-BE49-F238E27FC236}">
                <a16:creationId xmlns:a16="http://schemas.microsoft.com/office/drawing/2014/main" id="{6FF8A3FD-FB3F-4CC1-AA31-005FA77612B2}"/>
              </a:ext>
            </a:extLst>
          </p:cNvPr>
          <p:cNvSpPr>
            <a:spLocks/>
          </p:cNvSpPr>
          <p:nvPr/>
        </p:nvSpPr>
        <p:spPr>
          <a:xfrm>
            <a:off x="5599887" y="1897698"/>
            <a:ext cx="1562100" cy="369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AA Objective Signoff (Employee)</a:t>
            </a:r>
          </a:p>
        </p:txBody>
      </p:sp>
      <p:sp>
        <p:nvSpPr>
          <p:cNvPr id="11" name="Rectangle 10">
            <a:extLst>
              <a:ext uri="{FF2B5EF4-FFF2-40B4-BE49-F238E27FC236}">
                <a16:creationId xmlns:a16="http://schemas.microsoft.com/office/drawing/2014/main" id="{B3A1C3C8-A618-4405-9C67-4CEAFDF38C85}"/>
              </a:ext>
            </a:extLst>
          </p:cNvPr>
          <p:cNvSpPr>
            <a:spLocks/>
          </p:cNvSpPr>
          <p:nvPr/>
        </p:nvSpPr>
        <p:spPr>
          <a:xfrm>
            <a:off x="1595572" y="4376508"/>
            <a:ext cx="1587500" cy="814521"/>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Create Assignment Objectives</a:t>
            </a:r>
          </a:p>
        </p:txBody>
      </p:sp>
      <p:sp>
        <p:nvSpPr>
          <p:cNvPr id="12" name="Rectangle 11">
            <a:extLst>
              <a:ext uri="{FF2B5EF4-FFF2-40B4-BE49-F238E27FC236}">
                <a16:creationId xmlns:a16="http://schemas.microsoft.com/office/drawing/2014/main" id="{40A1EEBF-B8B5-4A1F-A5FF-9F4E6A1E6FB1}"/>
              </a:ext>
            </a:extLst>
          </p:cNvPr>
          <p:cNvSpPr>
            <a:spLocks/>
          </p:cNvSpPr>
          <p:nvPr/>
        </p:nvSpPr>
        <p:spPr>
          <a:xfrm>
            <a:off x="3597704" y="3056969"/>
            <a:ext cx="1587500" cy="814521"/>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Add/Edit Objectives</a:t>
            </a:r>
          </a:p>
          <a:p>
            <a:pPr algn="ctr">
              <a:defRPr/>
            </a:pPr>
            <a:r>
              <a:rPr lang="en-US" sz="1050" b="1">
                <a:solidFill>
                  <a:prstClr val="white"/>
                </a:solidFill>
              </a:rPr>
              <a:t> and Signoff</a:t>
            </a:r>
          </a:p>
        </p:txBody>
      </p:sp>
      <p:sp>
        <p:nvSpPr>
          <p:cNvPr id="13" name="Rectangle 12">
            <a:extLst>
              <a:ext uri="{FF2B5EF4-FFF2-40B4-BE49-F238E27FC236}">
                <a16:creationId xmlns:a16="http://schemas.microsoft.com/office/drawing/2014/main" id="{AA11EB61-118B-4F10-8614-518CE85BFDA4}"/>
              </a:ext>
            </a:extLst>
          </p:cNvPr>
          <p:cNvSpPr>
            <a:spLocks/>
          </p:cNvSpPr>
          <p:nvPr/>
        </p:nvSpPr>
        <p:spPr>
          <a:xfrm>
            <a:off x="5604305" y="4376508"/>
            <a:ext cx="1587500" cy="814521"/>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Accept Assignment Objectives</a:t>
            </a:r>
          </a:p>
        </p:txBody>
      </p:sp>
      <p:sp>
        <p:nvSpPr>
          <p:cNvPr id="14" name="Rectangle 13">
            <a:extLst>
              <a:ext uri="{FF2B5EF4-FFF2-40B4-BE49-F238E27FC236}">
                <a16:creationId xmlns:a16="http://schemas.microsoft.com/office/drawing/2014/main" id="{53B9E683-6E43-45B5-AA58-6D10A88C0C56}"/>
              </a:ext>
            </a:extLst>
          </p:cNvPr>
          <p:cNvSpPr>
            <a:spLocks/>
          </p:cNvSpPr>
          <p:nvPr/>
        </p:nvSpPr>
        <p:spPr>
          <a:xfrm>
            <a:off x="7610907" y="4376508"/>
            <a:ext cx="1587500" cy="814521"/>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GB" sz="1050" b="1">
                <a:solidFill>
                  <a:prstClr val="white"/>
                </a:solidFill>
              </a:rPr>
              <a:t>Objective Setting Complete</a:t>
            </a:r>
          </a:p>
        </p:txBody>
      </p:sp>
      <p:cxnSp>
        <p:nvCxnSpPr>
          <p:cNvPr id="15" name="Straight Arrow Connector 44">
            <a:extLst>
              <a:ext uri="{FF2B5EF4-FFF2-40B4-BE49-F238E27FC236}">
                <a16:creationId xmlns:a16="http://schemas.microsoft.com/office/drawing/2014/main" id="{C0F24EB3-CC65-4D44-A497-FBBDE629695B}"/>
              </a:ext>
            </a:extLst>
          </p:cNvPr>
          <p:cNvCxnSpPr/>
          <p:nvPr/>
        </p:nvCxnSpPr>
        <p:spPr>
          <a:xfrm flipV="1">
            <a:off x="3182946" y="3463932"/>
            <a:ext cx="414337" cy="1319213"/>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46">
            <a:extLst>
              <a:ext uri="{FF2B5EF4-FFF2-40B4-BE49-F238E27FC236}">
                <a16:creationId xmlns:a16="http://schemas.microsoft.com/office/drawing/2014/main" id="{81507F32-2407-40D3-9755-E4765E29F04B}"/>
              </a:ext>
            </a:extLst>
          </p:cNvPr>
          <p:cNvCxnSpPr/>
          <p:nvPr/>
        </p:nvCxnSpPr>
        <p:spPr>
          <a:xfrm>
            <a:off x="5184780" y="3463932"/>
            <a:ext cx="419101" cy="1319213"/>
          </a:xfrm>
          <a:prstGeom prst="bentConnector3">
            <a:avLst>
              <a:gd name="adj1" fmla="val 50000"/>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72079F1-CEF9-4FDA-9CE5-46637C6F807C}"/>
              </a:ext>
            </a:extLst>
          </p:cNvPr>
          <p:cNvCxnSpPr/>
          <p:nvPr/>
        </p:nvCxnSpPr>
        <p:spPr>
          <a:xfrm>
            <a:off x="7191374" y="4783138"/>
            <a:ext cx="419101" cy="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55">
            <a:extLst>
              <a:ext uri="{FF2B5EF4-FFF2-40B4-BE49-F238E27FC236}">
                <a16:creationId xmlns:a16="http://schemas.microsoft.com/office/drawing/2014/main" id="{9ED5A32A-EA32-47A3-A5B6-21BC2BCB49D8}"/>
              </a:ext>
            </a:extLst>
          </p:cNvPr>
          <p:cNvGrpSpPr>
            <a:grpSpLocks/>
          </p:cNvGrpSpPr>
          <p:nvPr/>
        </p:nvGrpSpPr>
        <p:grpSpPr bwMode="auto">
          <a:xfrm>
            <a:off x="227021" y="4376738"/>
            <a:ext cx="1050925" cy="800100"/>
            <a:chOff x="177624" y="4868201"/>
            <a:chExt cx="1051101" cy="800169"/>
          </a:xfrm>
        </p:grpSpPr>
        <p:sp>
          <p:nvSpPr>
            <p:cNvPr id="19" name="Content Placeholder 17">
              <a:extLst>
                <a:ext uri="{FF2B5EF4-FFF2-40B4-BE49-F238E27FC236}">
                  <a16:creationId xmlns:a16="http://schemas.microsoft.com/office/drawing/2014/main" id="{7B9DD869-347E-4A7B-9EA3-E13593EFF235}"/>
                </a:ext>
              </a:extLst>
            </p:cNvPr>
            <p:cNvSpPr txBox="1">
              <a:spLocks/>
            </p:cNvSpPr>
            <p:nvPr/>
          </p:nvSpPr>
          <p:spPr>
            <a:xfrm>
              <a:off x="177624" y="4868201"/>
              <a:ext cx="1051101" cy="184166"/>
            </a:xfrm>
            <a:prstGeom prst="rect">
              <a:avLst/>
            </a:prstGeom>
          </p:spPr>
          <p:txBody>
            <a:bodyPr lIns="0" tIns="0" rIns="0" bIns="0">
              <a:spAutoFit/>
            </a:bodyPr>
            <a:lstStyle/>
            <a:p>
              <a:pPr algn="ctr" defTabSz="914342">
                <a:buClr>
                  <a:srgbClr val="EC098D"/>
                </a:buClr>
                <a:defRPr/>
              </a:pPr>
              <a:r>
                <a:rPr lang="en-GB" sz="1200" b="1">
                  <a:solidFill>
                    <a:srgbClr val="EC098D"/>
                  </a:solidFill>
                </a:rPr>
                <a:t>Employee</a:t>
              </a:r>
            </a:p>
          </p:txBody>
        </p:sp>
        <p:grpSp>
          <p:nvGrpSpPr>
            <p:cNvPr id="20" name="Group 36">
              <a:extLst>
                <a:ext uri="{FF2B5EF4-FFF2-40B4-BE49-F238E27FC236}">
                  <a16:creationId xmlns:a16="http://schemas.microsoft.com/office/drawing/2014/main" id="{E98E9502-71F0-49E9-A947-3FD83BA5F35B}"/>
                </a:ext>
              </a:extLst>
            </p:cNvPr>
            <p:cNvGrpSpPr>
              <a:grpSpLocks/>
            </p:cNvGrpSpPr>
            <p:nvPr/>
          </p:nvGrpSpPr>
          <p:grpSpPr bwMode="auto">
            <a:xfrm>
              <a:off x="503149" y="5201645"/>
              <a:ext cx="400050" cy="466725"/>
              <a:chOff x="345028" y="5391214"/>
              <a:chExt cx="400050" cy="466725"/>
            </a:xfrm>
          </p:grpSpPr>
          <p:sp>
            <p:nvSpPr>
              <p:cNvPr id="21" name="Oval 3415">
                <a:extLst>
                  <a:ext uri="{FF2B5EF4-FFF2-40B4-BE49-F238E27FC236}">
                    <a16:creationId xmlns:a16="http://schemas.microsoft.com/office/drawing/2014/main" id="{17F3262B-7BA2-4D8A-B39F-48239A26BC75}"/>
                  </a:ext>
                </a:extLst>
              </p:cNvPr>
              <p:cNvSpPr>
                <a:spLocks noChangeArrowheads="1"/>
              </p:cNvSpPr>
              <p:nvPr/>
            </p:nvSpPr>
            <p:spPr bwMode="auto">
              <a:xfrm>
                <a:off x="460902" y="5391174"/>
                <a:ext cx="163539" cy="188928"/>
              </a:xfrm>
              <a:prstGeom prst="ellipse">
                <a:avLst/>
              </a:pr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22" name="Freeform 3416">
                <a:extLst>
                  <a:ext uri="{FF2B5EF4-FFF2-40B4-BE49-F238E27FC236}">
                    <a16:creationId xmlns:a16="http://schemas.microsoft.com/office/drawing/2014/main" id="{C42EBC1B-036A-4BC6-8F4C-9D37EAD5B9B3}"/>
                  </a:ext>
                </a:extLst>
              </p:cNvPr>
              <p:cNvSpPr>
                <a:spLocks/>
              </p:cNvSpPr>
              <p:nvPr/>
            </p:nvSpPr>
            <p:spPr bwMode="auto">
              <a:xfrm>
                <a:off x="344995" y="5580102"/>
                <a:ext cx="400117" cy="277837"/>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23" name="Freeform 3417">
                <a:extLst>
                  <a:ext uri="{FF2B5EF4-FFF2-40B4-BE49-F238E27FC236}">
                    <a16:creationId xmlns:a16="http://schemas.microsoft.com/office/drawing/2014/main" id="{B95AF542-985D-46A8-A882-DBB904E75843}"/>
                  </a:ext>
                </a:extLst>
              </p:cNvPr>
              <p:cNvSpPr>
                <a:spLocks/>
              </p:cNvSpPr>
              <p:nvPr/>
            </p:nvSpPr>
            <p:spPr bwMode="auto">
              <a:xfrm>
                <a:off x="629206" y="5703938"/>
                <a:ext cx="30167" cy="154001"/>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24" name="Freeform 3418">
                <a:extLst>
                  <a:ext uri="{FF2B5EF4-FFF2-40B4-BE49-F238E27FC236}">
                    <a16:creationId xmlns:a16="http://schemas.microsoft.com/office/drawing/2014/main" id="{079ED64D-8D9C-4494-AB23-66E10D3DF33E}"/>
                  </a:ext>
                </a:extLst>
              </p:cNvPr>
              <p:cNvSpPr>
                <a:spLocks/>
              </p:cNvSpPr>
              <p:nvPr/>
            </p:nvSpPr>
            <p:spPr bwMode="auto">
              <a:xfrm>
                <a:off x="430734" y="5703938"/>
                <a:ext cx="30168" cy="154001"/>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grpSp>
      </p:grpSp>
      <p:grpSp>
        <p:nvGrpSpPr>
          <p:cNvPr id="25" name="Group 72">
            <a:extLst>
              <a:ext uri="{FF2B5EF4-FFF2-40B4-BE49-F238E27FC236}">
                <a16:creationId xmlns:a16="http://schemas.microsoft.com/office/drawing/2014/main" id="{5614BF68-6903-4908-BB3B-2FD665662E74}"/>
              </a:ext>
            </a:extLst>
          </p:cNvPr>
          <p:cNvGrpSpPr>
            <a:grpSpLocks/>
          </p:cNvGrpSpPr>
          <p:nvPr/>
        </p:nvGrpSpPr>
        <p:grpSpPr bwMode="auto">
          <a:xfrm>
            <a:off x="227021" y="2971800"/>
            <a:ext cx="1050925" cy="1095375"/>
            <a:chOff x="226591" y="3272475"/>
            <a:chExt cx="1051101" cy="1096325"/>
          </a:xfrm>
        </p:grpSpPr>
        <p:sp>
          <p:nvSpPr>
            <p:cNvPr id="26" name="Content Placeholder 17">
              <a:extLst>
                <a:ext uri="{FF2B5EF4-FFF2-40B4-BE49-F238E27FC236}">
                  <a16:creationId xmlns:a16="http://schemas.microsoft.com/office/drawing/2014/main" id="{D438FECA-5866-4446-A0C6-0E36356949BD}"/>
                </a:ext>
              </a:extLst>
            </p:cNvPr>
            <p:cNvSpPr txBox="1">
              <a:spLocks/>
            </p:cNvSpPr>
            <p:nvPr/>
          </p:nvSpPr>
          <p:spPr>
            <a:xfrm>
              <a:off x="226591" y="3272475"/>
              <a:ext cx="1051101" cy="368619"/>
            </a:xfrm>
            <a:prstGeom prst="rect">
              <a:avLst/>
            </a:prstGeom>
          </p:spPr>
          <p:txBody>
            <a:bodyPr lIns="0" tIns="0" rIns="0" bIns="0">
              <a:spAutoFit/>
            </a:bodyPr>
            <a:lstStyle/>
            <a:p>
              <a:pPr algn="ctr" defTabSz="914342">
                <a:buClr>
                  <a:srgbClr val="EC098D"/>
                </a:buClr>
                <a:defRPr/>
              </a:pPr>
              <a:r>
                <a:rPr lang="en-GB" sz="1200" b="1">
                  <a:solidFill>
                    <a:srgbClr val="8D8E8D">
                      <a:lumMod val="50000"/>
                    </a:srgbClr>
                  </a:solidFill>
                </a:rPr>
                <a:t>Assignment Manager</a:t>
              </a:r>
            </a:p>
          </p:txBody>
        </p:sp>
        <p:grpSp>
          <p:nvGrpSpPr>
            <p:cNvPr id="27" name="Group 94">
              <a:extLst>
                <a:ext uri="{FF2B5EF4-FFF2-40B4-BE49-F238E27FC236}">
                  <a16:creationId xmlns:a16="http://schemas.microsoft.com/office/drawing/2014/main" id="{6C7D41DD-C17A-4340-BC93-87E39D5E65DE}"/>
                </a:ext>
              </a:extLst>
            </p:cNvPr>
            <p:cNvGrpSpPr>
              <a:grpSpLocks/>
            </p:cNvGrpSpPr>
            <p:nvPr/>
          </p:nvGrpSpPr>
          <p:grpSpPr bwMode="auto">
            <a:xfrm>
              <a:off x="363962" y="3721101"/>
              <a:ext cx="776359" cy="647699"/>
              <a:chOff x="3784600" y="4953001"/>
              <a:chExt cx="1120776" cy="935038"/>
            </a:xfrm>
          </p:grpSpPr>
          <p:sp>
            <p:nvSpPr>
              <p:cNvPr id="28" name="Freeform 6">
                <a:extLst>
                  <a:ext uri="{FF2B5EF4-FFF2-40B4-BE49-F238E27FC236}">
                    <a16:creationId xmlns:a16="http://schemas.microsoft.com/office/drawing/2014/main" id="{7756D5C1-8288-4602-A914-8BAEEB5360F8}"/>
                  </a:ext>
                </a:extLst>
              </p:cNvPr>
              <p:cNvSpPr>
                <a:spLocks noEditPoints="1"/>
              </p:cNvSpPr>
              <p:nvPr/>
            </p:nvSpPr>
            <p:spPr bwMode="auto">
              <a:xfrm>
                <a:off x="4170784" y="4952189"/>
                <a:ext cx="733487" cy="935850"/>
              </a:xfrm>
              <a:custGeom>
                <a:avLst/>
                <a:gdLst/>
                <a:ahLst/>
                <a:cxnLst>
                  <a:cxn ang="0">
                    <a:pos x="0" y="249"/>
                  </a:cxn>
                  <a:cxn ang="0">
                    <a:pos x="139" y="249"/>
                  </a:cxn>
                  <a:cxn ang="0">
                    <a:pos x="196" y="162"/>
                  </a:cxn>
                  <a:cxn ang="0">
                    <a:pos x="15" y="162"/>
                  </a:cxn>
                  <a:cxn ang="0">
                    <a:pos x="15" y="162"/>
                  </a:cxn>
                  <a:cxn ang="0">
                    <a:pos x="21" y="92"/>
                  </a:cxn>
                  <a:cxn ang="0">
                    <a:pos x="25" y="82"/>
                  </a:cxn>
                  <a:cxn ang="0">
                    <a:pos x="54" y="70"/>
                  </a:cxn>
                  <a:cxn ang="0">
                    <a:pos x="68" y="115"/>
                  </a:cxn>
                  <a:cxn ang="0">
                    <a:pos x="70" y="85"/>
                  </a:cxn>
                  <a:cxn ang="0">
                    <a:pos x="74" y="83"/>
                  </a:cxn>
                  <a:cxn ang="0">
                    <a:pos x="78" y="85"/>
                  </a:cxn>
                  <a:cxn ang="0">
                    <a:pos x="80" y="115"/>
                  </a:cxn>
                  <a:cxn ang="0">
                    <a:pos x="94" y="70"/>
                  </a:cxn>
                  <a:cxn ang="0">
                    <a:pos x="123" y="82"/>
                  </a:cxn>
                  <a:cxn ang="0">
                    <a:pos x="130" y="93"/>
                  </a:cxn>
                  <a:cxn ang="0">
                    <a:pos x="136" y="141"/>
                  </a:cxn>
                  <a:cxn ang="0">
                    <a:pos x="74" y="0"/>
                  </a:cxn>
                  <a:cxn ang="0">
                    <a:pos x="99" y="25"/>
                  </a:cxn>
                  <a:cxn ang="0">
                    <a:pos x="74" y="63"/>
                  </a:cxn>
                  <a:cxn ang="0">
                    <a:pos x="49" y="25"/>
                  </a:cxn>
                  <a:cxn ang="0">
                    <a:pos x="74" y="0"/>
                  </a:cxn>
                </a:cxnLst>
                <a:rect l="0" t="0" r="r" b="b"/>
                <a:pathLst>
                  <a:path w="196" h="249">
                    <a:moveTo>
                      <a:pt x="0" y="249"/>
                    </a:moveTo>
                    <a:cubicBezTo>
                      <a:pt x="139" y="249"/>
                      <a:pt x="139" y="249"/>
                      <a:pt x="139" y="249"/>
                    </a:cubicBezTo>
                    <a:cubicBezTo>
                      <a:pt x="196" y="162"/>
                      <a:pt x="196" y="162"/>
                      <a:pt x="196" y="162"/>
                    </a:cubicBezTo>
                    <a:cubicBezTo>
                      <a:pt x="15" y="162"/>
                      <a:pt x="15" y="162"/>
                      <a:pt x="15" y="162"/>
                    </a:cubicBezTo>
                    <a:cubicBezTo>
                      <a:pt x="15" y="162"/>
                      <a:pt x="15" y="162"/>
                      <a:pt x="15" y="162"/>
                    </a:cubicBezTo>
                    <a:cubicBezTo>
                      <a:pt x="14" y="135"/>
                      <a:pt x="18" y="118"/>
                      <a:pt x="21" y="92"/>
                    </a:cubicBezTo>
                    <a:cubicBezTo>
                      <a:pt x="21" y="88"/>
                      <a:pt x="22" y="84"/>
                      <a:pt x="25" y="82"/>
                    </a:cubicBezTo>
                    <a:cubicBezTo>
                      <a:pt x="26" y="81"/>
                      <a:pt x="51" y="71"/>
                      <a:pt x="54" y="70"/>
                    </a:cubicBezTo>
                    <a:cubicBezTo>
                      <a:pt x="57" y="81"/>
                      <a:pt x="62" y="105"/>
                      <a:pt x="68" y="115"/>
                    </a:cubicBezTo>
                    <a:cubicBezTo>
                      <a:pt x="68" y="110"/>
                      <a:pt x="70" y="90"/>
                      <a:pt x="70" y="85"/>
                    </a:cubicBezTo>
                    <a:cubicBezTo>
                      <a:pt x="71" y="85"/>
                      <a:pt x="73" y="84"/>
                      <a:pt x="74" y="83"/>
                    </a:cubicBezTo>
                    <a:cubicBezTo>
                      <a:pt x="75" y="84"/>
                      <a:pt x="77" y="85"/>
                      <a:pt x="78" y="85"/>
                    </a:cubicBezTo>
                    <a:cubicBezTo>
                      <a:pt x="78" y="90"/>
                      <a:pt x="80" y="110"/>
                      <a:pt x="80" y="115"/>
                    </a:cubicBezTo>
                    <a:cubicBezTo>
                      <a:pt x="86" y="105"/>
                      <a:pt x="91" y="81"/>
                      <a:pt x="94" y="70"/>
                    </a:cubicBezTo>
                    <a:cubicBezTo>
                      <a:pt x="97" y="71"/>
                      <a:pt x="122" y="81"/>
                      <a:pt x="123" y="82"/>
                    </a:cubicBezTo>
                    <a:cubicBezTo>
                      <a:pt x="127" y="86"/>
                      <a:pt x="129" y="89"/>
                      <a:pt x="130" y="93"/>
                    </a:cubicBezTo>
                    <a:cubicBezTo>
                      <a:pt x="136" y="141"/>
                      <a:pt x="136" y="141"/>
                      <a:pt x="136" y="141"/>
                    </a:cubicBezTo>
                    <a:moveTo>
                      <a:pt x="74" y="0"/>
                    </a:moveTo>
                    <a:cubicBezTo>
                      <a:pt x="90" y="0"/>
                      <a:pt x="99" y="12"/>
                      <a:pt x="99" y="25"/>
                    </a:cubicBezTo>
                    <a:cubicBezTo>
                      <a:pt x="99" y="37"/>
                      <a:pt x="90" y="63"/>
                      <a:pt x="74" y="63"/>
                    </a:cubicBezTo>
                    <a:cubicBezTo>
                      <a:pt x="58" y="63"/>
                      <a:pt x="49" y="37"/>
                      <a:pt x="49" y="25"/>
                    </a:cubicBezTo>
                    <a:cubicBezTo>
                      <a:pt x="49" y="12"/>
                      <a:pt x="58" y="0"/>
                      <a:pt x="74" y="0"/>
                    </a:cubicBezTo>
                    <a:close/>
                  </a:path>
                </a:pathLst>
              </a:custGeom>
              <a:noFill/>
              <a:ln w="12700" cap="rnd">
                <a:solidFill>
                  <a:schemeClr val="accent6">
                    <a:lumMod val="50000"/>
                  </a:schemeClr>
                </a:solidFill>
                <a:prstDash val="solid"/>
                <a:round/>
                <a:headEnd/>
                <a:tailEnd/>
              </a:ln>
            </p:spPr>
            <p:txBody>
              <a:bodyPr/>
              <a:lstStyle/>
              <a:p>
                <a:pPr algn="ctr">
                  <a:defRPr/>
                </a:pPr>
                <a:endParaRPr lang="en-US">
                  <a:solidFill>
                    <a:srgbClr val="505150"/>
                  </a:solidFill>
                </a:endParaRPr>
              </a:p>
            </p:txBody>
          </p:sp>
          <p:sp>
            <p:nvSpPr>
              <p:cNvPr id="29" name="Freeform 7">
                <a:extLst>
                  <a:ext uri="{FF2B5EF4-FFF2-40B4-BE49-F238E27FC236}">
                    <a16:creationId xmlns:a16="http://schemas.microsoft.com/office/drawing/2014/main" id="{CF8186DF-7965-4A9A-9547-758CD3F5B0E8}"/>
                  </a:ext>
                </a:extLst>
              </p:cNvPr>
              <p:cNvSpPr>
                <a:spLocks/>
              </p:cNvSpPr>
              <p:nvPr/>
            </p:nvSpPr>
            <p:spPr bwMode="auto">
              <a:xfrm>
                <a:off x="4248717" y="5610496"/>
                <a:ext cx="330069" cy="87163"/>
              </a:xfrm>
              <a:custGeom>
                <a:avLst/>
                <a:gdLst/>
                <a:ahLst/>
                <a:cxnLst>
                  <a:cxn ang="0">
                    <a:pos x="208" y="0"/>
                  </a:cxn>
                  <a:cxn ang="0">
                    <a:pos x="64" y="0"/>
                  </a:cxn>
                  <a:cxn ang="0">
                    <a:pos x="0" y="55"/>
                  </a:cxn>
                  <a:cxn ang="0">
                    <a:pos x="159" y="55"/>
                  </a:cxn>
                  <a:cxn ang="0">
                    <a:pos x="208" y="0"/>
                  </a:cxn>
                  <a:cxn ang="0">
                    <a:pos x="208" y="0"/>
                  </a:cxn>
                </a:cxnLst>
                <a:rect l="0" t="0" r="r" b="b"/>
                <a:pathLst>
                  <a:path w="208" h="55">
                    <a:moveTo>
                      <a:pt x="208" y="0"/>
                    </a:moveTo>
                    <a:lnTo>
                      <a:pt x="64" y="0"/>
                    </a:lnTo>
                    <a:lnTo>
                      <a:pt x="0" y="55"/>
                    </a:lnTo>
                    <a:lnTo>
                      <a:pt x="159" y="55"/>
                    </a:lnTo>
                    <a:lnTo>
                      <a:pt x="208" y="0"/>
                    </a:lnTo>
                    <a:lnTo>
                      <a:pt x="208" y="0"/>
                    </a:lnTo>
                    <a:close/>
                  </a:path>
                </a:pathLst>
              </a:custGeom>
              <a:noFill/>
              <a:ln w="12700" cap="rnd">
                <a:solidFill>
                  <a:schemeClr val="accent6">
                    <a:lumMod val="50000"/>
                  </a:schemeClr>
                </a:solidFill>
                <a:prstDash val="solid"/>
                <a:round/>
                <a:headEnd/>
                <a:tailEnd/>
              </a:ln>
            </p:spPr>
            <p:txBody>
              <a:bodyPr/>
              <a:lstStyle/>
              <a:p>
                <a:pPr algn="ctr">
                  <a:defRPr/>
                </a:pPr>
                <a:endParaRPr lang="en-US">
                  <a:solidFill>
                    <a:srgbClr val="505150"/>
                  </a:solidFill>
                </a:endParaRPr>
              </a:p>
            </p:txBody>
          </p:sp>
          <p:sp>
            <p:nvSpPr>
              <p:cNvPr id="30" name="Oval 8">
                <a:extLst>
                  <a:ext uri="{FF2B5EF4-FFF2-40B4-BE49-F238E27FC236}">
                    <a16:creationId xmlns:a16="http://schemas.microsoft.com/office/drawing/2014/main" id="{2711EE64-9894-4AC7-8695-65613EAF21A2}"/>
                  </a:ext>
                </a:extLst>
              </p:cNvPr>
              <p:cNvSpPr>
                <a:spLocks noChangeArrowheads="1"/>
              </p:cNvSpPr>
              <p:nvPr/>
            </p:nvSpPr>
            <p:spPr bwMode="auto">
              <a:xfrm>
                <a:off x="3914775" y="5367338"/>
                <a:ext cx="184150" cy="212725"/>
              </a:xfrm>
              <a:prstGeom prst="ellipse">
                <a:avLst/>
              </a:prstGeom>
              <a:noFill/>
              <a:ln w="12700" cap="rnd">
                <a:solidFill>
                  <a:srgbClr val="AF1C63"/>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n-US">
                  <a:solidFill>
                    <a:srgbClr val="505150"/>
                  </a:solidFill>
                </a:endParaRPr>
              </a:p>
            </p:txBody>
          </p:sp>
          <p:sp>
            <p:nvSpPr>
              <p:cNvPr id="31" name="Freeform 9">
                <a:extLst>
                  <a:ext uri="{FF2B5EF4-FFF2-40B4-BE49-F238E27FC236}">
                    <a16:creationId xmlns:a16="http://schemas.microsoft.com/office/drawing/2014/main" id="{923AC66D-04CD-4D0D-BD43-0683C441AD6D}"/>
                  </a:ext>
                </a:extLst>
              </p:cNvPr>
              <p:cNvSpPr>
                <a:spLocks/>
              </p:cNvSpPr>
              <p:nvPr/>
            </p:nvSpPr>
            <p:spPr bwMode="auto">
              <a:xfrm>
                <a:off x="3784600" y="5580063"/>
                <a:ext cx="446088" cy="307975"/>
              </a:xfrm>
              <a:custGeom>
                <a:avLst/>
                <a:gdLst>
                  <a:gd name="T0" fmla="*/ 0 w 119"/>
                  <a:gd name="T1" fmla="*/ 2147483646 h 82"/>
                  <a:gd name="T2" fmla="*/ 2147483646 w 119"/>
                  <a:gd name="T3" fmla="*/ 0 h 82"/>
                  <a:gd name="T4" fmla="*/ 2147483646 w 119"/>
                  <a:gd name="T5" fmla="*/ 2147483646 h 82"/>
                  <a:gd name="T6" fmla="*/ 2147483646 w 119"/>
                  <a:gd name="T7" fmla="*/ 2147483646 h 82"/>
                  <a:gd name="T8" fmla="*/ 0 60000 65536"/>
                  <a:gd name="T9" fmla="*/ 0 60000 65536"/>
                  <a:gd name="T10" fmla="*/ 0 60000 65536"/>
                  <a:gd name="T11" fmla="*/ 0 60000 65536"/>
                  <a:gd name="T12" fmla="*/ 0 w 119"/>
                  <a:gd name="T13" fmla="*/ 0 h 82"/>
                  <a:gd name="T14" fmla="*/ 119 w 119"/>
                  <a:gd name="T15" fmla="*/ 82 h 82"/>
                </a:gdLst>
                <a:ahLst/>
                <a:cxnLst>
                  <a:cxn ang="T8">
                    <a:pos x="T0" y="T1"/>
                  </a:cxn>
                  <a:cxn ang="T9">
                    <a:pos x="T2" y="T3"/>
                  </a:cxn>
                  <a:cxn ang="T10">
                    <a:pos x="T4" y="T5"/>
                  </a:cxn>
                  <a:cxn ang="T11">
                    <a:pos x="T6" y="T7"/>
                  </a:cxn>
                </a:cxnLst>
                <a:rect l="T12" t="T13" r="T14" b="T15"/>
                <a:pathLst>
                  <a:path w="119" h="82">
                    <a:moveTo>
                      <a:pt x="0" y="82"/>
                    </a:moveTo>
                    <a:cubicBezTo>
                      <a:pt x="0" y="43"/>
                      <a:pt x="12" y="0"/>
                      <a:pt x="59" y="0"/>
                    </a:cubicBezTo>
                    <a:cubicBezTo>
                      <a:pt x="107" y="0"/>
                      <a:pt x="119" y="43"/>
                      <a:pt x="119" y="82"/>
                    </a:cubicBezTo>
                    <a:cubicBezTo>
                      <a:pt x="43" y="82"/>
                      <a:pt x="43" y="82"/>
                      <a:pt x="43" y="82"/>
                    </a:cubicBezTo>
                  </a:path>
                </a:pathLst>
              </a:custGeom>
              <a:noFill/>
              <a:ln w="12700" cap="rnd">
                <a:solidFill>
                  <a:srgbClr val="AF1C6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32" name="Line 10">
                <a:extLst>
                  <a:ext uri="{FF2B5EF4-FFF2-40B4-BE49-F238E27FC236}">
                    <a16:creationId xmlns:a16="http://schemas.microsoft.com/office/drawing/2014/main" id="{CB41578F-29DA-4F39-BD54-075CC837B0E7}"/>
                  </a:ext>
                </a:extLst>
              </p:cNvPr>
              <p:cNvSpPr>
                <a:spLocks noChangeShapeType="1"/>
              </p:cNvSpPr>
              <p:nvPr/>
            </p:nvSpPr>
            <p:spPr bwMode="auto">
              <a:xfrm flipH="1">
                <a:off x="4159324" y="5564621"/>
                <a:ext cx="66472" cy="57343"/>
              </a:xfrm>
              <a:prstGeom prst="line">
                <a:avLst/>
              </a:prstGeom>
              <a:noFill/>
              <a:ln w="12700" cap="rnd">
                <a:solidFill>
                  <a:schemeClr val="accent6">
                    <a:lumMod val="50000"/>
                  </a:schemeClr>
                </a:solidFill>
                <a:prstDash val="solid"/>
                <a:round/>
                <a:headEnd/>
                <a:tailEnd/>
              </a:ln>
            </p:spPr>
            <p:txBody>
              <a:bodyPr/>
              <a:lstStyle/>
              <a:p>
                <a:pPr algn="ctr">
                  <a:defRPr/>
                </a:pPr>
                <a:endParaRPr lang="en-US">
                  <a:solidFill>
                    <a:srgbClr val="505150"/>
                  </a:solidFill>
                </a:endParaRPr>
              </a:p>
            </p:txBody>
          </p:sp>
        </p:grpSp>
      </p:grpSp>
      <p:grpSp>
        <p:nvGrpSpPr>
          <p:cNvPr id="33" name="Group 84">
            <a:extLst>
              <a:ext uri="{FF2B5EF4-FFF2-40B4-BE49-F238E27FC236}">
                <a16:creationId xmlns:a16="http://schemas.microsoft.com/office/drawing/2014/main" id="{C5D7E608-6537-47CC-A842-28DF7CBD6EF1}"/>
              </a:ext>
            </a:extLst>
          </p:cNvPr>
          <p:cNvGrpSpPr>
            <a:grpSpLocks/>
          </p:cNvGrpSpPr>
          <p:nvPr/>
        </p:nvGrpSpPr>
        <p:grpSpPr bwMode="auto">
          <a:xfrm>
            <a:off x="7527925" y="1219202"/>
            <a:ext cx="1754188" cy="1520825"/>
            <a:chOff x="1507524" y="1317797"/>
            <a:chExt cx="1754660" cy="1520653"/>
          </a:xfrm>
        </p:grpSpPr>
        <p:sp>
          <p:nvSpPr>
            <p:cNvPr id="34" name="Rounded Rectangle 50">
              <a:extLst>
                <a:ext uri="{FF2B5EF4-FFF2-40B4-BE49-F238E27FC236}">
                  <a16:creationId xmlns:a16="http://schemas.microsoft.com/office/drawing/2014/main" id="{95556167-6C89-4030-B031-6C76CC08BCE8}"/>
                </a:ext>
              </a:extLst>
            </p:cNvPr>
            <p:cNvSpPr/>
            <p:nvPr/>
          </p:nvSpPr>
          <p:spPr>
            <a:xfrm>
              <a:off x="1507524" y="1473354"/>
              <a:ext cx="1754660" cy="1365096"/>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35" name="Oval 34">
              <a:extLst>
                <a:ext uri="{FF2B5EF4-FFF2-40B4-BE49-F238E27FC236}">
                  <a16:creationId xmlns:a16="http://schemas.microsoft.com/office/drawing/2014/main" id="{6185672C-F2B6-48D1-BE4B-70CB256EE3FD}"/>
                </a:ext>
              </a:extLst>
            </p:cNvPr>
            <p:cNvSpPr/>
            <p:nvPr/>
          </p:nvSpPr>
          <p:spPr>
            <a:xfrm>
              <a:off x="2228443" y="1317797"/>
              <a:ext cx="312822" cy="3142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4</a:t>
              </a:r>
            </a:p>
          </p:txBody>
        </p:sp>
      </p:grpSp>
      <p:sp>
        <p:nvSpPr>
          <p:cNvPr id="36" name="Rectangle 35">
            <a:extLst>
              <a:ext uri="{FF2B5EF4-FFF2-40B4-BE49-F238E27FC236}">
                <a16:creationId xmlns:a16="http://schemas.microsoft.com/office/drawing/2014/main" id="{82BD18B0-B653-4344-80AE-84E7DC7F2B80}"/>
              </a:ext>
            </a:extLst>
          </p:cNvPr>
          <p:cNvSpPr>
            <a:spLocks/>
          </p:cNvSpPr>
          <p:nvPr/>
        </p:nvSpPr>
        <p:spPr>
          <a:xfrm>
            <a:off x="7665405" y="1963739"/>
            <a:ext cx="1562100" cy="18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In Review)</a:t>
            </a:r>
          </a:p>
        </p:txBody>
      </p:sp>
      <p:sp>
        <p:nvSpPr>
          <p:cNvPr id="37" name="Rounded Rectangle 35">
            <a:extLst>
              <a:ext uri="{FF2B5EF4-FFF2-40B4-BE49-F238E27FC236}">
                <a16:creationId xmlns:a16="http://schemas.microsoft.com/office/drawing/2014/main" id="{37B857A2-030B-43DD-84DF-5048EA81DFB9}"/>
              </a:ext>
            </a:extLst>
          </p:cNvPr>
          <p:cNvSpPr/>
          <p:nvPr/>
        </p:nvSpPr>
        <p:spPr>
          <a:xfrm>
            <a:off x="3514725" y="1373190"/>
            <a:ext cx="1754188" cy="1366837"/>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38" name="Oval 37">
            <a:extLst>
              <a:ext uri="{FF2B5EF4-FFF2-40B4-BE49-F238E27FC236}">
                <a16:creationId xmlns:a16="http://schemas.microsoft.com/office/drawing/2014/main" id="{CDF75448-8DD9-4D3E-8946-4B006228661A}"/>
              </a:ext>
            </a:extLst>
          </p:cNvPr>
          <p:cNvSpPr/>
          <p:nvPr/>
        </p:nvSpPr>
        <p:spPr>
          <a:xfrm>
            <a:off x="4233867" y="1219200"/>
            <a:ext cx="314325" cy="3127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2</a:t>
            </a:r>
          </a:p>
        </p:txBody>
      </p:sp>
      <p:sp>
        <p:nvSpPr>
          <p:cNvPr id="39" name="Rectangle 5">
            <a:extLst>
              <a:ext uri="{FF2B5EF4-FFF2-40B4-BE49-F238E27FC236}">
                <a16:creationId xmlns:a16="http://schemas.microsoft.com/office/drawing/2014/main" id="{DE9AABCF-A73B-4BBA-872C-14502F79C6CE}"/>
              </a:ext>
            </a:extLst>
          </p:cNvPr>
          <p:cNvSpPr/>
          <p:nvPr/>
        </p:nvSpPr>
        <p:spPr>
          <a:xfrm>
            <a:off x="3546496" y="1897698"/>
            <a:ext cx="1646238" cy="369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AA Objective Review Signoff (Manager)</a:t>
            </a:r>
          </a:p>
        </p:txBody>
      </p:sp>
      <p:cxnSp>
        <p:nvCxnSpPr>
          <p:cNvPr id="40" name="Straight Connector 39">
            <a:extLst>
              <a:ext uri="{FF2B5EF4-FFF2-40B4-BE49-F238E27FC236}">
                <a16:creationId xmlns:a16="http://schemas.microsoft.com/office/drawing/2014/main" id="{C2A2D111-9F28-4198-87DE-A62D3F2720CA}"/>
              </a:ext>
            </a:extLst>
          </p:cNvPr>
          <p:cNvCxnSpPr/>
          <p:nvPr/>
        </p:nvCxnSpPr>
        <p:spPr>
          <a:xfrm>
            <a:off x="0" y="4184650"/>
            <a:ext cx="99060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pic>
        <p:nvPicPr>
          <p:cNvPr id="41" name="Image 3" descr="MyPath_logo RVB LD.jpg">
            <a:extLst>
              <a:ext uri="{FF2B5EF4-FFF2-40B4-BE49-F238E27FC236}">
                <a16:creationId xmlns:a16="http://schemas.microsoft.com/office/drawing/2014/main" id="{77558D0F-793E-4B21-8BA5-E5469C0FE5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27925" y="105770"/>
            <a:ext cx="1490663"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5210923"/>
      </p:ext>
    </p:extLst>
  </p:cSld>
  <p:clrMapOvr>
    <a:masterClrMapping/>
  </p:clrMapOvr>
  <p:transition spd="slow">
    <p:pull/>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37" name="Groupe 36">
            <a:extLst>
              <a:ext uri="{FF2B5EF4-FFF2-40B4-BE49-F238E27FC236}">
                <a16:creationId xmlns:a16="http://schemas.microsoft.com/office/drawing/2014/main" id="{A67AAE1D-52B8-4F76-8489-5110950CBFD7}"/>
              </a:ext>
            </a:extLst>
          </p:cNvPr>
          <p:cNvGrpSpPr/>
          <p:nvPr/>
        </p:nvGrpSpPr>
        <p:grpSpPr>
          <a:xfrm>
            <a:off x="-1452278" y="-539644"/>
            <a:ext cx="12659728" cy="11197245"/>
            <a:chOff x="13419" y="-1081707"/>
            <a:chExt cx="15581204" cy="13781225"/>
          </a:xfrm>
        </p:grpSpPr>
        <p:grpSp>
          <p:nvGrpSpPr>
            <p:cNvPr id="33" name="Groupe 32">
              <a:extLst>
                <a:ext uri="{FF2B5EF4-FFF2-40B4-BE49-F238E27FC236}">
                  <a16:creationId xmlns:a16="http://schemas.microsoft.com/office/drawing/2014/main" id="{44C0EE30-6F53-4B6C-B37A-B66574D766FD}"/>
                </a:ext>
              </a:extLst>
            </p:cNvPr>
            <p:cNvGrpSpPr/>
            <p:nvPr/>
          </p:nvGrpSpPr>
          <p:grpSpPr>
            <a:xfrm>
              <a:off x="13419" y="-1081707"/>
              <a:ext cx="15581204" cy="13781225"/>
              <a:chOff x="-1" y="-1095860"/>
              <a:chExt cx="15581204" cy="13781225"/>
            </a:xfrm>
          </p:grpSpPr>
          <p:sp>
            <p:nvSpPr>
              <p:cNvPr id="24" name="Freeform 9">
                <a:extLst>
                  <a:ext uri="{FF2B5EF4-FFF2-40B4-BE49-F238E27FC236}">
                    <a16:creationId xmlns:a16="http://schemas.microsoft.com/office/drawing/2014/main" id="{44CA2683-947A-4B19-8E9A-82DCC855F13C}"/>
                  </a:ext>
                </a:extLst>
              </p:cNvPr>
              <p:cNvSpPr>
                <a:spLocks/>
              </p:cNvSpPr>
              <p:nvPr/>
            </p:nvSpPr>
            <p:spPr bwMode="auto">
              <a:xfrm>
                <a:off x="-1" y="0"/>
                <a:ext cx="5349173" cy="9082088"/>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7904 w 8893"/>
                  <a:gd name="connsiteY0" fmla="*/ 2823 h 10000"/>
                  <a:gd name="connsiteX1" fmla="*/ 499 w 8893"/>
                  <a:gd name="connsiteY1" fmla="*/ 0 h 10000"/>
                  <a:gd name="connsiteX2" fmla="*/ 0 w 8893"/>
                  <a:gd name="connsiteY2" fmla="*/ 0 h 10000"/>
                  <a:gd name="connsiteX3" fmla="*/ 0 w 8893"/>
                  <a:gd name="connsiteY3" fmla="*/ 10000 h 10000"/>
                  <a:gd name="connsiteX4" fmla="*/ 7904 w 8893"/>
                  <a:gd name="connsiteY4" fmla="*/ 2823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3" h="10000">
                    <a:moveTo>
                      <a:pt x="7904" y="2823"/>
                    </a:moveTo>
                    <a:cubicBezTo>
                      <a:pt x="7218" y="3641"/>
                      <a:pt x="2271" y="2007"/>
                      <a:pt x="499" y="0"/>
                    </a:cubicBezTo>
                    <a:lnTo>
                      <a:pt x="0" y="0"/>
                    </a:lnTo>
                    <a:lnTo>
                      <a:pt x="0" y="10000"/>
                    </a:lnTo>
                    <a:cubicBezTo>
                      <a:pt x="9370" y="7274"/>
                      <a:pt x="10000" y="3400"/>
                      <a:pt x="7904" y="2823"/>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544">
                  <a:solidFill>
                    <a:schemeClr val="bg1"/>
                  </a:solidFill>
                </a:endParaRPr>
              </a:p>
            </p:txBody>
          </p:sp>
          <p:sp>
            <p:nvSpPr>
              <p:cNvPr id="30" name="Freeform 9">
                <a:extLst>
                  <a:ext uri="{FF2B5EF4-FFF2-40B4-BE49-F238E27FC236}">
                    <a16:creationId xmlns:a16="http://schemas.microsoft.com/office/drawing/2014/main" id="{9D8A74B6-467C-4D3E-830A-733EC2C7F1FB}"/>
                  </a:ext>
                </a:extLst>
              </p:cNvPr>
              <p:cNvSpPr>
                <a:spLocks/>
              </p:cNvSpPr>
              <p:nvPr/>
            </p:nvSpPr>
            <p:spPr bwMode="auto">
              <a:xfrm rot="2232782" flipH="1">
                <a:off x="2545061" y="1573453"/>
                <a:ext cx="11701149" cy="11111912"/>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13887 w 14876"/>
                  <a:gd name="connsiteY0" fmla="*/ 2823 h 10071"/>
                  <a:gd name="connsiteX1" fmla="*/ 6482 w 14876"/>
                  <a:gd name="connsiteY1" fmla="*/ 0 h 10071"/>
                  <a:gd name="connsiteX2" fmla="*/ 0 w 14876"/>
                  <a:gd name="connsiteY2" fmla="*/ 1435 h 10071"/>
                  <a:gd name="connsiteX3" fmla="*/ 5983 w 14876"/>
                  <a:gd name="connsiteY3" fmla="*/ 10000 h 10071"/>
                  <a:gd name="connsiteX4" fmla="*/ 13887 w 14876"/>
                  <a:gd name="connsiteY4" fmla="*/ 2823 h 10071"/>
                  <a:gd name="connsiteX0" fmla="*/ 13919 w 14908"/>
                  <a:gd name="connsiteY0" fmla="*/ 4372 h 11549"/>
                  <a:gd name="connsiteX1" fmla="*/ 3586 w 14908"/>
                  <a:gd name="connsiteY1" fmla="*/ 0 h 11549"/>
                  <a:gd name="connsiteX2" fmla="*/ 32 w 14908"/>
                  <a:gd name="connsiteY2" fmla="*/ 2984 h 11549"/>
                  <a:gd name="connsiteX3" fmla="*/ 6015 w 14908"/>
                  <a:gd name="connsiteY3" fmla="*/ 11549 h 11549"/>
                  <a:gd name="connsiteX4" fmla="*/ 13919 w 14908"/>
                  <a:gd name="connsiteY4" fmla="*/ 4372 h 11549"/>
                  <a:gd name="connsiteX0" fmla="*/ 13963 w 14952"/>
                  <a:gd name="connsiteY0" fmla="*/ 4372 h 11549"/>
                  <a:gd name="connsiteX1" fmla="*/ 3630 w 14952"/>
                  <a:gd name="connsiteY1" fmla="*/ 0 h 11549"/>
                  <a:gd name="connsiteX2" fmla="*/ 76 w 14952"/>
                  <a:gd name="connsiteY2" fmla="*/ 2984 h 11549"/>
                  <a:gd name="connsiteX3" fmla="*/ 6059 w 14952"/>
                  <a:gd name="connsiteY3" fmla="*/ 11549 h 11549"/>
                  <a:gd name="connsiteX4" fmla="*/ 13963 w 14952"/>
                  <a:gd name="connsiteY4" fmla="*/ 4372 h 11549"/>
                  <a:gd name="connsiteX0" fmla="*/ 13210 w 14199"/>
                  <a:gd name="connsiteY0" fmla="*/ 4372 h 11549"/>
                  <a:gd name="connsiteX1" fmla="*/ 2877 w 14199"/>
                  <a:gd name="connsiteY1" fmla="*/ 0 h 11549"/>
                  <a:gd name="connsiteX2" fmla="*/ 136 w 14199"/>
                  <a:gd name="connsiteY2" fmla="*/ 2359 h 11549"/>
                  <a:gd name="connsiteX3" fmla="*/ 5306 w 14199"/>
                  <a:gd name="connsiteY3" fmla="*/ 11549 h 11549"/>
                  <a:gd name="connsiteX4" fmla="*/ 13210 w 14199"/>
                  <a:gd name="connsiteY4" fmla="*/ 4372 h 11549"/>
                  <a:gd name="connsiteX0" fmla="*/ 13286 w 14275"/>
                  <a:gd name="connsiteY0" fmla="*/ 4372 h 11549"/>
                  <a:gd name="connsiteX1" fmla="*/ 2953 w 14275"/>
                  <a:gd name="connsiteY1" fmla="*/ 0 h 11549"/>
                  <a:gd name="connsiteX2" fmla="*/ 212 w 14275"/>
                  <a:gd name="connsiteY2" fmla="*/ 2359 h 11549"/>
                  <a:gd name="connsiteX3" fmla="*/ 5382 w 14275"/>
                  <a:gd name="connsiteY3" fmla="*/ 11549 h 11549"/>
                  <a:gd name="connsiteX4" fmla="*/ 13286 w 14275"/>
                  <a:gd name="connsiteY4" fmla="*/ 4372 h 11549"/>
                  <a:gd name="connsiteX0" fmla="*/ 13205 w 14194"/>
                  <a:gd name="connsiteY0" fmla="*/ 4372 h 11549"/>
                  <a:gd name="connsiteX1" fmla="*/ 2872 w 14194"/>
                  <a:gd name="connsiteY1" fmla="*/ 0 h 11549"/>
                  <a:gd name="connsiteX2" fmla="*/ 131 w 14194"/>
                  <a:gd name="connsiteY2" fmla="*/ 2359 h 11549"/>
                  <a:gd name="connsiteX3" fmla="*/ 5301 w 14194"/>
                  <a:gd name="connsiteY3" fmla="*/ 11549 h 11549"/>
                  <a:gd name="connsiteX4" fmla="*/ 13205 w 14194"/>
                  <a:gd name="connsiteY4" fmla="*/ 4372 h 11549"/>
                  <a:gd name="connsiteX0" fmla="*/ 13221 w 14210"/>
                  <a:gd name="connsiteY0" fmla="*/ 4366 h 11543"/>
                  <a:gd name="connsiteX1" fmla="*/ 2823 w 14210"/>
                  <a:gd name="connsiteY1" fmla="*/ 0 h 11543"/>
                  <a:gd name="connsiteX2" fmla="*/ 147 w 14210"/>
                  <a:gd name="connsiteY2" fmla="*/ 2353 h 11543"/>
                  <a:gd name="connsiteX3" fmla="*/ 5317 w 14210"/>
                  <a:gd name="connsiteY3" fmla="*/ 11543 h 11543"/>
                  <a:gd name="connsiteX4" fmla="*/ 13221 w 14210"/>
                  <a:gd name="connsiteY4" fmla="*/ 4366 h 11543"/>
                  <a:gd name="connsiteX0" fmla="*/ 13221 w 14210"/>
                  <a:gd name="connsiteY0" fmla="*/ 4366 h 11543"/>
                  <a:gd name="connsiteX1" fmla="*/ 2823 w 14210"/>
                  <a:gd name="connsiteY1" fmla="*/ 0 h 11543"/>
                  <a:gd name="connsiteX2" fmla="*/ 147 w 14210"/>
                  <a:gd name="connsiteY2" fmla="*/ 2353 h 11543"/>
                  <a:gd name="connsiteX3" fmla="*/ 5317 w 14210"/>
                  <a:gd name="connsiteY3" fmla="*/ 11543 h 11543"/>
                  <a:gd name="connsiteX4" fmla="*/ 13221 w 14210"/>
                  <a:gd name="connsiteY4" fmla="*/ 4366 h 11543"/>
                  <a:gd name="connsiteX0" fmla="*/ 13284 w 14273"/>
                  <a:gd name="connsiteY0" fmla="*/ 4366 h 11543"/>
                  <a:gd name="connsiteX1" fmla="*/ 2886 w 14273"/>
                  <a:gd name="connsiteY1" fmla="*/ 0 h 11543"/>
                  <a:gd name="connsiteX2" fmla="*/ 210 w 14273"/>
                  <a:gd name="connsiteY2" fmla="*/ 2353 h 11543"/>
                  <a:gd name="connsiteX3" fmla="*/ 5380 w 14273"/>
                  <a:gd name="connsiteY3" fmla="*/ 11543 h 11543"/>
                  <a:gd name="connsiteX4" fmla="*/ 13284 w 14273"/>
                  <a:gd name="connsiteY4" fmla="*/ 4366 h 11543"/>
                  <a:gd name="connsiteX0" fmla="*/ 14074 w 15063"/>
                  <a:gd name="connsiteY0" fmla="*/ 4366 h 11543"/>
                  <a:gd name="connsiteX1" fmla="*/ 3676 w 15063"/>
                  <a:gd name="connsiteY1" fmla="*/ 0 h 11543"/>
                  <a:gd name="connsiteX2" fmla="*/ 189 w 15063"/>
                  <a:gd name="connsiteY2" fmla="*/ 3043 h 11543"/>
                  <a:gd name="connsiteX3" fmla="*/ 6170 w 15063"/>
                  <a:gd name="connsiteY3" fmla="*/ 11543 h 11543"/>
                  <a:gd name="connsiteX4" fmla="*/ 14074 w 15063"/>
                  <a:gd name="connsiteY4" fmla="*/ 4366 h 11543"/>
                  <a:gd name="connsiteX0" fmla="*/ 13926 w 14915"/>
                  <a:gd name="connsiteY0" fmla="*/ 4366 h 11543"/>
                  <a:gd name="connsiteX1" fmla="*/ 3528 w 14915"/>
                  <a:gd name="connsiteY1" fmla="*/ 0 h 11543"/>
                  <a:gd name="connsiteX2" fmla="*/ 41 w 14915"/>
                  <a:gd name="connsiteY2" fmla="*/ 3043 h 11543"/>
                  <a:gd name="connsiteX3" fmla="*/ 6022 w 14915"/>
                  <a:gd name="connsiteY3" fmla="*/ 11543 h 11543"/>
                  <a:gd name="connsiteX4" fmla="*/ 13926 w 14915"/>
                  <a:gd name="connsiteY4" fmla="*/ 4366 h 11543"/>
                  <a:gd name="connsiteX0" fmla="*/ 14000 w 14989"/>
                  <a:gd name="connsiteY0" fmla="*/ 4508 h 11685"/>
                  <a:gd name="connsiteX1" fmla="*/ 3602 w 14989"/>
                  <a:gd name="connsiteY1" fmla="*/ 142 h 11685"/>
                  <a:gd name="connsiteX2" fmla="*/ 2257 w 14989"/>
                  <a:gd name="connsiteY2" fmla="*/ 1250 h 11685"/>
                  <a:gd name="connsiteX3" fmla="*/ 115 w 14989"/>
                  <a:gd name="connsiteY3" fmla="*/ 3185 h 11685"/>
                  <a:gd name="connsiteX4" fmla="*/ 6096 w 14989"/>
                  <a:gd name="connsiteY4" fmla="*/ 11685 h 11685"/>
                  <a:gd name="connsiteX5" fmla="*/ 14000 w 14989"/>
                  <a:gd name="connsiteY5" fmla="*/ 4508 h 11685"/>
                  <a:gd name="connsiteX0" fmla="*/ 14000 w 14989"/>
                  <a:gd name="connsiteY0" fmla="*/ 4508 h 11685"/>
                  <a:gd name="connsiteX1" fmla="*/ 3602 w 14989"/>
                  <a:gd name="connsiteY1" fmla="*/ 142 h 11685"/>
                  <a:gd name="connsiteX2" fmla="*/ 2257 w 14989"/>
                  <a:gd name="connsiteY2" fmla="*/ 1250 h 11685"/>
                  <a:gd name="connsiteX3" fmla="*/ 115 w 14989"/>
                  <a:gd name="connsiteY3" fmla="*/ 3185 h 11685"/>
                  <a:gd name="connsiteX4" fmla="*/ 6096 w 14989"/>
                  <a:gd name="connsiteY4" fmla="*/ 11685 h 11685"/>
                  <a:gd name="connsiteX5" fmla="*/ 14000 w 14989"/>
                  <a:gd name="connsiteY5" fmla="*/ 4508 h 11685"/>
                  <a:gd name="connsiteX0" fmla="*/ 14194 w 15183"/>
                  <a:gd name="connsiteY0" fmla="*/ 4448 h 11625"/>
                  <a:gd name="connsiteX1" fmla="*/ 3796 w 15183"/>
                  <a:gd name="connsiteY1" fmla="*/ 82 h 11625"/>
                  <a:gd name="connsiteX2" fmla="*/ 1160 w 15183"/>
                  <a:gd name="connsiteY2" fmla="*/ 2367 h 11625"/>
                  <a:gd name="connsiteX3" fmla="*/ 309 w 15183"/>
                  <a:gd name="connsiteY3" fmla="*/ 3125 h 11625"/>
                  <a:gd name="connsiteX4" fmla="*/ 6290 w 15183"/>
                  <a:gd name="connsiteY4" fmla="*/ 11625 h 11625"/>
                  <a:gd name="connsiteX5" fmla="*/ 14194 w 15183"/>
                  <a:gd name="connsiteY5" fmla="*/ 4448 h 11625"/>
                  <a:gd name="connsiteX0" fmla="*/ 14194 w 15183"/>
                  <a:gd name="connsiteY0" fmla="*/ 4366 h 11543"/>
                  <a:gd name="connsiteX1" fmla="*/ 3796 w 15183"/>
                  <a:gd name="connsiteY1" fmla="*/ 0 h 11543"/>
                  <a:gd name="connsiteX2" fmla="*/ 1160 w 15183"/>
                  <a:gd name="connsiteY2" fmla="*/ 2285 h 11543"/>
                  <a:gd name="connsiteX3" fmla="*/ 309 w 15183"/>
                  <a:gd name="connsiteY3" fmla="*/ 3043 h 11543"/>
                  <a:gd name="connsiteX4" fmla="*/ 6290 w 15183"/>
                  <a:gd name="connsiteY4" fmla="*/ 11543 h 11543"/>
                  <a:gd name="connsiteX5" fmla="*/ 14194 w 15183"/>
                  <a:gd name="connsiteY5" fmla="*/ 4366 h 11543"/>
                  <a:gd name="connsiteX0" fmla="*/ 13093 w 14082"/>
                  <a:gd name="connsiteY0" fmla="*/ 4366 h 11543"/>
                  <a:gd name="connsiteX1" fmla="*/ 2695 w 14082"/>
                  <a:gd name="connsiteY1" fmla="*/ 0 h 11543"/>
                  <a:gd name="connsiteX2" fmla="*/ 59 w 14082"/>
                  <a:gd name="connsiteY2" fmla="*/ 2285 h 11543"/>
                  <a:gd name="connsiteX3" fmla="*/ 5189 w 14082"/>
                  <a:gd name="connsiteY3" fmla="*/ 11543 h 11543"/>
                  <a:gd name="connsiteX4" fmla="*/ 13093 w 14082"/>
                  <a:gd name="connsiteY4" fmla="*/ 4366 h 11543"/>
                  <a:gd name="connsiteX0" fmla="*/ 13948 w 14937"/>
                  <a:gd name="connsiteY0" fmla="*/ 4366 h 11543"/>
                  <a:gd name="connsiteX1" fmla="*/ 3550 w 14937"/>
                  <a:gd name="connsiteY1" fmla="*/ 0 h 11543"/>
                  <a:gd name="connsiteX2" fmla="*/ 42 w 14937"/>
                  <a:gd name="connsiteY2" fmla="*/ 2995 h 11543"/>
                  <a:gd name="connsiteX3" fmla="*/ 6044 w 14937"/>
                  <a:gd name="connsiteY3" fmla="*/ 11543 h 11543"/>
                  <a:gd name="connsiteX4" fmla="*/ 13948 w 14937"/>
                  <a:gd name="connsiteY4" fmla="*/ 4366 h 11543"/>
                  <a:gd name="connsiteX0" fmla="*/ 14198 w 15187"/>
                  <a:gd name="connsiteY0" fmla="*/ 4366 h 11543"/>
                  <a:gd name="connsiteX1" fmla="*/ 3800 w 15187"/>
                  <a:gd name="connsiteY1" fmla="*/ 0 h 11543"/>
                  <a:gd name="connsiteX2" fmla="*/ 292 w 15187"/>
                  <a:gd name="connsiteY2" fmla="*/ 2995 h 11543"/>
                  <a:gd name="connsiteX3" fmla="*/ 6294 w 15187"/>
                  <a:gd name="connsiteY3" fmla="*/ 11543 h 11543"/>
                  <a:gd name="connsiteX4" fmla="*/ 14198 w 15187"/>
                  <a:gd name="connsiteY4" fmla="*/ 4366 h 11543"/>
                  <a:gd name="connsiteX0" fmla="*/ 14168 w 15157"/>
                  <a:gd name="connsiteY0" fmla="*/ 4366 h 11543"/>
                  <a:gd name="connsiteX1" fmla="*/ 3770 w 15157"/>
                  <a:gd name="connsiteY1" fmla="*/ 0 h 11543"/>
                  <a:gd name="connsiteX2" fmla="*/ 262 w 15157"/>
                  <a:gd name="connsiteY2" fmla="*/ 2995 h 11543"/>
                  <a:gd name="connsiteX3" fmla="*/ 6264 w 15157"/>
                  <a:gd name="connsiteY3" fmla="*/ 11543 h 11543"/>
                  <a:gd name="connsiteX4" fmla="*/ 14168 w 15157"/>
                  <a:gd name="connsiteY4" fmla="*/ 4366 h 1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7" h="11543">
                    <a:moveTo>
                      <a:pt x="14168" y="4366"/>
                    </a:moveTo>
                    <a:cubicBezTo>
                      <a:pt x="13482" y="5184"/>
                      <a:pt x="5576" y="3052"/>
                      <a:pt x="3770" y="0"/>
                    </a:cubicBezTo>
                    <a:cubicBezTo>
                      <a:pt x="2598" y="975"/>
                      <a:pt x="1868" y="1628"/>
                      <a:pt x="262" y="2995"/>
                    </a:cubicBezTo>
                    <a:cubicBezTo>
                      <a:pt x="-1344" y="4362"/>
                      <a:pt x="4932" y="9793"/>
                      <a:pt x="6264" y="11543"/>
                    </a:cubicBezTo>
                    <a:cubicBezTo>
                      <a:pt x="15634" y="8817"/>
                      <a:pt x="16264" y="4943"/>
                      <a:pt x="14168" y="4366"/>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US" sz="1544">
                  <a:solidFill>
                    <a:schemeClr val="bg1"/>
                  </a:solidFill>
                </a:endParaRPr>
              </a:p>
            </p:txBody>
          </p:sp>
          <p:sp>
            <p:nvSpPr>
              <p:cNvPr id="31" name="Freeform 9">
                <a:extLst>
                  <a:ext uri="{FF2B5EF4-FFF2-40B4-BE49-F238E27FC236}">
                    <a16:creationId xmlns:a16="http://schemas.microsoft.com/office/drawing/2014/main" id="{B4BF1E98-58DA-486D-B502-2D15D4493B29}"/>
                  </a:ext>
                </a:extLst>
              </p:cNvPr>
              <p:cNvSpPr>
                <a:spLocks/>
              </p:cNvSpPr>
              <p:nvPr/>
            </p:nvSpPr>
            <p:spPr bwMode="auto">
              <a:xfrm rot="19800000" flipH="1">
                <a:off x="5392578" y="-1095860"/>
                <a:ext cx="10188625" cy="9322684"/>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12957 w 13946"/>
                  <a:gd name="connsiteY0" fmla="*/ 2823 h 10879"/>
                  <a:gd name="connsiteX1" fmla="*/ 5552 w 13946"/>
                  <a:gd name="connsiteY1" fmla="*/ 0 h 10879"/>
                  <a:gd name="connsiteX2" fmla="*/ 0 w 13946"/>
                  <a:gd name="connsiteY2" fmla="*/ 4210 h 10879"/>
                  <a:gd name="connsiteX3" fmla="*/ 5053 w 13946"/>
                  <a:gd name="connsiteY3" fmla="*/ 10000 h 10879"/>
                  <a:gd name="connsiteX4" fmla="*/ 12957 w 13946"/>
                  <a:gd name="connsiteY4" fmla="*/ 2823 h 10879"/>
                  <a:gd name="connsiteX0" fmla="*/ 12970 w 13959"/>
                  <a:gd name="connsiteY0" fmla="*/ 1307 h 8484"/>
                  <a:gd name="connsiteX1" fmla="*/ 6975 w 13959"/>
                  <a:gd name="connsiteY1" fmla="*/ 0 h 8484"/>
                  <a:gd name="connsiteX2" fmla="*/ 13 w 13959"/>
                  <a:gd name="connsiteY2" fmla="*/ 2694 h 8484"/>
                  <a:gd name="connsiteX3" fmla="*/ 5066 w 13959"/>
                  <a:gd name="connsiteY3" fmla="*/ 8484 h 8484"/>
                  <a:gd name="connsiteX4" fmla="*/ 12970 w 13959"/>
                  <a:gd name="connsiteY4" fmla="*/ 1307 h 8484"/>
                  <a:gd name="connsiteX0" fmla="*/ 9291 w 9999"/>
                  <a:gd name="connsiteY0" fmla="*/ 1541 h 10000"/>
                  <a:gd name="connsiteX1" fmla="*/ 4997 w 9999"/>
                  <a:gd name="connsiteY1" fmla="*/ 0 h 10000"/>
                  <a:gd name="connsiteX2" fmla="*/ 9 w 9999"/>
                  <a:gd name="connsiteY2" fmla="*/ 3175 h 10000"/>
                  <a:gd name="connsiteX3" fmla="*/ 3629 w 9999"/>
                  <a:gd name="connsiteY3" fmla="*/ 10000 h 10000"/>
                  <a:gd name="connsiteX4" fmla="*/ 9291 w 9999"/>
                  <a:gd name="connsiteY4" fmla="*/ 1541 h 10000"/>
                  <a:gd name="connsiteX0" fmla="*/ 9540 w 10248"/>
                  <a:gd name="connsiteY0" fmla="*/ 1541 h 10000"/>
                  <a:gd name="connsiteX1" fmla="*/ 5245 w 10248"/>
                  <a:gd name="connsiteY1" fmla="*/ 0 h 10000"/>
                  <a:gd name="connsiteX2" fmla="*/ 257 w 10248"/>
                  <a:gd name="connsiteY2" fmla="*/ 3175 h 10000"/>
                  <a:gd name="connsiteX3" fmla="*/ 3877 w 10248"/>
                  <a:gd name="connsiteY3" fmla="*/ 10000 h 10000"/>
                  <a:gd name="connsiteX4" fmla="*/ 9540 w 10248"/>
                  <a:gd name="connsiteY4" fmla="*/ 1541 h 10000"/>
                  <a:gd name="connsiteX0" fmla="*/ 9290 w 9998"/>
                  <a:gd name="connsiteY0" fmla="*/ 1541 h 10000"/>
                  <a:gd name="connsiteX1" fmla="*/ 4995 w 9998"/>
                  <a:gd name="connsiteY1" fmla="*/ 0 h 10000"/>
                  <a:gd name="connsiteX2" fmla="*/ 7 w 9998"/>
                  <a:gd name="connsiteY2" fmla="*/ 3175 h 10000"/>
                  <a:gd name="connsiteX3" fmla="*/ 3627 w 9998"/>
                  <a:gd name="connsiteY3" fmla="*/ 10000 h 10000"/>
                  <a:gd name="connsiteX4" fmla="*/ 9290 w 9998"/>
                  <a:gd name="connsiteY4" fmla="*/ 1541 h 10000"/>
                  <a:gd name="connsiteX0" fmla="*/ 9292 w 10000"/>
                  <a:gd name="connsiteY0" fmla="*/ 1541 h 10000"/>
                  <a:gd name="connsiteX1" fmla="*/ 4996 w 10000"/>
                  <a:gd name="connsiteY1" fmla="*/ 0 h 10000"/>
                  <a:gd name="connsiteX2" fmla="*/ 7 w 10000"/>
                  <a:gd name="connsiteY2" fmla="*/ 3175 h 10000"/>
                  <a:gd name="connsiteX3" fmla="*/ 3628 w 10000"/>
                  <a:gd name="connsiteY3" fmla="*/ 10000 h 10000"/>
                  <a:gd name="connsiteX4" fmla="*/ 9292 w 10000"/>
                  <a:gd name="connsiteY4" fmla="*/ 1541 h 10000"/>
                  <a:gd name="connsiteX0" fmla="*/ 9292 w 10000"/>
                  <a:gd name="connsiteY0" fmla="*/ 1541 h 10000"/>
                  <a:gd name="connsiteX1" fmla="*/ 4996 w 10000"/>
                  <a:gd name="connsiteY1" fmla="*/ 0 h 10000"/>
                  <a:gd name="connsiteX2" fmla="*/ 979 w 10000"/>
                  <a:gd name="connsiteY2" fmla="*/ 2549 h 10000"/>
                  <a:gd name="connsiteX3" fmla="*/ 7 w 10000"/>
                  <a:gd name="connsiteY3" fmla="*/ 3175 h 10000"/>
                  <a:gd name="connsiteX4" fmla="*/ 3628 w 10000"/>
                  <a:gd name="connsiteY4" fmla="*/ 10000 h 10000"/>
                  <a:gd name="connsiteX5" fmla="*/ 9292 w 10000"/>
                  <a:gd name="connsiteY5" fmla="*/ 1541 h 10000"/>
                  <a:gd name="connsiteX0" fmla="*/ 8313 w 9021"/>
                  <a:gd name="connsiteY0" fmla="*/ 1541 h 10000"/>
                  <a:gd name="connsiteX1" fmla="*/ 4017 w 9021"/>
                  <a:gd name="connsiteY1" fmla="*/ 0 h 10000"/>
                  <a:gd name="connsiteX2" fmla="*/ 0 w 9021"/>
                  <a:gd name="connsiteY2" fmla="*/ 2549 h 10000"/>
                  <a:gd name="connsiteX3" fmla="*/ 2649 w 9021"/>
                  <a:gd name="connsiteY3" fmla="*/ 10000 h 10000"/>
                  <a:gd name="connsiteX4" fmla="*/ 8313 w 9021"/>
                  <a:gd name="connsiteY4" fmla="*/ 1541 h 10000"/>
                  <a:gd name="connsiteX0" fmla="*/ 10336 w 11121"/>
                  <a:gd name="connsiteY0" fmla="*/ 1541 h 10000"/>
                  <a:gd name="connsiteX1" fmla="*/ 5574 w 11121"/>
                  <a:gd name="connsiteY1" fmla="*/ 0 h 10000"/>
                  <a:gd name="connsiteX2" fmla="*/ 0 w 11121"/>
                  <a:gd name="connsiteY2" fmla="*/ 3158 h 10000"/>
                  <a:gd name="connsiteX3" fmla="*/ 4057 w 11121"/>
                  <a:gd name="connsiteY3" fmla="*/ 10000 h 10000"/>
                  <a:gd name="connsiteX4" fmla="*/ 10336 w 11121"/>
                  <a:gd name="connsiteY4" fmla="*/ 154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 h="10000">
                    <a:moveTo>
                      <a:pt x="10336" y="1541"/>
                    </a:moveTo>
                    <a:cubicBezTo>
                      <a:pt x="9792" y="2505"/>
                      <a:pt x="7015" y="3767"/>
                      <a:pt x="5574" y="0"/>
                    </a:cubicBezTo>
                    <a:lnTo>
                      <a:pt x="0" y="3158"/>
                    </a:lnTo>
                    <a:lnTo>
                      <a:pt x="4057" y="10000"/>
                    </a:lnTo>
                    <a:cubicBezTo>
                      <a:pt x="11501" y="6787"/>
                      <a:pt x="12001" y="2221"/>
                      <a:pt x="10336" y="1541"/>
                    </a:cubicBezTo>
                  </a:path>
                </a:pathLst>
              </a:custGeom>
              <a:solidFill>
                <a:schemeClr val="tx2"/>
              </a:solidFill>
              <a:ln>
                <a:noFill/>
              </a:ln>
            </p:spPr>
            <p:txBody>
              <a:bodyPr vert="horz" wrap="square" lIns="74295" tIns="37148" rIns="74295" bIns="37148" numCol="1" anchor="t" anchorCtr="0" compatLnSpc="1">
                <a:prstTxWarp prst="textNoShape">
                  <a:avLst/>
                </a:prstTxWarp>
              </a:bodyPr>
              <a:lstStyle/>
              <a:p>
                <a:endParaRPr lang="en-US" sz="1544">
                  <a:solidFill>
                    <a:schemeClr val="bg1"/>
                  </a:solidFill>
                </a:endParaRPr>
              </a:p>
            </p:txBody>
          </p:sp>
        </p:grpSp>
        <p:pic>
          <p:nvPicPr>
            <p:cNvPr id="38" name="Image 37">
              <a:extLst>
                <a:ext uri="{FF2B5EF4-FFF2-40B4-BE49-F238E27FC236}">
                  <a16:creationId xmlns:a16="http://schemas.microsoft.com/office/drawing/2014/main" id="{7CFA8537-4D53-4742-B6EC-3772FDF4343A}"/>
                </a:ext>
              </a:extLst>
            </p:cNvPr>
            <p:cNvPicPr>
              <a:picLocks noChangeAspect="1"/>
            </p:cNvPicPr>
            <p:nvPr/>
          </p:nvPicPr>
          <p:blipFill>
            <a:blip r:embed="rId2"/>
            <a:stretch>
              <a:fillRect/>
            </a:stretch>
          </p:blipFill>
          <p:spPr>
            <a:xfrm>
              <a:off x="3923060" y="2488137"/>
              <a:ext cx="1378457" cy="1278720"/>
            </a:xfrm>
            <a:prstGeom prst="rect">
              <a:avLst/>
            </a:prstGeom>
          </p:spPr>
        </p:pic>
      </p:grpSp>
      <p:sp>
        <p:nvSpPr>
          <p:cNvPr id="2" name="Title 1"/>
          <p:cNvSpPr>
            <a:spLocks noGrp="1"/>
          </p:cNvSpPr>
          <p:nvPr>
            <p:ph type="title"/>
          </p:nvPr>
        </p:nvSpPr>
        <p:spPr/>
        <p:txBody>
          <a:bodyPr/>
          <a:lstStyle/>
          <a:p>
            <a:r>
              <a:rPr lang="en-US" sz="2400"/>
              <a:t>Take Control of Your Career</a:t>
            </a:r>
            <a:endParaRPr lang="en-US"/>
          </a:p>
        </p:txBody>
      </p:sp>
      <p:sp>
        <p:nvSpPr>
          <p:cNvPr id="11" name="TextBox 10"/>
          <p:cNvSpPr txBox="1"/>
          <p:nvPr/>
        </p:nvSpPr>
        <p:spPr>
          <a:xfrm>
            <a:off x="5609583" y="836614"/>
            <a:ext cx="3965609" cy="677108"/>
          </a:xfrm>
          <a:prstGeom prst="rect">
            <a:avLst/>
          </a:prstGeom>
          <a:noFill/>
        </p:spPr>
        <p:txBody>
          <a:bodyPr wrap="square" rtlCol="0">
            <a:spAutoFit/>
          </a:bodyPr>
          <a:lstStyle/>
          <a:p>
            <a:r>
              <a:rPr lang="en-US" dirty="0">
                <a:solidFill>
                  <a:schemeClr val="bg1"/>
                </a:solidFill>
              </a:rPr>
              <a:t>Great things never come from comfort zones</a:t>
            </a:r>
          </a:p>
        </p:txBody>
      </p:sp>
      <p:sp>
        <p:nvSpPr>
          <p:cNvPr id="12" name="TextBox 11"/>
          <p:cNvSpPr txBox="1"/>
          <p:nvPr/>
        </p:nvSpPr>
        <p:spPr>
          <a:xfrm>
            <a:off x="41732" y="3438913"/>
            <a:ext cx="3850105" cy="677108"/>
          </a:xfrm>
          <a:prstGeom prst="rect">
            <a:avLst/>
          </a:prstGeom>
          <a:noFill/>
        </p:spPr>
        <p:txBody>
          <a:bodyPr wrap="square" rtlCol="0">
            <a:spAutoFit/>
          </a:bodyPr>
          <a:lstStyle/>
          <a:p>
            <a:r>
              <a:rPr lang="en-US" dirty="0">
                <a:solidFill>
                  <a:schemeClr val="bg1"/>
                </a:solidFill>
              </a:rPr>
              <a:t>Be successful, Be disruptive, Embrace opportunities</a:t>
            </a:r>
          </a:p>
        </p:txBody>
      </p:sp>
      <p:sp>
        <p:nvSpPr>
          <p:cNvPr id="13" name="TextBox 12"/>
          <p:cNvSpPr txBox="1"/>
          <p:nvPr/>
        </p:nvSpPr>
        <p:spPr>
          <a:xfrm>
            <a:off x="4875268" y="2862975"/>
            <a:ext cx="4273617" cy="384721"/>
          </a:xfrm>
          <a:prstGeom prst="rect">
            <a:avLst/>
          </a:prstGeom>
          <a:noFill/>
        </p:spPr>
        <p:txBody>
          <a:bodyPr wrap="square" rtlCol="0">
            <a:spAutoFit/>
          </a:bodyPr>
          <a:lstStyle/>
          <a:p>
            <a:r>
              <a:rPr lang="en-US" dirty="0">
                <a:solidFill>
                  <a:schemeClr val="bg1"/>
                </a:solidFill>
              </a:rPr>
              <a:t>Make each day your masterpiece</a:t>
            </a:r>
          </a:p>
        </p:txBody>
      </p:sp>
      <p:sp>
        <p:nvSpPr>
          <p:cNvPr id="14" name="TextBox 13"/>
          <p:cNvSpPr txBox="1"/>
          <p:nvPr/>
        </p:nvSpPr>
        <p:spPr>
          <a:xfrm>
            <a:off x="4152494" y="5424956"/>
            <a:ext cx="3282215" cy="677108"/>
          </a:xfrm>
          <a:prstGeom prst="rect">
            <a:avLst/>
          </a:prstGeom>
          <a:noFill/>
        </p:spPr>
        <p:txBody>
          <a:bodyPr wrap="square" rtlCol="0">
            <a:spAutoFit/>
          </a:bodyPr>
          <a:lstStyle/>
          <a:p>
            <a:r>
              <a:rPr lang="en-US" dirty="0">
                <a:solidFill>
                  <a:schemeClr val="bg1"/>
                </a:solidFill>
              </a:rPr>
              <a:t>Action is the foundation key to all success</a:t>
            </a:r>
          </a:p>
        </p:txBody>
      </p:sp>
    </p:spTree>
    <p:extLst>
      <p:ext uri="{BB962C8B-B14F-4D97-AF65-F5344CB8AC3E}">
        <p14:creationId xmlns:p14="http://schemas.microsoft.com/office/powerpoint/2010/main" val="4262191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1500"/>
                            </p:stCondLst>
                            <p:childTnLst>
                              <p:par>
                                <p:cTn id="9" presetID="10" presetClass="exit" presetSubtype="0" fill="hold" grpId="1" nodeType="afterEffect">
                                  <p:stCondLst>
                                    <p:cond delay="2000"/>
                                  </p:stCondLst>
                                  <p:childTnLst>
                                    <p:animEffect transition="out" filter="fade">
                                      <p:cBhvr>
                                        <p:cTn id="10" dur="500"/>
                                        <p:tgtEl>
                                          <p:spTgt spid="11"/>
                                        </p:tgtEl>
                                      </p:cBhvr>
                                    </p:animEffect>
                                    <p:set>
                                      <p:cBhvr>
                                        <p:cTn id="11" dur="1" fill="hold">
                                          <p:stCondLst>
                                            <p:cond delay="499"/>
                                          </p:stCondLst>
                                        </p:cTn>
                                        <p:tgtEl>
                                          <p:spTgt spid="11"/>
                                        </p:tgtEl>
                                        <p:attrNameLst>
                                          <p:attrName>style.visibility</p:attrName>
                                        </p:attrNameLst>
                                      </p:cBhvr>
                                      <p:to>
                                        <p:strVal val="hidden"/>
                                      </p:to>
                                    </p:set>
                                  </p:childTnLst>
                                </p:cTn>
                              </p:par>
                            </p:childTnLst>
                          </p:cTn>
                        </p:par>
                        <p:par>
                          <p:cTn id="12" fill="hold">
                            <p:stCondLst>
                              <p:cond delay="4000"/>
                            </p:stCondLst>
                            <p:childTnLst>
                              <p:par>
                                <p:cTn id="13" presetID="10" presetClass="entr" presetSubtype="0" fill="hold" grpId="0" nodeType="afterEffect">
                                  <p:stCondLst>
                                    <p:cond delay="10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5500"/>
                            </p:stCondLst>
                            <p:childTnLst>
                              <p:par>
                                <p:cTn id="17" presetID="10" presetClass="exit" presetSubtype="0" fill="hold" grpId="1" nodeType="afterEffect">
                                  <p:stCondLst>
                                    <p:cond delay="200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childTnLst>
                          </p:cTn>
                        </p:par>
                        <p:par>
                          <p:cTn id="20" fill="hold">
                            <p:stCondLst>
                              <p:cond delay="8000"/>
                            </p:stCondLst>
                            <p:childTnLst>
                              <p:par>
                                <p:cTn id="21" presetID="10" presetClass="entr" presetSubtype="0" fill="hold" grpId="0" nodeType="afterEffect">
                                  <p:stCondLst>
                                    <p:cond delay="100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9500"/>
                            </p:stCondLst>
                            <p:childTnLst>
                              <p:par>
                                <p:cTn id="25" presetID="10" presetClass="exit" presetSubtype="0" fill="hold" grpId="1" nodeType="afterEffect">
                                  <p:stCondLst>
                                    <p:cond delay="2000"/>
                                  </p:stCondLst>
                                  <p:childTnLst>
                                    <p:animEffect transition="out" filter="fade">
                                      <p:cBhvr>
                                        <p:cTn id="26" dur="500"/>
                                        <p:tgtEl>
                                          <p:spTgt spid="13"/>
                                        </p:tgtEl>
                                      </p:cBhvr>
                                    </p:animEffect>
                                    <p:set>
                                      <p:cBhvr>
                                        <p:cTn id="27" dur="1" fill="hold">
                                          <p:stCondLst>
                                            <p:cond delay="499"/>
                                          </p:stCondLst>
                                        </p:cTn>
                                        <p:tgtEl>
                                          <p:spTgt spid="13"/>
                                        </p:tgtEl>
                                        <p:attrNameLst>
                                          <p:attrName>style.visibility</p:attrName>
                                        </p:attrNameLst>
                                      </p:cBhvr>
                                      <p:to>
                                        <p:strVal val="hidden"/>
                                      </p:to>
                                    </p:set>
                                  </p:childTnLst>
                                </p:cTn>
                              </p:par>
                            </p:childTnLst>
                          </p:cTn>
                        </p:par>
                        <p:par>
                          <p:cTn id="28" fill="hold">
                            <p:stCondLst>
                              <p:cond delay="12000"/>
                            </p:stCondLst>
                            <p:childTnLst>
                              <p:par>
                                <p:cTn id="29" presetID="10" presetClass="entr" presetSubtype="0" fill="hold" grpId="0" nodeType="afterEffect">
                                  <p:stCondLst>
                                    <p:cond delay="10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13500"/>
                            </p:stCondLst>
                            <p:childTnLst>
                              <p:par>
                                <p:cTn id="33" presetID="10" presetClass="exit" presetSubtype="0" fill="hold" grpId="1" nodeType="afterEffect">
                                  <p:stCondLst>
                                    <p:cond delay="2000"/>
                                  </p:stCondLst>
                                  <p:childTnLst>
                                    <p:animEffect transition="out" filter="fade">
                                      <p:cBhvr>
                                        <p:cTn id="34" dur="500"/>
                                        <p:tgtEl>
                                          <p:spTgt spid="14"/>
                                        </p:tgtEl>
                                      </p:cBhvr>
                                    </p:animEffect>
                                    <p:set>
                                      <p:cBhvr>
                                        <p:cTn id="35"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2" grpId="0"/>
      <p:bldP spid="12" grpId="1"/>
      <p:bldP spid="13" grpId="0"/>
      <p:bldP spid="13" grpId="1"/>
      <p:bldP spid="14" grpId="0"/>
      <p:bldP spid="14"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7020">
              <a:defRPr/>
            </a:pPr>
            <a:r>
              <a:rPr lang="en-GB" sz="2100" b="1">
                <a:latin typeface="+mj-lt"/>
                <a:cs typeface="+mj-cs"/>
              </a:rPr>
              <a:t>Requesting and Giving Feedback</a:t>
            </a:r>
            <a:endParaRPr lang="en-GB" sz="2100" b="1">
              <a:latin typeface="+mj-lt"/>
              <a:ea typeface="Verdana"/>
              <a:cs typeface="Verdana"/>
            </a:endParaRPr>
          </a:p>
        </p:txBody>
      </p:sp>
      <p:pic>
        <p:nvPicPr>
          <p:cNvPr id="41" name="Image 3" descr="MyPath_logo RVB LD.jpg">
            <a:extLst>
              <a:ext uri="{FF2B5EF4-FFF2-40B4-BE49-F238E27FC236}">
                <a16:creationId xmlns:a16="http://schemas.microsoft.com/office/drawing/2014/main" id="{77558D0F-793E-4B21-8BA5-E5469C0FE5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27925" y="105770"/>
            <a:ext cx="1490663"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angle 41">
            <a:extLst>
              <a:ext uri="{FF2B5EF4-FFF2-40B4-BE49-F238E27FC236}">
                <a16:creationId xmlns:a16="http://schemas.microsoft.com/office/drawing/2014/main" id="{338284F1-4A89-4996-9BBC-282A904A05A1}"/>
              </a:ext>
            </a:extLst>
          </p:cNvPr>
          <p:cNvSpPr>
            <a:spLocks/>
          </p:cNvSpPr>
          <p:nvPr/>
        </p:nvSpPr>
        <p:spPr>
          <a:xfrm>
            <a:off x="1465462" y="3969353"/>
            <a:ext cx="1187450" cy="626366"/>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Create Feedback</a:t>
            </a:r>
          </a:p>
        </p:txBody>
      </p:sp>
      <p:sp>
        <p:nvSpPr>
          <p:cNvPr id="43" name="Rectangle 42">
            <a:extLst>
              <a:ext uri="{FF2B5EF4-FFF2-40B4-BE49-F238E27FC236}">
                <a16:creationId xmlns:a16="http://schemas.microsoft.com/office/drawing/2014/main" id="{270B5FB0-97D3-4AA9-AFAF-A84574841340}"/>
              </a:ext>
            </a:extLst>
          </p:cNvPr>
          <p:cNvSpPr>
            <a:spLocks/>
          </p:cNvSpPr>
          <p:nvPr/>
        </p:nvSpPr>
        <p:spPr>
          <a:xfrm>
            <a:off x="2924364" y="2831409"/>
            <a:ext cx="1187450" cy="626366"/>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Give Feedback</a:t>
            </a:r>
          </a:p>
        </p:txBody>
      </p:sp>
      <p:cxnSp>
        <p:nvCxnSpPr>
          <p:cNvPr id="44" name="Straight Arrow Connector 44">
            <a:extLst>
              <a:ext uri="{FF2B5EF4-FFF2-40B4-BE49-F238E27FC236}">
                <a16:creationId xmlns:a16="http://schemas.microsoft.com/office/drawing/2014/main" id="{10B87847-583C-438C-AEC7-B98D68D44AF6}"/>
              </a:ext>
            </a:extLst>
          </p:cNvPr>
          <p:cNvCxnSpPr/>
          <p:nvPr/>
        </p:nvCxnSpPr>
        <p:spPr>
          <a:xfrm flipV="1">
            <a:off x="2652716" y="3457575"/>
            <a:ext cx="865187" cy="825500"/>
          </a:xfrm>
          <a:prstGeom prst="bentConnector2">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5" name="Group 65">
            <a:extLst>
              <a:ext uri="{FF2B5EF4-FFF2-40B4-BE49-F238E27FC236}">
                <a16:creationId xmlns:a16="http://schemas.microsoft.com/office/drawing/2014/main" id="{0ADF0540-203C-486E-A97C-A4555E079C12}"/>
              </a:ext>
            </a:extLst>
          </p:cNvPr>
          <p:cNvGrpSpPr>
            <a:grpSpLocks/>
          </p:cNvGrpSpPr>
          <p:nvPr/>
        </p:nvGrpSpPr>
        <p:grpSpPr bwMode="auto">
          <a:xfrm>
            <a:off x="227021" y="2714639"/>
            <a:ext cx="1050925" cy="860425"/>
            <a:chOff x="226591" y="3339381"/>
            <a:chExt cx="1051101" cy="1000459"/>
          </a:xfrm>
        </p:grpSpPr>
        <p:sp>
          <p:nvSpPr>
            <p:cNvPr id="46" name="Content Placeholder 17">
              <a:extLst>
                <a:ext uri="{FF2B5EF4-FFF2-40B4-BE49-F238E27FC236}">
                  <a16:creationId xmlns:a16="http://schemas.microsoft.com/office/drawing/2014/main" id="{79DF371B-0ACC-4331-B1DE-E3643B7F5944}"/>
                </a:ext>
              </a:extLst>
            </p:cNvPr>
            <p:cNvSpPr txBox="1">
              <a:spLocks/>
            </p:cNvSpPr>
            <p:nvPr/>
          </p:nvSpPr>
          <p:spPr>
            <a:xfrm>
              <a:off x="226591" y="3339381"/>
              <a:ext cx="1051101" cy="429441"/>
            </a:xfrm>
            <a:prstGeom prst="rect">
              <a:avLst/>
            </a:prstGeom>
          </p:spPr>
          <p:txBody>
            <a:bodyPr lIns="0" tIns="0" rIns="0" bIns="0">
              <a:spAutoFit/>
            </a:bodyPr>
            <a:lstStyle/>
            <a:p>
              <a:pPr algn="ctr" defTabSz="914342">
                <a:buClr>
                  <a:srgbClr val="EC098D"/>
                </a:buClr>
                <a:defRPr/>
              </a:pPr>
              <a:r>
                <a:rPr lang="en-GB" sz="1200" b="1">
                  <a:solidFill>
                    <a:srgbClr val="00264A">
                      <a:lumMod val="50000"/>
                    </a:srgbClr>
                  </a:solidFill>
                </a:rPr>
                <a:t>Feedback Provider</a:t>
              </a:r>
            </a:p>
          </p:txBody>
        </p:sp>
        <p:grpSp>
          <p:nvGrpSpPr>
            <p:cNvPr id="47" name="Group 89">
              <a:extLst>
                <a:ext uri="{FF2B5EF4-FFF2-40B4-BE49-F238E27FC236}">
                  <a16:creationId xmlns:a16="http://schemas.microsoft.com/office/drawing/2014/main" id="{DEB8714A-FDF4-4447-829D-F30F6E720648}"/>
                </a:ext>
              </a:extLst>
            </p:cNvPr>
            <p:cNvGrpSpPr>
              <a:grpSpLocks/>
            </p:cNvGrpSpPr>
            <p:nvPr/>
          </p:nvGrpSpPr>
          <p:grpSpPr bwMode="auto">
            <a:xfrm>
              <a:off x="492585" y="3771900"/>
              <a:ext cx="519112" cy="567940"/>
              <a:chOff x="1652588" y="3195638"/>
              <a:chExt cx="641350" cy="701675"/>
            </a:xfrm>
          </p:grpSpPr>
          <p:sp>
            <p:nvSpPr>
              <p:cNvPr id="48" name="Freeform 5">
                <a:extLst>
                  <a:ext uri="{FF2B5EF4-FFF2-40B4-BE49-F238E27FC236}">
                    <a16:creationId xmlns:a16="http://schemas.microsoft.com/office/drawing/2014/main" id="{AB7D52B6-5503-4E77-8F5D-E5BCA03D0446}"/>
                  </a:ext>
                </a:extLst>
              </p:cNvPr>
              <p:cNvSpPr>
                <a:spLocks/>
              </p:cNvSpPr>
              <p:nvPr/>
            </p:nvSpPr>
            <p:spPr bwMode="auto">
              <a:xfrm>
                <a:off x="1751598" y="3194914"/>
                <a:ext cx="537491" cy="458384"/>
              </a:xfrm>
              <a:custGeom>
                <a:avLst/>
                <a:gdLst/>
                <a:ahLst/>
                <a:cxnLst>
                  <a:cxn ang="0">
                    <a:pos x="0" y="48"/>
                  </a:cxn>
                  <a:cxn ang="0">
                    <a:pos x="28" y="20"/>
                  </a:cxn>
                  <a:cxn ang="0">
                    <a:pos x="131" y="49"/>
                  </a:cxn>
                  <a:cxn ang="0">
                    <a:pos x="131" y="122"/>
                  </a:cxn>
                </a:cxnLst>
                <a:rect l="0" t="0" r="r" b="b"/>
                <a:pathLst>
                  <a:path w="144" h="122">
                    <a:moveTo>
                      <a:pt x="0" y="48"/>
                    </a:moveTo>
                    <a:cubicBezTo>
                      <a:pt x="6" y="37"/>
                      <a:pt x="16" y="27"/>
                      <a:pt x="28" y="20"/>
                    </a:cubicBezTo>
                    <a:cubicBezTo>
                      <a:pt x="65" y="0"/>
                      <a:pt x="110" y="13"/>
                      <a:pt x="131" y="49"/>
                    </a:cubicBezTo>
                    <a:cubicBezTo>
                      <a:pt x="144" y="73"/>
                      <a:pt x="143" y="100"/>
                      <a:pt x="131" y="122"/>
                    </a:cubicBezTo>
                  </a:path>
                </a:pathLst>
              </a:custGeom>
              <a:noFill/>
              <a:ln w="12700" cap="rnd">
                <a:solidFill>
                  <a:schemeClr val="tx2">
                    <a:lumMod val="50000"/>
                  </a:schemeClr>
                </a:solidFill>
                <a:prstDash val="solid"/>
                <a:round/>
                <a:headEnd/>
                <a:tailEnd/>
              </a:ln>
            </p:spPr>
            <p:txBody>
              <a:bodyPr/>
              <a:lstStyle/>
              <a:p>
                <a:pPr algn="ctr">
                  <a:defRPr/>
                </a:pPr>
                <a:endParaRPr lang="en-US">
                  <a:solidFill>
                    <a:srgbClr val="505150"/>
                  </a:solidFill>
                </a:endParaRPr>
              </a:p>
            </p:txBody>
          </p:sp>
          <p:sp>
            <p:nvSpPr>
              <p:cNvPr id="49" name="Freeform 6">
                <a:extLst>
                  <a:ext uri="{FF2B5EF4-FFF2-40B4-BE49-F238E27FC236}">
                    <a16:creationId xmlns:a16="http://schemas.microsoft.com/office/drawing/2014/main" id="{671BA94E-339F-4D60-BA9A-ADF309ECE847}"/>
                  </a:ext>
                </a:extLst>
              </p:cNvPr>
              <p:cNvSpPr>
                <a:spLocks/>
              </p:cNvSpPr>
              <p:nvPr/>
            </p:nvSpPr>
            <p:spPr bwMode="auto">
              <a:xfrm>
                <a:off x="2053692" y="3726275"/>
                <a:ext cx="239321" cy="125428"/>
              </a:xfrm>
              <a:custGeom>
                <a:avLst/>
                <a:gdLst/>
                <a:ahLst/>
                <a:cxnLst>
                  <a:cxn ang="0">
                    <a:pos x="34" y="0"/>
                  </a:cxn>
                  <a:cxn ang="0">
                    <a:pos x="64" y="33"/>
                  </a:cxn>
                  <a:cxn ang="0">
                    <a:pos x="0" y="27"/>
                  </a:cxn>
                </a:cxnLst>
                <a:rect l="0" t="0" r="r" b="b"/>
                <a:pathLst>
                  <a:path w="64" h="33">
                    <a:moveTo>
                      <a:pt x="34" y="0"/>
                    </a:moveTo>
                    <a:cubicBezTo>
                      <a:pt x="64" y="33"/>
                      <a:pt x="64" y="33"/>
                      <a:pt x="64" y="33"/>
                    </a:cubicBezTo>
                    <a:cubicBezTo>
                      <a:pt x="64" y="33"/>
                      <a:pt x="29" y="31"/>
                      <a:pt x="0" y="27"/>
                    </a:cubicBezTo>
                  </a:path>
                </a:pathLst>
              </a:custGeom>
              <a:noFill/>
              <a:ln w="12700" cap="rnd">
                <a:solidFill>
                  <a:schemeClr val="tx2">
                    <a:lumMod val="50000"/>
                  </a:schemeClr>
                </a:solidFill>
                <a:prstDash val="solid"/>
                <a:round/>
                <a:headEnd/>
                <a:tailEnd/>
              </a:ln>
            </p:spPr>
            <p:txBody>
              <a:bodyPr/>
              <a:lstStyle/>
              <a:p>
                <a:pPr algn="ctr">
                  <a:defRPr/>
                </a:pPr>
                <a:endParaRPr lang="en-US">
                  <a:solidFill>
                    <a:srgbClr val="505150"/>
                  </a:solidFill>
                </a:endParaRPr>
              </a:p>
            </p:txBody>
          </p:sp>
          <p:sp>
            <p:nvSpPr>
              <p:cNvPr id="50" name="Freeform 7">
                <a:extLst>
                  <a:ext uri="{FF2B5EF4-FFF2-40B4-BE49-F238E27FC236}">
                    <a16:creationId xmlns:a16="http://schemas.microsoft.com/office/drawing/2014/main" id="{5A35509E-5460-4B6B-99F4-E06B8C89939E}"/>
                  </a:ext>
                </a:extLst>
              </p:cNvPr>
              <p:cNvSpPr>
                <a:spLocks/>
              </p:cNvSpPr>
              <p:nvPr/>
            </p:nvSpPr>
            <p:spPr bwMode="auto">
              <a:xfrm>
                <a:off x="1653516" y="3345428"/>
                <a:ext cx="498258" cy="551885"/>
              </a:xfrm>
              <a:custGeom>
                <a:avLst/>
                <a:gdLst/>
                <a:ahLst/>
                <a:cxnLst>
                  <a:cxn ang="0">
                    <a:pos x="30" y="117"/>
                  </a:cxn>
                  <a:cxn ang="0">
                    <a:pos x="9" y="147"/>
                  </a:cxn>
                  <a:cxn ang="0">
                    <a:pos x="82" y="129"/>
                  </a:cxn>
                  <a:cxn ang="0">
                    <a:pos x="120" y="91"/>
                  </a:cxn>
                  <a:cxn ang="0">
                    <a:pos x="87" y="12"/>
                  </a:cxn>
                  <a:cxn ang="0">
                    <a:pos x="9" y="45"/>
                  </a:cxn>
                  <a:cxn ang="0">
                    <a:pos x="15" y="103"/>
                  </a:cxn>
                </a:cxnLst>
                <a:rect l="0" t="0" r="r" b="b"/>
                <a:pathLst>
                  <a:path w="133" h="147">
                    <a:moveTo>
                      <a:pt x="30" y="117"/>
                    </a:moveTo>
                    <a:cubicBezTo>
                      <a:pt x="9" y="147"/>
                      <a:pt x="9" y="147"/>
                      <a:pt x="9" y="147"/>
                    </a:cubicBezTo>
                    <a:cubicBezTo>
                      <a:pt x="9" y="147"/>
                      <a:pt x="63" y="137"/>
                      <a:pt x="82" y="129"/>
                    </a:cubicBezTo>
                    <a:cubicBezTo>
                      <a:pt x="94" y="124"/>
                      <a:pt x="110" y="116"/>
                      <a:pt x="120" y="91"/>
                    </a:cubicBezTo>
                    <a:cubicBezTo>
                      <a:pt x="133" y="60"/>
                      <a:pt x="118" y="25"/>
                      <a:pt x="87" y="12"/>
                    </a:cubicBezTo>
                    <a:cubicBezTo>
                      <a:pt x="56" y="0"/>
                      <a:pt x="21" y="14"/>
                      <a:pt x="9" y="45"/>
                    </a:cubicBezTo>
                    <a:cubicBezTo>
                      <a:pt x="0" y="65"/>
                      <a:pt x="4" y="87"/>
                      <a:pt x="15" y="103"/>
                    </a:cubicBezTo>
                  </a:path>
                </a:pathLst>
              </a:custGeom>
              <a:noFill/>
              <a:ln w="12700" cap="rnd">
                <a:solidFill>
                  <a:schemeClr val="tx2">
                    <a:lumMod val="50000"/>
                  </a:schemeClr>
                </a:solidFill>
                <a:prstDash val="solid"/>
                <a:round/>
                <a:headEnd/>
                <a:tailEnd/>
              </a:ln>
            </p:spPr>
            <p:txBody>
              <a:bodyPr/>
              <a:lstStyle/>
              <a:p>
                <a:pPr algn="ctr">
                  <a:defRPr/>
                </a:pPr>
                <a:endParaRPr lang="en-US">
                  <a:solidFill>
                    <a:srgbClr val="505150"/>
                  </a:solidFill>
                </a:endParaRPr>
              </a:p>
            </p:txBody>
          </p:sp>
          <p:sp>
            <p:nvSpPr>
              <p:cNvPr id="51" name="Oval 8">
                <a:extLst>
                  <a:ext uri="{FF2B5EF4-FFF2-40B4-BE49-F238E27FC236}">
                    <a16:creationId xmlns:a16="http://schemas.microsoft.com/office/drawing/2014/main" id="{A8B685AE-D8B7-4FC4-9993-9B0463EC3BC4}"/>
                  </a:ext>
                </a:extLst>
              </p:cNvPr>
              <p:cNvSpPr>
                <a:spLocks noChangeArrowheads="1"/>
              </p:cNvSpPr>
              <p:nvPr/>
            </p:nvSpPr>
            <p:spPr bwMode="auto">
              <a:xfrm>
                <a:off x="1798678" y="3673822"/>
                <a:ext cx="41194" cy="43331"/>
              </a:xfrm>
              <a:prstGeom prst="ellipse">
                <a:avLst/>
              </a:prstGeom>
              <a:solidFill>
                <a:schemeClr val="tx2">
                  <a:lumMod val="50000"/>
                </a:schemeClr>
              </a:solidFill>
              <a:ln w="9525">
                <a:noFill/>
                <a:round/>
                <a:headEnd/>
                <a:tailEnd/>
              </a:ln>
            </p:spPr>
            <p:txBody>
              <a:bodyPr/>
              <a:lstStyle/>
              <a:p>
                <a:pPr algn="ctr">
                  <a:defRPr/>
                </a:pPr>
                <a:endParaRPr lang="en-US">
                  <a:solidFill>
                    <a:srgbClr val="505150"/>
                  </a:solidFill>
                </a:endParaRPr>
              </a:p>
            </p:txBody>
          </p:sp>
          <p:sp>
            <p:nvSpPr>
              <p:cNvPr id="52" name="Oval 9">
                <a:extLst>
                  <a:ext uri="{FF2B5EF4-FFF2-40B4-BE49-F238E27FC236}">
                    <a16:creationId xmlns:a16="http://schemas.microsoft.com/office/drawing/2014/main" id="{EA15F902-BCCA-4E06-B1AB-8FFF7975E4CC}"/>
                  </a:ext>
                </a:extLst>
              </p:cNvPr>
              <p:cNvSpPr>
                <a:spLocks noChangeArrowheads="1"/>
              </p:cNvSpPr>
              <p:nvPr/>
            </p:nvSpPr>
            <p:spPr bwMode="auto">
              <a:xfrm>
                <a:off x="1888913" y="3673822"/>
                <a:ext cx="41194" cy="43331"/>
              </a:xfrm>
              <a:prstGeom prst="ellipse">
                <a:avLst/>
              </a:prstGeom>
              <a:solidFill>
                <a:schemeClr val="tx2">
                  <a:lumMod val="50000"/>
                </a:schemeClr>
              </a:solidFill>
              <a:ln w="9525">
                <a:noFill/>
                <a:round/>
                <a:headEnd/>
                <a:tailEnd/>
              </a:ln>
            </p:spPr>
            <p:txBody>
              <a:bodyPr/>
              <a:lstStyle/>
              <a:p>
                <a:pPr algn="ctr">
                  <a:defRPr/>
                </a:pPr>
                <a:endParaRPr lang="en-US">
                  <a:solidFill>
                    <a:srgbClr val="505150"/>
                  </a:solidFill>
                </a:endParaRPr>
              </a:p>
            </p:txBody>
          </p:sp>
          <p:sp>
            <p:nvSpPr>
              <p:cNvPr id="53" name="Oval 10">
                <a:extLst>
                  <a:ext uri="{FF2B5EF4-FFF2-40B4-BE49-F238E27FC236}">
                    <a16:creationId xmlns:a16="http://schemas.microsoft.com/office/drawing/2014/main" id="{CCA6F899-26D6-40A3-ACA2-1E81DDE5FA00}"/>
                  </a:ext>
                </a:extLst>
              </p:cNvPr>
              <p:cNvSpPr>
                <a:spLocks noChangeArrowheads="1"/>
              </p:cNvSpPr>
              <p:nvPr/>
            </p:nvSpPr>
            <p:spPr bwMode="auto">
              <a:xfrm>
                <a:off x="1979149" y="3673822"/>
                <a:ext cx="41194" cy="43331"/>
              </a:xfrm>
              <a:prstGeom prst="ellipse">
                <a:avLst/>
              </a:prstGeom>
              <a:solidFill>
                <a:schemeClr val="tx2">
                  <a:lumMod val="50000"/>
                </a:schemeClr>
              </a:solidFill>
              <a:ln w="9525">
                <a:noFill/>
                <a:round/>
                <a:headEnd/>
                <a:tailEnd/>
              </a:ln>
            </p:spPr>
            <p:txBody>
              <a:bodyPr/>
              <a:lstStyle/>
              <a:p>
                <a:pPr algn="ctr">
                  <a:defRPr/>
                </a:pPr>
                <a:endParaRPr lang="en-US">
                  <a:solidFill>
                    <a:srgbClr val="505150"/>
                  </a:solidFill>
                </a:endParaRPr>
              </a:p>
            </p:txBody>
          </p:sp>
        </p:grpSp>
      </p:grpSp>
      <p:sp>
        <p:nvSpPr>
          <p:cNvPr id="54" name="Rectangle 53">
            <a:extLst>
              <a:ext uri="{FF2B5EF4-FFF2-40B4-BE49-F238E27FC236}">
                <a16:creationId xmlns:a16="http://schemas.microsoft.com/office/drawing/2014/main" id="{A0214758-42B8-4764-9836-9ED60D0FED06}"/>
              </a:ext>
            </a:extLst>
          </p:cNvPr>
          <p:cNvSpPr>
            <a:spLocks/>
          </p:cNvSpPr>
          <p:nvPr/>
        </p:nvSpPr>
        <p:spPr>
          <a:xfrm>
            <a:off x="1465462" y="2831409"/>
            <a:ext cx="1187450" cy="626366"/>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Create Feedback</a:t>
            </a:r>
          </a:p>
        </p:txBody>
      </p:sp>
      <p:cxnSp>
        <p:nvCxnSpPr>
          <p:cNvPr id="55" name="Straight Arrow Connector 54">
            <a:extLst>
              <a:ext uri="{FF2B5EF4-FFF2-40B4-BE49-F238E27FC236}">
                <a16:creationId xmlns:a16="http://schemas.microsoft.com/office/drawing/2014/main" id="{0EC151F0-1852-4B96-87A3-E71363B4F5D0}"/>
              </a:ext>
            </a:extLst>
          </p:cNvPr>
          <p:cNvCxnSpPr/>
          <p:nvPr/>
        </p:nvCxnSpPr>
        <p:spPr>
          <a:xfrm>
            <a:off x="2652713" y="3144838"/>
            <a:ext cx="271462" cy="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75ECB060-7BEF-4B6D-BD9D-F66A098E6A62}"/>
              </a:ext>
            </a:extLst>
          </p:cNvPr>
          <p:cNvSpPr>
            <a:spLocks/>
          </p:cNvSpPr>
          <p:nvPr/>
        </p:nvSpPr>
        <p:spPr>
          <a:xfrm>
            <a:off x="5804328" y="2831409"/>
            <a:ext cx="1187450" cy="626366"/>
          </a:xfrm>
          <a:prstGeom prst="rect">
            <a:avLst/>
          </a:prstGeom>
          <a:solidFill>
            <a:schemeClr val="accent2"/>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50" b="1">
                <a:solidFill>
                  <a:prstClr val="white"/>
                </a:solidFill>
              </a:rPr>
              <a:t>Feedback Complete</a:t>
            </a:r>
          </a:p>
        </p:txBody>
      </p:sp>
      <p:cxnSp>
        <p:nvCxnSpPr>
          <p:cNvPr id="57" name="Straight Arrow Connector 56">
            <a:extLst>
              <a:ext uri="{FF2B5EF4-FFF2-40B4-BE49-F238E27FC236}">
                <a16:creationId xmlns:a16="http://schemas.microsoft.com/office/drawing/2014/main" id="{9CF72B5E-CFD2-4697-9C60-E005CB5EC4E8}"/>
              </a:ext>
            </a:extLst>
          </p:cNvPr>
          <p:cNvCxnSpPr/>
          <p:nvPr/>
        </p:nvCxnSpPr>
        <p:spPr>
          <a:xfrm>
            <a:off x="4111627" y="3144838"/>
            <a:ext cx="1692275" cy="0"/>
          </a:xfrm>
          <a:prstGeom prst="straightConnector1">
            <a:avLst/>
          </a:prstGeom>
          <a:ln>
            <a:solidFill>
              <a:schemeClr val="accent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8" name="Group 62">
            <a:extLst>
              <a:ext uri="{FF2B5EF4-FFF2-40B4-BE49-F238E27FC236}">
                <a16:creationId xmlns:a16="http://schemas.microsoft.com/office/drawing/2014/main" id="{DB3F047A-E5F9-470B-AAD4-3980B774C193}"/>
              </a:ext>
            </a:extLst>
          </p:cNvPr>
          <p:cNvGrpSpPr>
            <a:grpSpLocks/>
          </p:cNvGrpSpPr>
          <p:nvPr/>
        </p:nvGrpSpPr>
        <p:grpSpPr bwMode="auto">
          <a:xfrm>
            <a:off x="1847850" y="1204917"/>
            <a:ext cx="1754188" cy="1309687"/>
            <a:chOff x="2688624" y="1557391"/>
            <a:chExt cx="1754660" cy="1520653"/>
          </a:xfrm>
        </p:grpSpPr>
        <p:sp>
          <p:nvSpPr>
            <p:cNvPr id="59" name="Rounded Rectangle 21">
              <a:extLst>
                <a:ext uri="{FF2B5EF4-FFF2-40B4-BE49-F238E27FC236}">
                  <a16:creationId xmlns:a16="http://schemas.microsoft.com/office/drawing/2014/main" id="{50EAD108-A5F6-4308-9418-0C6FBDFA51A4}"/>
                </a:ext>
              </a:extLst>
            </p:cNvPr>
            <p:cNvSpPr/>
            <p:nvPr/>
          </p:nvSpPr>
          <p:spPr>
            <a:xfrm>
              <a:off x="2688624" y="1712221"/>
              <a:ext cx="1754660" cy="136582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60" name="Oval 59">
              <a:extLst>
                <a:ext uri="{FF2B5EF4-FFF2-40B4-BE49-F238E27FC236}">
                  <a16:creationId xmlns:a16="http://schemas.microsoft.com/office/drawing/2014/main" id="{D317DDD3-80FD-4705-9170-4E2D77AEFF2C}"/>
                </a:ext>
              </a:extLst>
            </p:cNvPr>
            <p:cNvSpPr/>
            <p:nvPr/>
          </p:nvSpPr>
          <p:spPr>
            <a:xfrm>
              <a:off x="3409543" y="1557391"/>
              <a:ext cx="312822" cy="3133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1</a:t>
              </a:r>
            </a:p>
          </p:txBody>
        </p:sp>
        <p:sp>
          <p:nvSpPr>
            <p:cNvPr id="61" name="Rectangle 60">
              <a:extLst>
                <a:ext uri="{FF2B5EF4-FFF2-40B4-BE49-F238E27FC236}">
                  <a16:creationId xmlns:a16="http://schemas.microsoft.com/office/drawing/2014/main" id="{FB3422EE-D1D1-4217-B634-A248E29A97CF}"/>
                </a:ext>
              </a:extLst>
            </p:cNvPr>
            <p:cNvSpPr/>
            <p:nvPr/>
          </p:nvSpPr>
          <p:spPr>
            <a:xfrm>
              <a:off x="2714031" y="2723847"/>
              <a:ext cx="1703846" cy="214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Create Feedback</a:t>
              </a:r>
            </a:p>
          </p:txBody>
        </p:sp>
        <p:grpSp>
          <p:nvGrpSpPr>
            <p:cNvPr id="62" name="Group 125">
              <a:extLst>
                <a:ext uri="{FF2B5EF4-FFF2-40B4-BE49-F238E27FC236}">
                  <a16:creationId xmlns:a16="http://schemas.microsoft.com/office/drawing/2014/main" id="{B47168E8-0D6B-4044-9FD5-E3DE267C7FE3}"/>
                </a:ext>
              </a:extLst>
            </p:cNvPr>
            <p:cNvGrpSpPr>
              <a:grpSpLocks/>
            </p:cNvGrpSpPr>
            <p:nvPr/>
          </p:nvGrpSpPr>
          <p:grpSpPr bwMode="auto">
            <a:xfrm>
              <a:off x="3176223" y="1968501"/>
              <a:ext cx="779462" cy="620293"/>
              <a:chOff x="5062538" y="4991101"/>
              <a:chExt cx="1057275" cy="841375"/>
            </a:xfrm>
          </p:grpSpPr>
          <p:sp>
            <p:nvSpPr>
              <p:cNvPr id="63" name="Freeform 15">
                <a:extLst>
                  <a:ext uri="{FF2B5EF4-FFF2-40B4-BE49-F238E27FC236}">
                    <a16:creationId xmlns:a16="http://schemas.microsoft.com/office/drawing/2014/main" id="{6DB6D5ED-5680-4986-A60E-7025A848FAEA}"/>
                  </a:ext>
                </a:extLst>
              </p:cNvPr>
              <p:cNvSpPr>
                <a:spLocks/>
              </p:cNvSpPr>
              <p:nvPr/>
            </p:nvSpPr>
            <p:spPr bwMode="auto">
              <a:xfrm>
                <a:off x="5062538" y="4991101"/>
                <a:ext cx="1057275" cy="841375"/>
              </a:xfrm>
              <a:custGeom>
                <a:avLst/>
                <a:gdLst>
                  <a:gd name="T0" fmla="*/ 2147483646 w 282"/>
                  <a:gd name="T1" fmla="*/ 2147483646 h 224"/>
                  <a:gd name="T2" fmla="*/ 2147483646 w 282"/>
                  <a:gd name="T3" fmla="*/ 2147483646 h 224"/>
                  <a:gd name="T4" fmla="*/ 2147483646 w 282"/>
                  <a:gd name="T5" fmla="*/ 2147483646 h 224"/>
                  <a:gd name="T6" fmla="*/ 2147483646 w 282"/>
                  <a:gd name="T7" fmla="*/ 2147483646 h 224"/>
                  <a:gd name="T8" fmla="*/ 2147483646 w 282"/>
                  <a:gd name="T9" fmla="*/ 2147483646 h 224"/>
                  <a:gd name="T10" fmla="*/ 2147483646 w 282"/>
                  <a:gd name="T11" fmla="*/ 2147483646 h 224"/>
                  <a:gd name="T12" fmla="*/ 2147483646 w 282"/>
                  <a:gd name="T13" fmla="*/ 0 h 224"/>
                  <a:gd name="T14" fmla="*/ 2147483646 w 282"/>
                  <a:gd name="T15" fmla="*/ 0 h 224"/>
                  <a:gd name="T16" fmla="*/ 2147483646 w 282"/>
                  <a:gd name="T17" fmla="*/ 2147483646 h 224"/>
                  <a:gd name="T18" fmla="*/ 2147483646 w 282"/>
                  <a:gd name="T19" fmla="*/ 2147483646 h 224"/>
                  <a:gd name="T20" fmla="*/ 2147483646 w 282"/>
                  <a:gd name="T21" fmla="*/ 2147483646 h 224"/>
                  <a:gd name="T22" fmla="*/ 2147483646 w 282"/>
                  <a:gd name="T23" fmla="*/ 2147483646 h 2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2"/>
                  <a:gd name="T37" fmla="*/ 0 h 224"/>
                  <a:gd name="T38" fmla="*/ 282 w 282"/>
                  <a:gd name="T39" fmla="*/ 224 h 2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2" h="224">
                    <a:moveTo>
                      <a:pt x="159" y="184"/>
                    </a:moveTo>
                    <a:cubicBezTo>
                      <a:pt x="164" y="224"/>
                      <a:pt x="164" y="224"/>
                      <a:pt x="164" y="224"/>
                    </a:cubicBezTo>
                    <a:cubicBezTo>
                      <a:pt x="98" y="168"/>
                      <a:pt x="98" y="168"/>
                      <a:pt x="98" y="168"/>
                    </a:cubicBezTo>
                    <a:cubicBezTo>
                      <a:pt x="36" y="168"/>
                      <a:pt x="36" y="168"/>
                      <a:pt x="36" y="168"/>
                    </a:cubicBezTo>
                    <a:cubicBezTo>
                      <a:pt x="36" y="168"/>
                      <a:pt x="7" y="165"/>
                      <a:pt x="7" y="133"/>
                    </a:cubicBezTo>
                    <a:cubicBezTo>
                      <a:pt x="7" y="101"/>
                      <a:pt x="7" y="38"/>
                      <a:pt x="7" y="38"/>
                    </a:cubicBezTo>
                    <a:cubicBezTo>
                      <a:pt x="7" y="38"/>
                      <a:pt x="0" y="0"/>
                      <a:pt x="36" y="0"/>
                    </a:cubicBezTo>
                    <a:cubicBezTo>
                      <a:pt x="71" y="0"/>
                      <a:pt x="252" y="0"/>
                      <a:pt x="252" y="0"/>
                    </a:cubicBezTo>
                    <a:cubicBezTo>
                      <a:pt x="252" y="0"/>
                      <a:pt x="281" y="8"/>
                      <a:pt x="281" y="38"/>
                    </a:cubicBezTo>
                    <a:cubicBezTo>
                      <a:pt x="281" y="68"/>
                      <a:pt x="281" y="133"/>
                      <a:pt x="281" y="133"/>
                    </a:cubicBezTo>
                    <a:cubicBezTo>
                      <a:pt x="281" y="133"/>
                      <a:pt x="282" y="167"/>
                      <a:pt x="245" y="167"/>
                    </a:cubicBezTo>
                    <a:cubicBezTo>
                      <a:pt x="208" y="167"/>
                      <a:pt x="187" y="167"/>
                      <a:pt x="187" y="167"/>
                    </a:cubicBez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64" name="Oval 16">
                <a:extLst>
                  <a:ext uri="{FF2B5EF4-FFF2-40B4-BE49-F238E27FC236}">
                    <a16:creationId xmlns:a16="http://schemas.microsoft.com/office/drawing/2014/main" id="{192DDAAE-6C9B-49D0-ABDC-F337F7F70614}"/>
                  </a:ext>
                </a:extLst>
              </p:cNvPr>
              <p:cNvSpPr>
                <a:spLocks noChangeArrowheads="1"/>
              </p:cNvSpPr>
              <p:nvPr/>
            </p:nvSpPr>
            <p:spPr bwMode="auto">
              <a:xfrm>
                <a:off x="5718175" y="5168901"/>
                <a:ext cx="157162" cy="182563"/>
              </a:xfrm>
              <a:prstGeom prst="ellipse">
                <a:avLst/>
              </a:prstGeom>
              <a:noFill/>
              <a:ln w="12700" cap="rnd">
                <a:solidFill>
                  <a:srgbClr val="00A0D6"/>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65" name="Freeform 17">
                <a:extLst>
                  <a:ext uri="{FF2B5EF4-FFF2-40B4-BE49-F238E27FC236}">
                    <a16:creationId xmlns:a16="http://schemas.microsoft.com/office/drawing/2014/main" id="{4E9A3874-E725-44ED-84E3-BD02DAA2741D}"/>
                  </a:ext>
                </a:extLst>
              </p:cNvPr>
              <p:cNvSpPr>
                <a:spLocks/>
              </p:cNvSpPr>
              <p:nvPr/>
            </p:nvSpPr>
            <p:spPr bwMode="auto">
              <a:xfrm>
                <a:off x="5608638" y="5351463"/>
                <a:ext cx="379412" cy="266700"/>
              </a:xfrm>
              <a:custGeom>
                <a:avLst/>
                <a:gdLst>
                  <a:gd name="T0" fmla="*/ 0 w 101"/>
                  <a:gd name="T1" fmla="*/ 2147483646 h 71"/>
                  <a:gd name="T2" fmla="*/ 2147483646 w 101"/>
                  <a:gd name="T3" fmla="*/ 0 h 71"/>
                  <a:gd name="T4" fmla="*/ 2147483646 w 101"/>
                  <a:gd name="T5" fmla="*/ 2147483646 h 71"/>
                  <a:gd name="T6" fmla="*/ 0 60000 65536"/>
                  <a:gd name="T7" fmla="*/ 0 60000 65536"/>
                  <a:gd name="T8" fmla="*/ 0 60000 65536"/>
                  <a:gd name="T9" fmla="*/ 0 w 101"/>
                  <a:gd name="T10" fmla="*/ 0 h 71"/>
                  <a:gd name="T11" fmla="*/ 101 w 101"/>
                  <a:gd name="T12" fmla="*/ 71 h 71"/>
                </a:gdLst>
                <a:ahLst/>
                <a:cxnLst>
                  <a:cxn ang="T6">
                    <a:pos x="T0" y="T1"/>
                  </a:cxn>
                  <a:cxn ang="T7">
                    <a:pos x="T2" y="T3"/>
                  </a:cxn>
                  <a:cxn ang="T8">
                    <a:pos x="T4" y="T5"/>
                  </a:cxn>
                </a:cxnLst>
                <a:rect l="T9" t="T10" r="T11" b="T12"/>
                <a:pathLst>
                  <a:path w="101" h="71">
                    <a:moveTo>
                      <a:pt x="0" y="54"/>
                    </a:moveTo>
                    <a:cubicBezTo>
                      <a:pt x="3" y="26"/>
                      <a:pt x="16" y="0"/>
                      <a:pt x="50" y="0"/>
                    </a:cubicBezTo>
                    <a:cubicBezTo>
                      <a:pt x="91" y="0"/>
                      <a:pt x="101" y="37"/>
                      <a:pt x="101" y="71"/>
                    </a:cubicBez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grpSp>
      <p:grpSp>
        <p:nvGrpSpPr>
          <p:cNvPr id="66" name="Group 63">
            <a:extLst>
              <a:ext uri="{FF2B5EF4-FFF2-40B4-BE49-F238E27FC236}">
                <a16:creationId xmlns:a16="http://schemas.microsoft.com/office/drawing/2014/main" id="{A278F227-191B-4919-9051-D1D0FE4C8E27}"/>
              </a:ext>
            </a:extLst>
          </p:cNvPr>
          <p:cNvGrpSpPr>
            <a:grpSpLocks/>
          </p:cNvGrpSpPr>
          <p:nvPr/>
        </p:nvGrpSpPr>
        <p:grpSpPr bwMode="auto">
          <a:xfrm>
            <a:off x="5521325" y="1204917"/>
            <a:ext cx="1754188" cy="1309687"/>
            <a:chOff x="5254024" y="1557391"/>
            <a:chExt cx="1754660" cy="1520653"/>
          </a:xfrm>
        </p:grpSpPr>
        <p:sp>
          <p:nvSpPr>
            <p:cNvPr id="67" name="Rounded Rectangle 29">
              <a:extLst>
                <a:ext uri="{FF2B5EF4-FFF2-40B4-BE49-F238E27FC236}">
                  <a16:creationId xmlns:a16="http://schemas.microsoft.com/office/drawing/2014/main" id="{FB7F196C-AB65-4B2A-8E09-272F17999362}"/>
                </a:ext>
              </a:extLst>
            </p:cNvPr>
            <p:cNvSpPr/>
            <p:nvPr/>
          </p:nvSpPr>
          <p:spPr>
            <a:xfrm>
              <a:off x="5254024" y="1712221"/>
              <a:ext cx="1754660" cy="1365823"/>
            </a:xfrm>
            <a:prstGeom prst="roundRect">
              <a:avLst>
                <a:gd name="adj" fmla="val 7180"/>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err="1">
                <a:solidFill>
                  <a:srgbClr val="00264A">
                    <a:lumMod val="50000"/>
                  </a:srgbClr>
                </a:solidFill>
              </a:endParaRPr>
            </a:p>
          </p:txBody>
        </p:sp>
        <p:sp>
          <p:nvSpPr>
            <p:cNvPr id="68" name="Oval 67">
              <a:extLst>
                <a:ext uri="{FF2B5EF4-FFF2-40B4-BE49-F238E27FC236}">
                  <a16:creationId xmlns:a16="http://schemas.microsoft.com/office/drawing/2014/main" id="{EC0E7078-A362-4568-B9E8-FA5D2AA781CC}"/>
                </a:ext>
              </a:extLst>
            </p:cNvPr>
            <p:cNvSpPr/>
            <p:nvPr/>
          </p:nvSpPr>
          <p:spPr>
            <a:xfrm>
              <a:off x="5974943" y="1557391"/>
              <a:ext cx="312822" cy="3133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1">
                  <a:solidFill>
                    <a:srgbClr val="FFFFFE"/>
                  </a:solidFill>
                </a:rPr>
                <a:t>2</a:t>
              </a:r>
            </a:p>
          </p:txBody>
        </p:sp>
        <p:sp>
          <p:nvSpPr>
            <p:cNvPr id="69" name="Rectangle 5">
              <a:extLst>
                <a:ext uri="{FF2B5EF4-FFF2-40B4-BE49-F238E27FC236}">
                  <a16:creationId xmlns:a16="http://schemas.microsoft.com/office/drawing/2014/main" id="{F6A4145F-34BF-44EF-97BE-B441623FF543}"/>
                </a:ext>
              </a:extLst>
            </p:cNvPr>
            <p:cNvSpPr/>
            <p:nvPr/>
          </p:nvSpPr>
          <p:spPr>
            <a:xfrm>
              <a:off x="5308015" y="2723847"/>
              <a:ext cx="1646681" cy="214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a:defRPr/>
              </a:pPr>
              <a:r>
                <a:rPr lang="en-US" sz="1200" b="1">
                  <a:solidFill>
                    <a:srgbClr val="505150"/>
                  </a:solidFill>
                </a:rPr>
                <a:t>Complete Feedback</a:t>
              </a:r>
            </a:p>
          </p:txBody>
        </p:sp>
        <p:grpSp>
          <p:nvGrpSpPr>
            <p:cNvPr id="70" name="Group 130">
              <a:extLst>
                <a:ext uri="{FF2B5EF4-FFF2-40B4-BE49-F238E27FC236}">
                  <a16:creationId xmlns:a16="http://schemas.microsoft.com/office/drawing/2014/main" id="{E6583CED-BCA9-4484-865F-32FFF4E42F9B}"/>
                </a:ext>
              </a:extLst>
            </p:cNvPr>
            <p:cNvGrpSpPr>
              <a:grpSpLocks/>
            </p:cNvGrpSpPr>
            <p:nvPr/>
          </p:nvGrpSpPr>
          <p:grpSpPr bwMode="auto">
            <a:xfrm>
              <a:off x="5909898" y="2020865"/>
              <a:ext cx="442912" cy="582929"/>
              <a:chOff x="2579688" y="2981325"/>
              <a:chExt cx="738188" cy="971551"/>
            </a:xfrm>
          </p:grpSpPr>
          <p:sp>
            <p:nvSpPr>
              <p:cNvPr id="71" name="Freeform 16">
                <a:extLst>
                  <a:ext uri="{FF2B5EF4-FFF2-40B4-BE49-F238E27FC236}">
                    <a16:creationId xmlns:a16="http://schemas.microsoft.com/office/drawing/2014/main" id="{929E3AD2-4F62-4023-AD61-6031A6624115}"/>
                  </a:ext>
                </a:extLst>
              </p:cNvPr>
              <p:cNvSpPr>
                <a:spLocks/>
              </p:cNvSpPr>
              <p:nvPr/>
            </p:nvSpPr>
            <p:spPr bwMode="auto">
              <a:xfrm>
                <a:off x="2579688" y="3157538"/>
                <a:ext cx="565150" cy="795338"/>
              </a:xfrm>
              <a:custGeom>
                <a:avLst/>
                <a:gdLst>
                  <a:gd name="T0" fmla="*/ 2147483646 w 151"/>
                  <a:gd name="T1" fmla="*/ 2147483646 h 212"/>
                  <a:gd name="T2" fmla="*/ 2147483646 w 151"/>
                  <a:gd name="T3" fmla="*/ 2147483646 h 212"/>
                  <a:gd name="T4" fmla="*/ 0 w 151"/>
                  <a:gd name="T5" fmla="*/ 2147483646 h 212"/>
                  <a:gd name="T6" fmla="*/ 0 w 151"/>
                  <a:gd name="T7" fmla="*/ 2147483646 h 212"/>
                  <a:gd name="T8" fmla="*/ 2147483646 w 151"/>
                  <a:gd name="T9" fmla="*/ 2147483646 h 212"/>
                  <a:gd name="T10" fmla="*/ 2147483646 w 151"/>
                  <a:gd name="T11" fmla="*/ 2147483646 h 212"/>
                  <a:gd name="T12" fmla="*/ 2147483646 w 151"/>
                  <a:gd name="T13" fmla="*/ 2147483646 h 212"/>
                  <a:gd name="T14" fmla="*/ 2147483646 w 151"/>
                  <a:gd name="T15" fmla="*/ 0 h 212"/>
                  <a:gd name="T16" fmla="*/ 2147483646 w 151"/>
                  <a:gd name="T17" fmla="*/ 0 h 212"/>
                  <a:gd name="T18" fmla="*/ 2147483646 w 151"/>
                  <a:gd name="T19" fmla="*/ 2147483646 h 212"/>
                  <a:gd name="T20" fmla="*/ 2147483646 w 151"/>
                  <a:gd name="T21" fmla="*/ 2147483646 h 212"/>
                  <a:gd name="T22" fmla="*/ 2147483646 w 151"/>
                  <a:gd name="T23" fmla="*/ 2147483646 h 212"/>
                  <a:gd name="T24" fmla="*/ 2147483646 w 151"/>
                  <a:gd name="T25" fmla="*/ 2147483646 h 212"/>
                  <a:gd name="T26" fmla="*/ 2147483646 w 151"/>
                  <a:gd name="T27" fmla="*/ 2147483646 h 212"/>
                  <a:gd name="T28" fmla="*/ 2147483646 w 151"/>
                  <a:gd name="T29" fmla="*/ 2147483646 h 2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1"/>
                  <a:gd name="T46" fmla="*/ 0 h 212"/>
                  <a:gd name="T47" fmla="*/ 151 w 151"/>
                  <a:gd name="T48" fmla="*/ 212 h 2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1" h="212">
                    <a:moveTo>
                      <a:pt x="115" y="212"/>
                    </a:moveTo>
                    <a:cubicBezTo>
                      <a:pt x="6" y="212"/>
                      <a:pt x="6" y="212"/>
                      <a:pt x="6" y="212"/>
                    </a:cubicBezTo>
                    <a:cubicBezTo>
                      <a:pt x="3" y="212"/>
                      <a:pt x="0" y="210"/>
                      <a:pt x="0" y="207"/>
                    </a:cubicBezTo>
                    <a:cubicBezTo>
                      <a:pt x="0" y="24"/>
                      <a:pt x="0" y="24"/>
                      <a:pt x="0" y="24"/>
                    </a:cubicBezTo>
                    <a:cubicBezTo>
                      <a:pt x="0" y="22"/>
                      <a:pt x="3" y="19"/>
                      <a:pt x="6" y="19"/>
                    </a:cubicBezTo>
                    <a:cubicBezTo>
                      <a:pt x="40" y="19"/>
                      <a:pt x="40" y="19"/>
                      <a:pt x="40" y="19"/>
                    </a:cubicBezTo>
                    <a:cubicBezTo>
                      <a:pt x="40" y="6"/>
                      <a:pt x="40" y="6"/>
                      <a:pt x="40" y="6"/>
                    </a:cubicBezTo>
                    <a:cubicBezTo>
                      <a:pt x="40" y="2"/>
                      <a:pt x="43" y="0"/>
                      <a:pt x="46" y="0"/>
                    </a:cubicBezTo>
                    <a:cubicBezTo>
                      <a:pt x="106" y="0"/>
                      <a:pt x="106" y="0"/>
                      <a:pt x="106" y="0"/>
                    </a:cubicBezTo>
                    <a:cubicBezTo>
                      <a:pt x="109" y="0"/>
                      <a:pt x="112" y="2"/>
                      <a:pt x="112" y="6"/>
                    </a:cubicBezTo>
                    <a:cubicBezTo>
                      <a:pt x="112" y="19"/>
                      <a:pt x="112" y="19"/>
                      <a:pt x="112" y="19"/>
                    </a:cubicBezTo>
                    <a:cubicBezTo>
                      <a:pt x="146" y="19"/>
                      <a:pt x="146" y="19"/>
                      <a:pt x="146" y="19"/>
                    </a:cubicBezTo>
                    <a:cubicBezTo>
                      <a:pt x="149" y="19"/>
                      <a:pt x="151" y="22"/>
                      <a:pt x="151" y="24"/>
                    </a:cubicBezTo>
                    <a:cubicBezTo>
                      <a:pt x="151" y="172"/>
                      <a:pt x="151" y="172"/>
                      <a:pt x="151" y="172"/>
                    </a:cubicBezTo>
                    <a:lnTo>
                      <a:pt x="115" y="212"/>
                    </a:lnTo>
                    <a:close/>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72" name="Freeform 17">
                <a:extLst>
                  <a:ext uri="{FF2B5EF4-FFF2-40B4-BE49-F238E27FC236}">
                    <a16:creationId xmlns:a16="http://schemas.microsoft.com/office/drawing/2014/main" id="{3632BE9D-386E-4A12-A9C4-6F020B31AF0E}"/>
                  </a:ext>
                </a:extLst>
              </p:cNvPr>
              <p:cNvSpPr>
                <a:spLocks/>
              </p:cNvSpPr>
              <p:nvPr/>
            </p:nvSpPr>
            <p:spPr bwMode="auto">
              <a:xfrm>
                <a:off x="2701926" y="3686175"/>
                <a:ext cx="282575" cy="119063"/>
              </a:xfrm>
              <a:custGeom>
                <a:avLst/>
                <a:gdLst>
                  <a:gd name="T0" fmla="*/ 0 w 178"/>
                  <a:gd name="T1" fmla="*/ 2147483646 h 75"/>
                  <a:gd name="T2" fmla="*/ 2147483646 w 178"/>
                  <a:gd name="T3" fmla="*/ 2147483646 h 75"/>
                  <a:gd name="T4" fmla="*/ 2147483646 w 178"/>
                  <a:gd name="T5" fmla="*/ 0 h 75"/>
                  <a:gd name="T6" fmla="*/ 0 60000 65536"/>
                  <a:gd name="T7" fmla="*/ 0 60000 65536"/>
                  <a:gd name="T8" fmla="*/ 0 60000 65536"/>
                  <a:gd name="T9" fmla="*/ 0 w 178"/>
                  <a:gd name="T10" fmla="*/ 0 h 75"/>
                  <a:gd name="T11" fmla="*/ 178 w 178"/>
                  <a:gd name="T12" fmla="*/ 75 h 75"/>
                </a:gdLst>
                <a:ahLst/>
                <a:cxnLst>
                  <a:cxn ang="T6">
                    <a:pos x="T0" y="T1"/>
                  </a:cxn>
                  <a:cxn ang="T7">
                    <a:pos x="T2" y="T3"/>
                  </a:cxn>
                  <a:cxn ang="T8">
                    <a:pos x="T4" y="T5"/>
                  </a:cxn>
                </a:cxnLst>
                <a:rect l="T9" t="T10" r="T11" b="T12"/>
                <a:pathLst>
                  <a:path w="178" h="75">
                    <a:moveTo>
                      <a:pt x="0" y="14"/>
                    </a:moveTo>
                    <a:lnTo>
                      <a:pt x="36" y="75"/>
                    </a:lnTo>
                    <a:lnTo>
                      <a:pt x="178"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73" name="Line 18">
                <a:extLst>
                  <a:ext uri="{FF2B5EF4-FFF2-40B4-BE49-F238E27FC236}">
                    <a16:creationId xmlns:a16="http://schemas.microsoft.com/office/drawing/2014/main" id="{5CDBA947-B293-4F56-BC78-03BD3401E3A1}"/>
                  </a:ext>
                </a:extLst>
              </p:cNvPr>
              <p:cNvSpPr>
                <a:spLocks noChangeShapeType="1"/>
              </p:cNvSpPr>
              <p:nvPr/>
            </p:nvSpPr>
            <p:spPr bwMode="auto">
              <a:xfrm>
                <a:off x="2676526" y="332581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74" name="Line 19">
                <a:extLst>
                  <a:ext uri="{FF2B5EF4-FFF2-40B4-BE49-F238E27FC236}">
                    <a16:creationId xmlns:a16="http://schemas.microsoft.com/office/drawing/2014/main" id="{66963A26-5505-4EC6-8AEA-F5F2C51E1D50}"/>
                  </a:ext>
                </a:extLst>
              </p:cNvPr>
              <p:cNvSpPr>
                <a:spLocks noChangeShapeType="1"/>
              </p:cNvSpPr>
              <p:nvPr/>
            </p:nvSpPr>
            <p:spPr bwMode="auto">
              <a:xfrm>
                <a:off x="2676526" y="342741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75" name="Line 20">
                <a:extLst>
                  <a:ext uri="{FF2B5EF4-FFF2-40B4-BE49-F238E27FC236}">
                    <a16:creationId xmlns:a16="http://schemas.microsoft.com/office/drawing/2014/main" id="{A5314008-216B-4961-8161-3A835615B1BA}"/>
                  </a:ext>
                </a:extLst>
              </p:cNvPr>
              <p:cNvSpPr>
                <a:spLocks noChangeShapeType="1"/>
              </p:cNvSpPr>
              <p:nvPr/>
            </p:nvSpPr>
            <p:spPr bwMode="auto">
              <a:xfrm>
                <a:off x="2676526" y="3535363"/>
                <a:ext cx="344488"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76" name="Freeform 21">
                <a:extLst>
                  <a:ext uri="{FF2B5EF4-FFF2-40B4-BE49-F238E27FC236}">
                    <a16:creationId xmlns:a16="http://schemas.microsoft.com/office/drawing/2014/main" id="{8625BC9A-1C8F-489F-BD81-A6CF46146407}"/>
                  </a:ext>
                </a:extLst>
              </p:cNvPr>
              <p:cNvSpPr>
                <a:spLocks/>
              </p:cNvSpPr>
              <p:nvPr/>
            </p:nvSpPr>
            <p:spPr bwMode="auto">
              <a:xfrm>
                <a:off x="3003551" y="3787775"/>
                <a:ext cx="130175" cy="153988"/>
              </a:xfrm>
              <a:custGeom>
                <a:avLst/>
                <a:gdLst>
                  <a:gd name="T0" fmla="*/ 0 w 82"/>
                  <a:gd name="T1" fmla="*/ 2147483646 h 97"/>
                  <a:gd name="T2" fmla="*/ 0 w 82"/>
                  <a:gd name="T3" fmla="*/ 0 h 97"/>
                  <a:gd name="T4" fmla="*/ 2147483646 w 82"/>
                  <a:gd name="T5" fmla="*/ 0 h 97"/>
                  <a:gd name="T6" fmla="*/ 0 60000 65536"/>
                  <a:gd name="T7" fmla="*/ 0 60000 65536"/>
                  <a:gd name="T8" fmla="*/ 0 60000 65536"/>
                  <a:gd name="T9" fmla="*/ 0 w 82"/>
                  <a:gd name="T10" fmla="*/ 0 h 97"/>
                  <a:gd name="T11" fmla="*/ 82 w 82"/>
                  <a:gd name="T12" fmla="*/ 97 h 97"/>
                </a:gdLst>
                <a:ahLst/>
                <a:cxnLst>
                  <a:cxn ang="T6">
                    <a:pos x="T0" y="T1"/>
                  </a:cxn>
                  <a:cxn ang="T7">
                    <a:pos x="T2" y="T3"/>
                  </a:cxn>
                  <a:cxn ang="T8">
                    <a:pos x="T4" y="T5"/>
                  </a:cxn>
                </a:cxnLst>
                <a:rect l="T9" t="T10" r="T11" b="T12"/>
                <a:pathLst>
                  <a:path w="82" h="97">
                    <a:moveTo>
                      <a:pt x="0" y="97"/>
                    </a:moveTo>
                    <a:lnTo>
                      <a:pt x="0" y="0"/>
                    </a:lnTo>
                    <a:lnTo>
                      <a:pt x="82" y="0"/>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77" name="Line 22">
                <a:extLst>
                  <a:ext uri="{FF2B5EF4-FFF2-40B4-BE49-F238E27FC236}">
                    <a16:creationId xmlns:a16="http://schemas.microsoft.com/office/drawing/2014/main" id="{675F9F30-3853-437F-8979-F6B1DBDA7136}"/>
                  </a:ext>
                </a:extLst>
              </p:cNvPr>
              <p:cNvSpPr>
                <a:spLocks noChangeShapeType="1"/>
              </p:cNvSpPr>
              <p:nvPr/>
            </p:nvSpPr>
            <p:spPr bwMode="auto">
              <a:xfrm>
                <a:off x="2728913" y="3228975"/>
                <a:ext cx="269875" cy="1588"/>
              </a:xfrm>
              <a:prstGeom prst="line">
                <a:avLst/>
              </a:prstGeom>
              <a:noFill/>
              <a:ln w="12700" cap="rnd">
                <a:solidFill>
                  <a:srgbClr val="00A0D6"/>
                </a:solidFill>
                <a:round/>
                <a:headEnd/>
                <a:tailEnd/>
              </a:ln>
              <a:extLst>
                <a:ext uri="{909E8E84-426E-40DD-AFC4-6F175D3DCCD1}">
                  <a14:hiddenFill xmlns:a14="http://schemas.microsoft.com/office/drawing/2010/main">
                    <a:noFill/>
                  </a14:hiddenFill>
                </a:ext>
              </a:extLst>
            </p:spPr>
            <p:txBody>
              <a:bodyPr/>
              <a:lstStyle/>
              <a:p>
                <a:endParaRPr lang="en-US">
                  <a:solidFill>
                    <a:srgbClr val="505150"/>
                  </a:solidFill>
                </a:endParaRPr>
              </a:p>
            </p:txBody>
          </p:sp>
          <p:sp>
            <p:nvSpPr>
              <p:cNvPr id="78" name="Freeform 23">
                <a:extLst>
                  <a:ext uri="{FF2B5EF4-FFF2-40B4-BE49-F238E27FC236}">
                    <a16:creationId xmlns:a16="http://schemas.microsoft.com/office/drawing/2014/main" id="{1F919D95-3EAA-42AD-ACF8-B5E45A7948B6}"/>
                  </a:ext>
                </a:extLst>
              </p:cNvPr>
              <p:cNvSpPr>
                <a:spLocks/>
              </p:cNvSpPr>
              <p:nvPr/>
            </p:nvSpPr>
            <p:spPr bwMode="auto">
              <a:xfrm>
                <a:off x="2579688" y="3070225"/>
                <a:ext cx="647700" cy="720725"/>
              </a:xfrm>
              <a:custGeom>
                <a:avLst/>
                <a:gdLst>
                  <a:gd name="T0" fmla="*/ 0 w 408"/>
                  <a:gd name="T1" fmla="*/ 0 h 454"/>
                  <a:gd name="T2" fmla="*/ 2147483646 w 408"/>
                  <a:gd name="T3" fmla="*/ 0 h 454"/>
                  <a:gd name="T4" fmla="*/ 2147483646 w 408"/>
                  <a:gd name="T5" fmla="*/ 2147483646 h 454"/>
                  <a:gd name="T6" fmla="*/ 0 60000 65536"/>
                  <a:gd name="T7" fmla="*/ 0 60000 65536"/>
                  <a:gd name="T8" fmla="*/ 0 60000 65536"/>
                  <a:gd name="T9" fmla="*/ 0 w 408"/>
                  <a:gd name="T10" fmla="*/ 0 h 454"/>
                  <a:gd name="T11" fmla="*/ 408 w 408"/>
                  <a:gd name="T12" fmla="*/ 454 h 454"/>
                </a:gdLst>
                <a:ahLst/>
                <a:cxnLst>
                  <a:cxn ang="T6">
                    <a:pos x="T0" y="T1"/>
                  </a:cxn>
                  <a:cxn ang="T7">
                    <a:pos x="T2" y="T3"/>
                  </a:cxn>
                  <a:cxn ang="T8">
                    <a:pos x="T4" y="T5"/>
                  </a:cxn>
                </a:cxnLst>
                <a:rect l="T9" t="T10" r="T11" b="T12"/>
                <a:pathLst>
                  <a:path w="408" h="454">
                    <a:moveTo>
                      <a:pt x="0" y="0"/>
                    </a:moveTo>
                    <a:lnTo>
                      <a:pt x="408" y="0"/>
                    </a:lnTo>
                    <a:lnTo>
                      <a:pt x="408" y="454"/>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sp>
            <p:nvSpPr>
              <p:cNvPr id="79" name="Freeform 24">
                <a:extLst>
                  <a:ext uri="{FF2B5EF4-FFF2-40B4-BE49-F238E27FC236}">
                    <a16:creationId xmlns:a16="http://schemas.microsoft.com/office/drawing/2014/main" id="{2C96850A-B6E6-4192-B9E2-8F68B38F97CB}"/>
                  </a:ext>
                </a:extLst>
              </p:cNvPr>
              <p:cNvSpPr>
                <a:spLocks/>
              </p:cNvSpPr>
              <p:nvPr/>
            </p:nvSpPr>
            <p:spPr bwMode="auto">
              <a:xfrm>
                <a:off x="2579688" y="2981325"/>
                <a:ext cx="738188" cy="719138"/>
              </a:xfrm>
              <a:custGeom>
                <a:avLst/>
                <a:gdLst>
                  <a:gd name="T0" fmla="*/ 0 w 465"/>
                  <a:gd name="T1" fmla="*/ 0 h 453"/>
                  <a:gd name="T2" fmla="*/ 2147483646 w 465"/>
                  <a:gd name="T3" fmla="*/ 0 h 453"/>
                  <a:gd name="T4" fmla="*/ 2147483646 w 465"/>
                  <a:gd name="T5" fmla="*/ 2147483646 h 453"/>
                  <a:gd name="T6" fmla="*/ 0 60000 65536"/>
                  <a:gd name="T7" fmla="*/ 0 60000 65536"/>
                  <a:gd name="T8" fmla="*/ 0 60000 65536"/>
                  <a:gd name="T9" fmla="*/ 0 w 465"/>
                  <a:gd name="T10" fmla="*/ 0 h 453"/>
                  <a:gd name="T11" fmla="*/ 465 w 465"/>
                  <a:gd name="T12" fmla="*/ 453 h 453"/>
                </a:gdLst>
                <a:ahLst/>
                <a:cxnLst>
                  <a:cxn ang="T6">
                    <a:pos x="T0" y="T1"/>
                  </a:cxn>
                  <a:cxn ang="T7">
                    <a:pos x="T2" y="T3"/>
                  </a:cxn>
                  <a:cxn ang="T8">
                    <a:pos x="T4" y="T5"/>
                  </a:cxn>
                </a:cxnLst>
                <a:rect l="T9" t="T10" r="T11" b="T12"/>
                <a:pathLst>
                  <a:path w="465" h="453">
                    <a:moveTo>
                      <a:pt x="0" y="0"/>
                    </a:moveTo>
                    <a:lnTo>
                      <a:pt x="465" y="0"/>
                    </a:lnTo>
                    <a:lnTo>
                      <a:pt x="465" y="453"/>
                    </a:lnTo>
                  </a:path>
                </a:pathLst>
              </a:custGeom>
              <a:noFill/>
              <a:ln w="12700" cap="rnd">
                <a:solidFill>
                  <a:srgbClr val="00A0D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505150"/>
                  </a:solidFill>
                </a:endParaRPr>
              </a:p>
            </p:txBody>
          </p:sp>
        </p:grpSp>
      </p:grpSp>
      <p:grpSp>
        <p:nvGrpSpPr>
          <p:cNvPr id="80" name="Group 66">
            <a:extLst>
              <a:ext uri="{FF2B5EF4-FFF2-40B4-BE49-F238E27FC236}">
                <a16:creationId xmlns:a16="http://schemas.microsoft.com/office/drawing/2014/main" id="{7E901049-9A16-4FAF-B9A8-11C361A01A12}"/>
              </a:ext>
            </a:extLst>
          </p:cNvPr>
          <p:cNvGrpSpPr>
            <a:grpSpLocks/>
          </p:cNvGrpSpPr>
          <p:nvPr/>
        </p:nvGrpSpPr>
        <p:grpSpPr bwMode="auto">
          <a:xfrm>
            <a:off x="227021" y="3924314"/>
            <a:ext cx="1050925" cy="688975"/>
            <a:chOff x="177624" y="4868201"/>
            <a:chExt cx="1051101" cy="800169"/>
          </a:xfrm>
        </p:grpSpPr>
        <p:sp>
          <p:nvSpPr>
            <p:cNvPr id="81" name="Content Placeholder 17">
              <a:extLst>
                <a:ext uri="{FF2B5EF4-FFF2-40B4-BE49-F238E27FC236}">
                  <a16:creationId xmlns:a16="http://schemas.microsoft.com/office/drawing/2014/main" id="{962877E0-08F8-48C7-B01D-CE6F15A6788B}"/>
                </a:ext>
              </a:extLst>
            </p:cNvPr>
            <p:cNvSpPr txBox="1">
              <a:spLocks/>
            </p:cNvSpPr>
            <p:nvPr/>
          </p:nvSpPr>
          <p:spPr>
            <a:xfrm>
              <a:off x="177624" y="4868201"/>
              <a:ext cx="1051101" cy="214469"/>
            </a:xfrm>
            <a:prstGeom prst="rect">
              <a:avLst/>
            </a:prstGeom>
          </p:spPr>
          <p:txBody>
            <a:bodyPr lIns="0" tIns="0" rIns="0" bIns="0">
              <a:spAutoFit/>
            </a:bodyPr>
            <a:lstStyle/>
            <a:p>
              <a:pPr algn="ctr" defTabSz="914342">
                <a:buClr>
                  <a:srgbClr val="EC098D"/>
                </a:buClr>
                <a:defRPr/>
              </a:pPr>
              <a:r>
                <a:rPr lang="en-GB" sz="1200" b="1">
                  <a:solidFill>
                    <a:srgbClr val="EC098D"/>
                  </a:solidFill>
                </a:rPr>
                <a:t>Employee</a:t>
              </a:r>
            </a:p>
          </p:txBody>
        </p:sp>
        <p:grpSp>
          <p:nvGrpSpPr>
            <p:cNvPr id="82" name="Group 36">
              <a:extLst>
                <a:ext uri="{FF2B5EF4-FFF2-40B4-BE49-F238E27FC236}">
                  <a16:creationId xmlns:a16="http://schemas.microsoft.com/office/drawing/2014/main" id="{78A1B382-C6A6-4610-B4FC-4AD24D31B294}"/>
                </a:ext>
              </a:extLst>
            </p:cNvPr>
            <p:cNvGrpSpPr>
              <a:grpSpLocks/>
            </p:cNvGrpSpPr>
            <p:nvPr/>
          </p:nvGrpSpPr>
          <p:grpSpPr bwMode="auto">
            <a:xfrm>
              <a:off x="503149" y="5201645"/>
              <a:ext cx="400050" cy="466725"/>
              <a:chOff x="345028" y="5391214"/>
              <a:chExt cx="400050" cy="466725"/>
            </a:xfrm>
          </p:grpSpPr>
          <p:sp>
            <p:nvSpPr>
              <p:cNvPr id="83" name="Oval 3415">
                <a:extLst>
                  <a:ext uri="{FF2B5EF4-FFF2-40B4-BE49-F238E27FC236}">
                    <a16:creationId xmlns:a16="http://schemas.microsoft.com/office/drawing/2014/main" id="{02BE3974-0B1A-4EBE-BDE0-38C9EE1E9B3B}"/>
                  </a:ext>
                </a:extLst>
              </p:cNvPr>
              <p:cNvSpPr>
                <a:spLocks noChangeArrowheads="1"/>
              </p:cNvSpPr>
              <p:nvPr/>
            </p:nvSpPr>
            <p:spPr bwMode="auto">
              <a:xfrm>
                <a:off x="460902" y="5391481"/>
                <a:ext cx="163539" cy="188058"/>
              </a:xfrm>
              <a:prstGeom prst="ellipse">
                <a:avLst/>
              </a:pr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84" name="Freeform 3416">
                <a:extLst>
                  <a:ext uri="{FF2B5EF4-FFF2-40B4-BE49-F238E27FC236}">
                    <a16:creationId xmlns:a16="http://schemas.microsoft.com/office/drawing/2014/main" id="{3C6A55AF-0879-4076-8857-6F6646810B68}"/>
                  </a:ext>
                </a:extLst>
              </p:cNvPr>
              <p:cNvSpPr>
                <a:spLocks/>
              </p:cNvSpPr>
              <p:nvPr/>
            </p:nvSpPr>
            <p:spPr bwMode="auto">
              <a:xfrm>
                <a:off x="344995" y="5579539"/>
                <a:ext cx="400117" cy="278400"/>
              </a:xfrm>
              <a:custGeom>
                <a:avLst/>
                <a:gdLst/>
                <a:ahLst/>
                <a:cxnLst>
                  <a:cxn ang="0">
                    <a:pos x="0" y="65"/>
                  </a:cxn>
                  <a:cxn ang="0">
                    <a:pos x="46" y="0"/>
                  </a:cxn>
                  <a:cxn ang="0">
                    <a:pos x="93" y="65"/>
                  </a:cxn>
                </a:cxnLst>
                <a:rect l="0" t="0" r="r" b="b"/>
                <a:pathLst>
                  <a:path w="93" h="65">
                    <a:moveTo>
                      <a:pt x="0" y="65"/>
                    </a:moveTo>
                    <a:cubicBezTo>
                      <a:pt x="0" y="34"/>
                      <a:pt x="9" y="0"/>
                      <a:pt x="46" y="0"/>
                    </a:cubicBezTo>
                    <a:cubicBezTo>
                      <a:pt x="84" y="0"/>
                      <a:pt x="93" y="34"/>
                      <a:pt x="93" y="65"/>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85" name="Freeform 3417">
                <a:extLst>
                  <a:ext uri="{FF2B5EF4-FFF2-40B4-BE49-F238E27FC236}">
                    <a16:creationId xmlns:a16="http://schemas.microsoft.com/office/drawing/2014/main" id="{5A03370B-51F5-465E-A301-F3D2C2A00E0E}"/>
                  </a:ext>
                </a:extLst>
              </p:cNvPr>
              <p:cNvSpPr>
                <a:spLocks/>
              </p:cNvSpPr>
              <p:nvPr/>
            </p:nvSpPr>
            <p:spPr bwMode="auto">
              <a:xfrm>
                <a:off x="629206" y="5704912"/>
                <a:ext cx="30167" cy="153027"/>
              </a:xfrm>
              <a:custGeom>
                <a:avLst/>
                <a:gdLst/>
                <a:ahLst/>
                <a:cxnLst>
                  <a:cxn ang="0">
                    <a:pos x="5" y="36"/>
                  </a:cxn>
                  <a:cxn ang="0">
                    <a:pos x="0" y="0"/>
                  </a:cxn>
                </a:cxnLst>
                <a:rect l="0" t="0" r="r" b="b"/>
                <a:pathLst>
                  <a:path w="7" h="36">
                    <a:moveTo>
                      <a:pt x="5" y="36"/>
                    </a:moveTo>
                    <a:cubicBezTo>
                      <a:pt x="5" y="18"/>
                      <a:pt x="7" y="11"/>
                      <a:pt x="0" y="0"/>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sp>
            <p:nvSpPr>
              <p:cNvPr id="86" name="Freeform 3418">
                <a:extLst>
                  <a:ext uri="{FF2B5EF4-FFF2-40B4-BE49-F238E27FC236}">
                    <a16:creationId xmlns:a16="http://schemas.microsoft.com/office/drawing/2014/main" id="{7E445EEA-502A-4EAD-AC70-5CA13C62368D}"/>
                  </a:ext>
                </a:extLst>
              </p:cNvPr>
              <p:cNvSpPr>
                <a:spLocks/>
              </p:cNvSpPr>
              <p:nvPr/>
            </p:nvSpPr>
            <p:spPr bwMode="auto">
              <a:xfrm>
                <a:off x="430734" y="5704912"/>
                <a:ext cx="30168" cy="153027"/>
              </a:xfrm>
              <a:custGeom>
                <a:avLst/>
                <a:gdLst/>
                <a:ahLst/>
                <a:cxnLst>
                  <a:cxn ang="0">
                    <a:pos x="7" y="0"/>
                  </a:cxn>
                  <a:cxn ang="0">
                    <a:pos x="1" y="36"/>
                  </a:cxn>
                </a:cxnLst>
                <a:rect l="0" t="0" r="r" b="b"/>
                <a:pathLst>
                  <a:path w="7" h="36">
                    <a:moveTo>
                      <a:pt x="7" y="0"/>
                    </a:moveTo>
                    <a:cubicBezTo>
                      <a:pt x="0" y="11"/>
                      <a:pt x="1" y="18"/>
                      <a:pt x="1" y="36"/>
                    </a:cubicBezTo>
                  </a:path>
                </a:pathLst>
              </a:custGeom>
              <a:noFill/>
              <a:ln w="12700" cap="rnd">
                <a:solidFill>
                  <a:schemeClr val="accent5"/>
                </a:solidFill>
                <a:prstDash val="solid"/>
                <a:round/>
                <a:headEnd/>
                <a:tailEnd/>
              </a:ln>
            </p:spPr>
            <p:txBody>
              <a:bodyPr/>
              <a:lstStyle/>
              <a:p>
                <a:pPr algn="ctr">
                  <a:defRPr/>
                </a:pPr>
                <a:endParaRPr lang="en-US">
                  <a:solidFill>
                    <a:srgbClr val="505150"/>
                  </a:solidFill>
                </a:endParaRPr>
              </a:p>
            </p:txBody>
          </p:sp>
        </p:grpSp>
      </p:grpSp>
      <p:cxnSp>
        <p:nvCxnSpPr>
          <p:cNvPr id="87" name="Straight Connector 86">
            <a:extLst>
              <a:ext uri="{FF2B5EF4-FFF2-40B4-BE49-F238E27FC236}">
                <a16:creationId xmlns:a16="http://schemas.microsoft.com/office/drawing/2014/main" id="{B9A2DA0E-6A9C-4518-89C5-20925A3C5C04}"/>
              </a:ext>
            </a:extLst>
          </p:cNvPr>
          <p:cNvCxnSpPr/>
          <p:nvPr/>
        </p:nvCxnSpPr>
        <p:spPr>
          <a:xfrm>
            <a:off x="0" y="3759200"/>
            <a:ext cx="99060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88" name="Table 87">
            <a:extLst>
              <a:ext uri="{FF2B5EF4-FFF2-40B4-BE49-F238E27FC236}">
                <a16:creationId xmlns:a16="http://schemas.microsoft.com/office/drawing/2014/main" id="{B4D50959-E8B9-4996-B79F-7EE08F28BC5B}"/>
              </a:ext>
            </a:extLst>
          </p:cNvPr>
          <p:cNvGraphicFramePr>
            <a:graphicFrameLocks noGrp="1"/>
          </p:cNvGraphicFramePr>
          <p:nvPr/>
        </p:nvGraphicFramePr>
        <p:xfrm>
          <a:off x="2003425" y="5605477"/>
          <a:ext cx="7010399" cy="566737"/>
        </p:xfrm>
        <a:graphic>
          <a:graphicData uri="http://schemas.openxmlformats.org/drawingml/2006/table">
            <a:tbl>
              <a:tblPr firstRow="1" bandRow="1">
                <a:tableStyleId>{5C22544A-7EE6-4342-B048-85BDC9FD1C3A}</a:tableStyleId>
              </a:tblPr>
              <a:tblGrid>
                <a:gridCol w="7010399">
                  <a:extLst>
                    <a:ext uri="{9D8B030D-6E8A-4147-A177-3AD203B41FA5}">
                      <a16:colId xmlns:a16="http://schemas.microsoft.com/office/drawing/2014/main" val="20000"/>
                    </a:ext>
                  </a:extLst>
                </a:gridCol>
              </a:tblGrid>
              <a:tr h="566737">
                <a:tc>
                  <a:txBody>
                    <a:bodyPr/>
                    <a:lstStyle/>
                    <a:p>
                      <a:pPr marL="0" marR="0" indent="0" algn="l" defTabSz="913926" rtl="0" eaLnBrk="1" fontAlgn="auto" latinLnBrk="0" hangingPunct="1">
                        <a:lnSpc>
                          <a:spcPct val="100000"/>
                        </a:lnSpc>
                        <a:spcBef>
                          <a:spcPts val="0"/>
                        </a:spcBef>
                        <a:spcAft>
                          <a:spcPts val="0"/>
                        </a:spcAft>
                        <a:buClrTx/>
                        <a:buSzTx/>
                        <a:buFontTx/>
                        <a:buNone/>
                        <a:tabLst/>
                        <a:defRPr/>
                      </a:pPr>
                      <a:r>
                        <a:rPr lang="en-US" sz="1400" b="0" kern="1200">
                          <a:solidFill>
                            <a:schemeClr val="dk1"/>
                          </a:solidFill>
                          <a:latin typeface="+mn-lt"/>
                          <a:ea typeface="Gulim"/>
                          <a:cs typeface="Gulim"/>
                        </a:rPr>
                        <a:t>Any employee</a:t>
                      </a:r>
                      <a:r>
                        <a:rPr lang="en-US" sz="1400" b="0" kern="1200" baseline="0">
                          <a:solidFill>
                            <a:schemeClr val="dk1"/>
                          </a:solidFill>
                          <a:latin typeface="+mn-lt"/>
                          <a:ea typeface="Gulim"/>
                          <a:cs typeface="Gulim"/>
                        </a:rPr>
                        <a:t> can </a:t>
                      </a:r>
                      <a:r>
                        <a:rPr lang="en-US" sz="1400" b="0" kern="1200">
                          <a:solidFill>
                            <a:schemeClr val="dk1"/>
                          </a:solidFill>
                          <a:latin typeface="+mn-lt"/>
                          <a:ea typeface="Gulim"/>
                          <a:cs typeface="Gulim"/>
                        </a:rPr>
                        <a:t>provide or seek feedback from any other employee.</a:t>
                      </a:r>
                    </a:p>
                  </a:txBody>
                  <a:tcPr marT="45677" marB="45677"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7FF29"/>
                    </a:solidFill>
                  </a:tcPr>
                </a:tc>
                <a:extLst>
                  <a:ext uri="{0D108BD9-81ED-4DB2-BD59-A6C34878D82A}">
                    <a16:rowId xmlns:a16="http://schemas.microsoft.com/office/drawing/2014/main" val="10000"/>
                  </a:ext>
                </a:extLst>
              </a:tr>
            </a:tbl>
          </a:graphicData>
        </a:graphic>
      </p:graphicFrame>
      <p:sp>
        <p:nvSpPr>
          <p:cNvPr id="89" name="Flowchart: Preparation 88">
            <a:extLst>
              <a:ext uri="{FF2B5EF4-FFF2-40B4-BE49-F238E27FC236}">
                <a16:creationId xmlns:a16="http://schemas.microsoft.com/office/drawing/2014/main" id="{25DB2AF7-057E-4859-81BA-1365412C8602}"/>
              </a:ext>
            </a:extLst>
          </p:cNvPr>
          <p:cNvSpPr/>
          <p:nvPr/>
        </p:nvSpPr>
        <p:spPr>
          <a:xfrm>
            <a:off x="1181672" y="5059942"/>
            <a:ext cx="1738952" cy="641445"/>
          </a:xfrm>
          <a:prstGeom prst="flowChartPreparation">
            <a:avLst/>
          </a:prstGeom>
          <a:solidFill>
            <a:srgbClr val="6C92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anchor="ctr"/>
          <a:lstStyle/>
          <a:p>
            <a:pPr algn="ctr" defTabSz="956830">
              <a:defRPr/>
            </a:pPr>
            <a:r>
              <a:rPr lang="en-US" sz="1400" b="1">
                <a:solidFill>
                  <a:prstClr val="white"/>
                </a:solidFill>
              </a:rPr>
              <a:t>General </a:t>
            </a:r>
            <a:r>
              <a:rPr lang="en-US" sz="1200" b="1">
                <a:solidFill>
                  <a:prstClr val="white"/>
                </a:solidFill>
              </a:rPr>
              <a:t>Feedback</a:t>
            </a:r>
          </a:p>
        </p:txBody>
      </p:sp>
    </p:spTree>
    <p:extLst>
      <p:ext uri="{BB962C8B-B14F-4D97-AF65-F5344CB8AC3E}">
        <p14:creationId xmlns:p14="http://schemas.microsoft.com/office/powerpoint/2010/main" val="3556667220"/>
      </p:ext>
    </p:extLst>
  </p:cSld>
  <p:clrMapOvr>
    <a:masterClrMapping/>
  </p:clrMapOvr>
  <p:transition spd="slow">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367A53-8DB3-4601-B81D-A06710B46528}"/>
              </a:ext>
            </a:extLst>
          </p:cNvPr>
          <p:cNvSpPr>
            <a:spLocks noGrp="1"/>
          </p:cNvSpPr>
          <p:nvPr>
            <p:ph type="body" sz="quarter" idx="10"/>
          </p:nvPr>
        </p:nvSpPr>
        <p:spPr>
          <a:xfrm>
            <a:off x="377522" y="4430751"/>
            <a:ext cx="2684617" cy="894840"/>
          </a:xfrm>
        </p:spPr>
        <p:txBody>
          <a:bodyPr vert="horz" lIns="0" tIns="0" rIns="0" bIns="0" rtlCol="0" anchor="t">
            <a:noAutofit/>
          </a:bodyPr>
          <a:lstStyle/>
          <a:p>
            <a:pPr>
              <a:lnSpc>
                <a:spcPct val="90000"/>
              </a:lnSpc>
              <a:spcBef>
                <a:spcPct val="0"/>
              </a:spcBef>
              <a:spcAft>
                <a:spcPts val="0"/>
              </a:spcAft>
            </a:pPr>
            <a:r>
              <a:rPr lang="en-US" sz="1800">
                <a:ea typeface="Verdana"/>
                <a:cs typeface="Verdana"/>
              </a:rPr>
              <a:t> </a:t>
            </a:r>
            <a:br>
              <a:rPr lang="en-US" sz="1800">
                <a:ea typeface="Verdana"/>
                <a:cs typeface="Verdana"/>
              </a:rPr>
            </a:br>
            <a:r>
              <a:rPr lang="en-US" sz="1800">
                <a:ea typeface="Verdana"/>
                <a:cs typeface="Verdana"/>
              </a:rPr>
              <a:t>A leadership model to drive your actions </a:t>
            </a:r>
          </a:p>
          <a:p>
            <a:endParaRPr lang="en-US" sz="1800">
              <a:ea typeface="Verdana"/>
              <a:cs typeface="Verdana"/>
            </a:endParaRPr>
          </a:p>
        </p:txBody>
      </p:sp>
      <p:sp>
        <p:nvSpPr>
          <p:cNvPr id="2" name="Title 1"/>
          <p:cNvSpPr>
            <a:spLocks noGrp="1"/>
          </p:cNvSpPr>
          <p:nvPr>
            <p:ph type="title" idx="4294967295"/>
          </p:nvPr>
        </p:nvSpPr>
        <p:spPr>
          <a:xfrm>
            <a:off x="6881813" y="1412875"/>
            <a:ext cx="3024187" cy="715963"/>
          </a:xfrm>
        </p:spPr>
        <p:txBody>
          <a:bodyPr>
            <a:normAutofit fontScale="90000"/>
          </a:bodyPr>
          <a:lstStyle/>
          <a:p>
            <a:r>
              <a:rPr lang="en-US" sz="2400" b="1">
                <a:solidFill>
                  <a:schemeClr val="bg1"/>
                </a:solidFill>
              </a:rPr>
              <a:t>Six Dimensions: </a:t>
            </a:r>
            <a:br>
              <a:rPr lang="en-US" sz="2400" b="1">
                <a:solidFill>
                  <a:schemeClr val="bg1"/>
                </a:solidFill>
              </a:rPr>
            </a:br>
            <a:r>
              <a:rPr lang="en-US" sz="2400" b="1">
                <a:solidFill>
                  <a:schemeClr val="bg1"/>
                </a:solidFill>
              </a:rPr>
              <a:t>A Leadership model to drive your actions </a:t>
            </a:r>
            <a:endParaRPr lang="en-US" sz="2400"/>
          </a:p>
        </p:txBody>
      </p:sp>
      <p:pic>
        <p:nvPicPr>
          <p:cNvPr id="6" name="Picture 6">
            <a:extLst>
              <a:ext uri="{FF2B5EF4-FFF2-40B4-BE49-F238E27FC236}">
                <a16:creationId xmlns:a16="http://schemas.microsoft.com/office/drawing/2014/main" id="{59BF3EA3-4D7E-4B5E-9EE2-B4D60D7DAAE2}"/>
              </a:ext>
            </a:extLst>
          </p:cNvPr>
          <p:cNvPicPr>
            <a:picLocks noChangeAspect="1"/>
          </p:cNvPicPr>
          <p:nvPr/>
        </p:nvPicPr>
        <p:blipFill>
          <a:blip r:embed="rId3"/>
          <a:stretch>
            <a:fillRect/>
          </a:stretch>
        </p:blipFill>
        <p:spPr>
          <a:xfrm>
            <a:off x="7819322" y="100290"/>
            <a:ext cx="2029085" cy="609600"/>
          </a:xfrm>
          <a:prstGeom prst="rect">
            <a:avLst/>
          </a:prstGeom>
        </p:spPr>
      </p:pic>
      <p:sp>
        <p:nvSpPr>
          <p:cNvPr id="15" name="TextBox 14">
            <a:extLst>
              <a:ext uri="{FF2B5EF4-FFF2-40B4-BE49-F238E27FC236}">
                <a16:creationId xmlns:a16="http://schemas.microsoft.com/office/drawing/2014/main" id="{79DC1B4C-A511-4C01-9078-3BC08B1148BA}"/>
              </a:ext>
            </a:extLst>
          </p:cNvPr>
          <p:cNvSpPr txBox="1"/>
          <p:nvPr/>
        </p:nvSpPr>
        <p:spPr>
          <a:xfrm>
            <a:off x="238006" y="3935867"/>
            <a:ext cx="3163512" cy="492443"/>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a:solidFill>
                  <a:schemeClr val="bg1"/>
                </a:solidFill>
              </a:rPr>
              <a:t>Six Dimensions:</a:t>
            </a:r>
            <a:endParaRPr lang="en-US" sz="2600">
              <a:solidFill>
                <a:schemeClr val="bg1"/>
              </a:solidFill>
              <a:ea typeface="Verdana"/>
              <a:cs typeface="Verdana"/>
            </a:endParaRPr>
          </a:p>
        </p:txBody>
      </p:sp>
      <p:pic>
        <p:nvPicPr>
          <p:cNvPr id="16" name="Picture 16" descr="A close up of a logo&#10;&#10;Description generated with very high confidence">
            <a:extLst>
              <a:ext uri="{FF2B5EF4-FFF2-40B4-BE49-F238E27FC236}">
                <a16:creationId xmlns:a16="http://schemas.microsoft.com/office/drawing/2014/main" id="{F29F77CD-7ABC-42CA-92CE-69FCCE80FC56}"/>
              </a:ext>
            </a:extLst>
          </p:cNvPr>
          <p:cNvPicPr>
            <a:picLocks noChangeAspect="1"/>
          </p:cNvPicPr>
          <p:nvPr/>
        </p:nvPicPr>
        <p:blipFill>
          <a:blip r:embed="rId4"/>
          <a:stretch>
            <a:fillRect/>
          </a:stretch>
        </p:blipFill>
        <p:spPr>
          <a:xfrm>
            <a:off x="7644688" y="101415"/>
            <a:ext cx="2207167" cy="664405"/>
          </a:xfrm>
          <a:prstGeom prst="rect">
            <a:avLst/>
          </a:prstGeom>
        </p:spPr>
      </p:pic>
      <p:pic>
        <p:nvPicPr>
          <p:cNvPr id="18" name="Picture 18" descr="A close up of a logo&#10;&#10;Description generated with very high confidence">
            <a:extLst>
              <a:ext uri="{FF2B5EF4-FFF2-40B4-BE49-F238E27FC236}">
                <a16:creationId xmlns:a16="http://schemas.microsoft.com/office/drawing/2014/main" id="{A0BEB6F5-41A6-4603-8DDF-517A8392EC28}"/>
              </a:ext>
            </a:extLst>
          </p:cNvPr>
          <p:cNvPicPr>
            <a:picLocks noChangeAspect="1"/>
          </p:cNvPicPr>
          <p:nvPr/>
        </p:nvPicPr>
        <p:blipFill>
          <a:blip r:embed="rId5"/>
          <a:stretch>
            <a:fillRect/>
          </a:stretch>
        </p:blipFill>
        <p:spPr>
          <a:xfrm>
            <a:off x="374066" y="327710"/>
            <a:ext cx="6704191" cy="440035"/>
          </a:xfrm>
          <a:prstGeom prst="rect">
            <a:avLst/>
          </a:prstGeom>
        </p:spPr>
      </p:pic>
      <p:pic>
        <p:nvPicPr>
          <p:cNvPr id="5" name="Picture 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86150" y="275987"/>
            <a:ext cx="6188134" cy="4695870"/>
          </a:xfrm>
          <a:prstGeom prst="rect">
            <a:avLst/>
          </a:prstGeom>
        </p:spPr>
      </p:pic>
    </p:spTree>
    <p:extLst>
      <p:ext uri="{BB962C8B-B14F-4D97-AF65-F5344CB8AC3E}">
        <p14:creationId xmlns:p14="http://schemas.microsoft.com/office/powerpoint/2010/main" val="177582765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1078773" y="1165326"/>
            <a:ext cx="7344394" cy="729406"/>
          </a:xfrm>
        </p:spPr>
        <p:txBody>
          <a:bodyPr/>
          <a:lstStyle/>
          <a:p>
            <a:r>
              <a:rPr lang="en-US" dirty="0"/>
              <a:t>The FS World is divided into what we call Practices</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703951" y="2400821"/>
            <a:ext cx="1365515" cy="539580"/>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3" name="Rectangle 52">
            <a:extLst>
              <a:ext uri="{FF2B5EF4-FFF2-40B4-BE49-F238E27FC236}">
                <a16:creationId xmlns:a16="http://schemas.microsoft.com/office/drawing/2014/main" id="{86304B18-FE01-4A88-AA17-A2A76AB7E3F6}"/>
              </a:ext>
            </a:extLst>
          </p:cNvPr>
          <p:cNvSpPr/>
          <p:nvPr/>
        </p:nvSpPr>
        <p:spPr>
          <a:xfrm>
            <a:off x="1091836"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4" name="Rectangle 53">
            <a:extLst>
              <a:ext uri="{FF2B5EF4-FFF2-40B4-BE49-F238E27FC236}">
                <a16:creationId xmlns:a16="http://schemas.microsoft.com/office/drawing/2014/main" id="{AC8E1C88-76B5-4FBC-8619-E07B3932BC02}"/>
              </a:ext>
            </a:extLst>
          </p:cNvPr>
          <p:cNvSpPr/>
          <p:nvPr/>
        </p:nvSpPr>
        <p:spPr>
          <a:xfrm>
            <a:off x="1129278" y="2400821"/>
            <a:ext cx="1365515" cy="53958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1197713" y="2499883"/>
            <a:ext cx="376196" cy="332477"/>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56" name="Rectangle 55">
            <a:extLst>
              <a:ext uri="{FF2B5EF4-FFF2-40B4-BE49-F238E27FC236}">
                <a16:creationId xmlns:a16="http://schemas.microsoft.com/office/drawing/2014/main" id="{A1809CA5-7D56-407C-9D28-9C025BC3466D}"/>
              </a:ext>
            </a:extLst>
          </p:cNvPr>
          <p:cNvSpPr/>
          <p:nvPr/>
        </p:nvSpPr>
        <p:spPr>
          <a:xfrm>
            <a:off x="2666508"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789972" y="2500202"/>
            <a:ext cx="359666" cy="318821"/>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58" name="Rectangle 57">
            <a:extLst>
              <a:ext uri="{FF2B5EF4-FFF2-40B4-BE49-F238E27FC236}">
                <a16:creationId xmlns:a16="http://schemas.microsoft.com/office/drawing/2014/main" id="{E84F61DF-65CA-45BF-9A0B-34B97F6A97EA}"/>
              </a:ext>
            </a:extLst>
          </p:cNvPr>
          <p:cNvSpPr/>
          <p:nvPr/>
        </p:nvSpPr>
        <p:spPr>
          <a:xfrm>
            <a:off x="4241180"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9" name="Rectangle 58">
            <a:extLst>
              <a:ext uri="{FF2B5EF4-FFF2-40B4-BE49-F238E27FC236}">
                <a16:creationId xmlns:a16="http://schemas.microsoft.com/office/drawing/2014/main" id="{831AED31-10FD-4B27-990C-A819D745E531}"/>
              </a:ext>
            </a:extLst>
          </p:cNvPr>
          <p:cNvSpPr/>
          <p:nvPr/>
        </p:nvSpPr>
        <p:spPr>
          <a:xfrm>
            <a:off x="4278623" y="2400821"/>
            <a:ext cx="1365515" cy="53958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0" name="Group 8">
            <a:extLst>
              <a:ext uri="{FF2B5EF4-FFF2-40B4-BE49-F238E27FC236}">
                <a16:creationId xmlns:a16="http://schemas.microsoft.com/office/drawing/2014/main" id="{B2B8CB78-28CC-46E6-8507-EF0E6B4E5F39}"/>
              </a:ext>
            </a:extLst>
          </p:cNvPr>
          <p:cNvGrpSpPr/>
          <p:nvPr/>
        </p:nvGrpSpPr>
        <p:grpSpPr>
          <a:xfrm>
            <a:off x="4347214" y="2499951"/>
            <a:ext cx="368003" cy="32958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1" name="Rectangle 60">
            <a:extLst>
              <a:ext uri="{FF2B5EF4-FFF2-40B4-BE49-F238E27FC236}">
                <a16:creationId xmlns:a16="http://schemas.microsoft.com/office/drawing/2014/main" id="{6A2E64E3-C40B-4FA6-866D-445B474C04A6}"/>
              </a:ext>
            </a:extLst>
          </p:cNvPr>
          <p:cNvSpPr/>
          <p:nvPr/>
        </p:nvSpPr>
        <p:spPr>
          <a:xfrm>
            <a:off x="5815853"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62" name="Rectangle 61">
            <a:extLst>
              <a:ext uri="{FF2B5EF4-FFF2-40B4-BE49-F238E27FC236}">
                <a16:creationId xmlns:a16="http://schemas.microsoft.com/office/drawing/2014/main" id="{E6142444-0D7A-4B76-850A-8328C7265351}"/>
              </a:ext>
            </a:extLst>
          </p:cNvPr>
          <p:cNvSpPr/>
          <p:nvPr/>
        </p:nvSpPr>
        <p:spPr>
          <a:xfrm>
            <a:off x="5853296" y="2400821"/>
            <a:ext cx="1365515" cy="53958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5921665" y="2499926"/>
            <a:ext cx="372992" cy="330633"/>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4" name="Rectangle 63">
            <a:extLst>
              <a:ext uri="{FF2B5EF4-FFF2-40B4-BE49-F238E27FC236}">
                <a16:creationId xmlns:a16="http://schemas.microsoft.com/office/drawing/2014/main" id="{9C16D0F2-2CA3-4538-9C3C-86C7AA9E9C07}"/>
              </a:ext>
            </a:extLst>
          </p:cNvPr>
          <p:cNvSpPr/>
          <p:nvPr/>
        </p:nvSpPr>
        <p:spPr>
          <a:xfrm>
            <a:off x="7390526"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65" name="Rectangle 64">
            <a:extLst>
              <a:ext uri="{FF2B5EF4-FFF2-40B4-BE49-F238E27FC236}">
                <a16:creationId xmlns:a16="http://schemas.microsoft.com/office/drawing/2014/main" id="{F632AB97-A0B1-4CCB-95C6-07407A0214F2}"/>
              </a:ext>
            </a:extLst>
          </p:cNvPr>
          <p:cNvSpPr/>
          <p:nvPr/>
        </p:nvSpPr>
        <p:spPr>
          <a:xfrm>
            <a:off x="7427969" y="2400821"/>
            <a:ext cx="1365515" cy="53958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7492318" y="2499822"/>
            <a:ext cx="379379" cy="335090"/>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1569239"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Banking Diversified Financials (BDF)</a:t>
            </a:r>
            <a:endParaRPr lang="pt-PT" sz="925" dirty="0">
              <a:solidFill>
                <a:srgbClr val="FFFFFF"/>
              </a:solidFill>
              <a:latin typeface="Verdana"/>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4718657"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792" dirty="0">
                <a:solidFill>
                  <a:srgbClr val="FFFFFF"/>
                </a:solidFill>
                <a:latin typeface="Verdana"/>
              </a:rPr>
              <a:t>Application Development Management (ADM) – ERP also included</a:t>
            </a:r>
            <a:endParaRPr lang="pt-PT" sz="792" dirty="0">
              <a:solidFill>
                <a:srgbClr val="FFFFFF"/>
              </a:solidFill>
              <a:latin typeface="Verdana"/>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6292946"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Testing</a:t>
            </a:r>
            <a:endParaRPr lang="pt-PT" sz="925" dirty="0">
              <a:solidFill>
                <a:srgbClr val="FFFFFF"/>
              </a:solidFill>
              <a:latin typeface="Verdana"/>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7885206"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Insurance (Ins)</a:t>
            </a:r>
            <a:endParaRPr lang="pt-PT" sz="925" dirty="0">
              <a:solidFill>
                <a:srgbClr val="FFFFFF"/>
              </a:solidFill>
              <a:latin typeface="Verdana"/>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1144638"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Global Lead – Carlos Salta</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Lead – Michael Donnary</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HR – Michael Nardi</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Staffing – Pulkit Mehrotra</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Learning – Sinjini Bandyopadhyay</a:t>
            </a: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11905"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Ferreol </a:t>
            </a:r>
            <a:r>
              <a:rPr lang="en-US" sz="925" dirty="0" err="1">
                <a:solidFill>
                  <a:prstClr val="black"/>
                </a:solidFill>
                <a:latin typeface="Verdana"/>
              </a:rPr>
              <a:t>DeNauris</a:t>
            </a:r>
            <a:endParaRPr lang="en-US" sz="925" dirty="0">
              <a:solidFill>
                <a:prstClr val="black"/>
              </a:solidFill>
              <a:latin typeface="Verdana"/>
            </a:endParaRP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Peter Katsos</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Michael Nardi</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a:t>
            </a:r>
            <a:r>
              <a:rPr lang="en-US" sz="925" dirty="0" err="1">
                <a:solidFill>
                  <a:prstClr val="black"/>
                </a:solidFill>
                <a:latin typeface="Verdana"/>
              </a:rPr>
              <a:t>Ompi</a:t>
            </a:r>
            <a:r>
              <a:rPr lang="en-US" sz="925" dirty="0">
                <a:solidFill>
                  <a:prstClr val="black"/>
                </a:solidFill>
                <a:latin typeface="Verdana"/>
              </a:rPr>
              <a:t> Mitr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4294912"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Abhaya Gupt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Ravi Gandl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Bill Grish</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Sakti Dash</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5868344"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Abhaya Gupt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Kumar Balasubramanian</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Margo Sanders</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Amit Rane</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7446563"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Ian Campos</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Andrew Hood</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Pijush Chatterjee</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Dinesh Nigam</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161499"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Capital Markets (CM)</a:t>
            </a:r>
            <a:endParaRPr lang="pt-PT" sz="925" dirty="0">
              <a:solidFill>
                <a:srgbClr val="FFFFFF"/>
              </a:solidFill>
              <a:latin typeface="Verdan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1078773" y="1165326"/>
            <a:ext cx="7344394" cy="729406"/>
          </a:xfrm>
        </p:spPr>
        <p:txBody>
          <a:bodyPr/>
          <a:lstStyle/>
          <a:p>
            <a:r>
              <a:rPr lang="en-US" dirty="0"/>
              <a:t>The FS World is divided into what we call Practices (continued)</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703951" y="2400821"/>
            <a:ext cx="1365515" cy="539580"/>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3" name="Rectangle 52">
            <a:extLst>
              <a:ext uri="{FF2B5EF4-FFF2-40B4-BE49-F238E27FC236}">
                <a16:creationId xmlns:a16="http://schemas.microsoft.com/office/drawing/2014/main" id="{86304B18-FE01-4A88-AA17-A2A76AB7E3F6}"/>
              </a:ext>
            </a:extLst>
          </p:cNvPr>
          <p:cNvSpPr/>
          <p:nvPr/>
        </p:nvSpPr>
        <p:spPr>
          <a:xfrm>
            <a:off x="1091836"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4" name="Rectangle 53">
            <a:extLst>
              <a:ext uri="{FF2B5EF4-FFF2-40B4-BE49-F238E27FC236}">
                <a16:creationId xmlns:a16="http://schemas.microsoft.com/office/drawing/2014/main" id="{AC8E1C88-76B5-4FBC-8619-E07B3932BC02}"/>
              </a:ext>
            </a:extLst>
          </p:cNvPr>
          <p:cNvSpPr/>
          <p:nvPr/>
        </p:nvSpPr>
        <p:spPr>
          <a:xfrm>
            <a:off x="1129278" y="2400821"/>
            <a:ext cx="1365515" cy="53958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1197713" y="2499883"/>
            <a:ext cx="376196" cy="332477"/>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56" name="Rectangle 55">
            <a:extLst>
              <a:ext uri="{FF2B5EF4-FFF2-40B4-BE49-F238E27FC236}">
                <a16:creationId xmlns:a16="http://schemas.microsoft.com/office/drawing/2014/main" id="{A1809CA5-7D56-407C-9D28-9C025BC3466D}"/>
              </a:ext>
            </a:extLst>
          </p:cNvPr>
          <p:cNvSpPr/>
          <p:nvPr/>
        </p:nvSpPr>
        <p:spPr>
          <a:xfrm>
            <a:off x="2666508"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789972" y="2500202"/>
            <a:ext cx="359666" cy="318821"/>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58" name="Rectangle 57">
            <a:extLst>
              <a:ext uri="{FF2B5EF4-FFF2-40B4-BE49-F238E27FC236}">
                <a16:creationId xmlns:a16="http://schemas.microsoft.com/office/drawing/2014/main" id="{E84F61DF-65CA-45BF-9A0B-34B97F6A97EA}"/>
              </a:ext>
            </a:extLst>
          </p:cNvPr>
          <p:cNvSpPr/>
          <p:nvPr/>
        </p:nvSpPr>
        <p:spPr>
          <a:xfrm>
            <a:off x="4241180"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59" name="Rectangle 58">
            <a:extLst>
              <a:ext uri="{FF2B5EF4-FFF2-40B4-BE49-F238E27FC236}">
                <a16:creationId xmlns:a16="http://schemas.microsoft.com/office/drawing/2014/main" id="{831AED31-10FD-4B27-990C-A819D745E531}"/>
              </a:ext>
            </a:extLst>
          </p:cNvPr>
          <p:cNvSpPr/>
          <p:nvPr/>
        </p:nvSpPr>
        <p:spPr>
          <a:xfrm>
            <a:off x="4278623" y="2400821"/>
            <a:ext cx="1365515" cy="53958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0" name="Group 8">
            <a:extLst>
              <a:ext uri="{FF2B5EF4-FFF2-40B4-BE49-F238E27FC236}">
                <a16:creationId xmlns:a16="http://schemas.microsoft.com/office/drawing/2014/main" id="{B2B8CB78-28CC-46E6-8507-EF0E6B4E5F39}"/>
              </a:ext>
            </a:extLst>
          </p:cNvPr>
          <p:cNvGrpSpPr/>
          <p:nvPr/>
        </p:nvGrpSpPr>
        <p:grpSpPr>
          <a:xfrm>
            <a:off x="4347214" y="2499951"/>
            <a:ext cx="368003" cy="32958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1" name="Rectangle 60">
            <a:extLst>
              <a:ext uri="{FF2B5EF4-FFF2-40B4-BE49-F238E27FC236}">
                <a16:creationId xmlns:a16="http://schemas.microsoft.com/office/drawing/2014/main" id="{6A2E64E3-C40B-4FA6-866D-445B474C04A6}"/>
              </a:ext>
            </a:extLst>
          </p:cNvPr>
          <p:cNvSpPr/>
          <p:nvPr/>
        </p:nvSpPr>
        <p:spPr>
          <a:xfrm>
            <a:off x="5815853"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62" name="Rectangle 61">
            <a:extLst>
              <a:ext uri="{FF2B5EF4-FFF2-40B4-BE49-F238E27FC236}">
                <a16:creationId xmlns:a16="http://schemas.microsoft.com/office/drawing/2014/main" id="{E6142444-0D7A-4B76-850A-8328C7265351}"/>
              </a:ext>
            </a:extLst>
          </p:cNvPr>
          <p:cNvSpPr/>
          <p:nvPr/>
        </p:nvSpPr>
        <p:spPr>
          <a:xfrm>
            <a:off x="5853296" y="2400821"/>
            <a:ext cx="1365515" cy="53958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5921665" y="2499926"/>
            <a:ext cx="372992" cy="330633"/>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4" name="Rectangle 63">
            <a:extLst>
              <a:ext uri="{FF2B5EF4-FFF2-40B4-BE49-F238E27FC236}">
                <a16:creationId xmlns:a16="http://schemas.microsoft.com/office/drawing/2014/main" id="{9C16D0F2-2CA3-4538-9C3C-86C7AA9E9C07}"/>
              </a:ext>
            </a:extLst>
          </p:cNvPr>
          <p:cNvSpPr/>
          <p:nvPr/>
        </p:nvSpPr>
        <p:spPr>
          <a:xfrm>
            <a:off x="7390526" y="2363740"/>
            <a:ext cx="1449763" cy="294839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sp>
        <p:nvSpPr>
          <p:cNvPr id="65" name="Rectangle 64">
            <a:extLst>
              <a:ext uri="{FF2B5EF4-FFF2-40B4-BE49-F238E27FC236}">
                <a16:creationId xmlns:a16="http://schemas.microsoft.com/office/drawing/2014/main" id="{F632AB97-A0B1-4CCB-95C6-07407A0214F2}"/>
              </a:ext>
            </a:extLst>
          </p:cNvPr>
          <p:cNvSpPr/>
          <p:nvPr/>
        </p:nvSpPr>
        <p:spPr>
          <a:xfrm>
            <a:off x="7427969" y="2400821"/>
            <a:ext cx="1365515" cy="53958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3647">
              <a:defRPr/>
            </a:pPr>
            <a:endParaRPr lang="pt-PT" sz="1189">
              <a:solidFill>
                <a:srgbClr val="FFFFFF"/>
              </a:solidFill>
              <a:latin typeface="Verdana"/>
            </a:endParaRPr>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7492318" y="2499822"/>
            <a:ext cx="379379" cy="335090"/>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pPr defTabSz="603647">
                <a:defRPr/>
              </a:pPr>
              <a:endParaRPr lang="en-US" sz="1189" dirty="0">
                <a:solidFill>
                  <a:prstClr val="black"/>
                </a:solidFill>
                <a:latin typeface="Verdana"/>
              </a:endParaRPr>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1569239"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Insights &amp; Data (I&amp;D)</a:t>
            </a:r>
            <a:endParaRPr lang="pt-PT" sz="925" dirty="0">
              <a:solidFill>
                <a:srgbClr val="FFFFFF"/>
              </a:solidFill>
              <a:latin typeface="Verdana"/>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4718657"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Cards &amp; Payments</a:t>
            </a:r>
            <a:endParaRPr lang="pt-PT" sz="925" dirty="0">
              <a:solidFill>
                <a:srgbClr val="FFFFFF"/>
              </a:solidFill>
              <a:latin typeface="Verdana"/>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6292946"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792" dirty="0">
                <a:solidFill>
                  <a:srgbClr val="FFFFFF"/>
                </a:solidFill>
                <a:latin typeface="Verdana"/>
              </a:rPr>
              <a:t>Business &amp; IT </a:t>
            </a:r>
            <a:r>
              <a:rPr lang="en-US" sz="726" dirty="0">
                <a:solidFill>
                  <a:srgbClr val="FFFFFF"/>
                </a:solidFill>
                <a:latin typeface="Verdana"/>
              </a:rPr>
              <a:t>Transformation</a:t>
            </a:r>
            <a:r>
              <a:rPr lang="en-US" sz="792" dirty="0">
                <a:solidFill>
                  <a:srgbClr val="FFFFFF"/>
                </a:solidFill>
                <a:latin typeface="Verdana"/>
              </a:rPr>
              <a:t> - Banking (B&amp;ITT)</a:t>
            </a:r>
            <a:endParaRPr lang="pt-PT" sz="792" dirty="0">
              <a:solidFill>
                <a:srgbClr val="FFFFFF"/>
              </a:solidFill>
              <a:latin typeface="Verdana"/>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7885206"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792" dirty="0">
                <a:solidFill>
                  <a:srgbClr val="FFFFFF"/>
                </a:solidFill>
                <a:latin typeface="Verdana"/>
              </a:rPr>
              <a:t>Business &amp; IT </a:t>
            </a:r>
            <a:r>
              <a:rPr lang="en-US" sz="726" dirty="0">
                <a:solidFill>
                  <a:srgbClr val="FFFFFF"/>
                </a:solidFill>
                <a:latin typeface="Verdana"/>
              </a:rPr>
              <a:t>Transformation</a:t>
            </a:r>
            <a:r>
              <a:rPr lang="en-US" sz="792" dirty="0">
                <a:solidFill>
                  <a:srgbClr val="FFFFFF"/>
                </a:solidFill>
                <a:latin typeface="Verdana"/>
              </a:rPr>
              <a:t> - Insurance (B&amp;ITT)</a:t>
            </a:r>
            <a:endParaRPr lang="pt-PT" sz="792" dirty="0">
              <a:solidFill>
                <a:srgbClr val="FFFFFF"/>
              </a:solidFill>
              <a:latin typeface="Verdana"/>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1144638"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Global Lead – Ramana Bhandaru</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Lead – Vaibhav Shringarpure</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HR – Jane Viegas</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Staffing – Mayuri Chande</a:t>
            </a:r>
          </a:p>
          <a:p>
            <a:pPr marL="114232" indent="-114232" defTabSz="603647">
              <a:lnSpc>
                <a:spcPct val="90000"/>
              </a:lnSpc>
              <a:spcBef>
                <a:spcPts val="661"/>
              </a:spcBef>
              <a:buClr>
                <a:srgbClr val="0070AD"/>
              </a:buClr>
              <a:buFont typeface="Arial" panose="020B0604020202020204" pitchFamily="34" charset="0"/>
              <a:buChar char="•"/>
              <a:tabLst>
                <a:tab pos="119472" algn="l"/>
              </a:tabLst>
              <a:defRPr/>
            </a:pPr>
            <a:r>
              <a:rPr lang="en-US" sz="925" dirty="0">
                <a:solidFill>
                  <a:prstClr val="black"/>
                </a:solidFill>
                <a:latin typeface="Verdana"/>
              </a:rPr>
              <a:t>NA Learning – Sinjini Bandyopadhyay</a:t>
            </a: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11905"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Vikrant </a:t>
            </a:r>
            <a:r>
              <a:rPr lang="en-US" sz="925" dirty="0" err="1">
                <a:solidFill>
                  <a:prstClr val="black"/>
                </a:solidFill>
                <a:latin typeface="Verdana"/>
              </a:rPr>
              <a:t>Karnick</a:t>
            </a:r>
            <a:endParaRPr lang="en-US" sz="925" dirty="0">
              <a:solidFill>
                <a:prstClr val="black"/>
              </a:solidFill>
              <a:latin typeface="Verdana"/>
            </a:endParaRP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Rene Claudio</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Carolina Ortiz</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Amit Rane</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4294912"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Jeroen Holscher</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Lakshmanan Sundaram</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Jane Viegas</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Pulkit Mehrotr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5868344"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Nilesh Vaidy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 Eric Anklesari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Michael Nardi</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a:t>
            </a:r>
            <a:r>
              <a:rPr lang="en-US" sz="925" dirty="0" err="1">
                <a:solidFill>
                  <a:prstClr val="black"/>
                </a:solidFill>
                <a:latin typeface="Verdana"/>
              </a:rPr>
              <a:t>Ompi</a:t>
            </a:r>
            <a:r>
              <a:rPr lang="en-US" sz="925" dirty="0">
                <a:solidFill>
                  <a:prstClr val="black"/>
                </a:solidFill>
                <a:latin typeface="Verdana"/>
              </a:rPr>
              <a:t> Mitr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7446563" y="2944416"/>
            <a:ext cx="1347088" cy="2302345"/>
          </a:xfrm>
          <a:prstGeom prst="rect">
            <a:avLst/>
          </a:prstGeom>
        </p:spPr>
        <p:txBody>
          <a:bodyPr vert="horz" lIns="60365" tIns="30183" rIns="60365" bIns="30183" rtlCol="0">
            <a:noAutofit/>
          </a:bodyPr>
          <a:lstStyle/>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Global Lead – Nilesh Vaidya</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d </a:t>
            </a:r>
            <a:r>
              <a:rPr lang="en-US" sz="925">
                <a:solidFill>
                  <a:prstClr val="black"/>
                </a:solidFill>
                <a:latin typeface="Verdana"/>
              </a:rPr>
              <a:t>– Andrew Hood</a:t>
            </a:r>
            <a:endParaRPr lang="en-US" sz="925" dirty="0">
              <a:solidFill>
                <a:prstClr val="black"/>
              </a:solidFill>
              <a:latin typeface="Verdana"/>
            </a:endParaRP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HR – Pijush Chatterjee</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Staffing – Dinesh Nigam</a:t>
            </a:r>
          </a:p>
          <a:p>
            <a:pPr marL="114232" indent="-114232" defTabSz="603647">
              <a:lnSpc>
                <a:spcPct val="90000"/>
              </a:lnSpc>
              <a:spcBef>
                <a:spcPts val="661"/>
              </a:spcBef>
              <a:buClr>
                <a:srgbClr val="0070AD"/>
              </a:buClr>
              <a:buFont typeface="Arial" panose="020B0604020202020204" pitchFamily="34" charset="0"/>
              <a:buChar char="•"/>
              <a:defRPr/>
            </a:pPr>
            <a:r>
              <a:rPr lang="en-US" sz="925" dirty="0">
                <a:solidFill>
                  <a:prstClr val="black"/>
                </a:solidFill>
                <a:latin typeface="Verdana"/>
              </a:rPr>
              <a:t>NA Learning – Sinjini Bandyopadhyay</a:t>
            </a: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161499" y="2526445"/>
            <a:ext cx="849206" cy="288330"/>
          </a:xfrm>
          <a:prstGeom prst="rect">
            <a:avLst/>
          </a:prstGeom>
        </p:spPr>
        <p:txBody>
          <a:bodyPr vert="horz" lIns="60365" tIns="30183" rIns="60365" bIns="30183" rtlCol="0" anchor="ctr">
            <a:noAutofit/>
          </a:bodyPr>
          <a:lstStyle/>
          <a:p>
            <a:pPr defTabSz="603647">
              <a:lnSpc>
                <a:spcPct val="85000"/>
              </a:lnSpc>
              <a:spcBef>
                <a:spcPts val="397"/>
              </a:spcBef>
              <a:defRPr/>
            </a:pPr>
            <a:r>
              <a:rPr lang="en-US" sz="925" dirty="0">
                <a:solidFill>
                  <a:srgbClr val="FFFFFF"/>
                </a:solidFill>
                <a:latin typeface="Verdana"/>
              </a:rPr>
              <a:t>Digital (DGTL)</a:t>
            </a:r>
            <a:endParaRPr lang="pt-PT" sz="925" dirty="0">
              <a:solidFill>
                <a:srgbClr val="FFFFFF"/>
              </a:solidFill>
              <a:latin typeface="Verdana"/>
            </a:endParaRPr>
          </a:p>
        </p:txBody>
      </p:sp>
    </p:spTree>
    <p:extLst>
      <p:ext uri="{BB962C8B-B14F-4D97-AF65-F5344CB8AC3E}">
        <p14:creationId xmlns:p14="http://schemas.microsoft.com/office/powerpoint/2010/main" val="1195220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343D-0DF7-4B3C-808E-2EE2F3532A36}"/>
              </a:ext>
            </a:extLst>
          </p:cNvPr>
          <p:cNvSpPr>
            <a:spLocks noGrp="1"/>
          </p:cNvSpPr>
          <p:nvPr>
            <p:ph type="title"/>
          </p:nvPr>
        </p:nvSpPr>
        <p:spPr>
          <a:xfrm>
            <a:off x="696689" y="1945918"/>
            <a:ext cx="8161266" cy="859536"/>
          </a:xfrm>
        </p:spPr>
        <p:txBody>
          <a:bodyPr>
            <a:normAutofit fontScale="90000"/>
          </a:bodyPr>
          <a:lstStyle/>
          <a:p>
            <a:r>
              <a:rPr lang="en-US" sz="3200"/>
              <a:t>Meet your Partners</a:t>
            </a:r>
            <a:br>
              <a:rPr lang="en-US" sz="3200"/>
            </a:br>
            <a:endParaRPr lang="en-US" sz="3200"/>
          </a:p>
        </p:txBody>
      </p:sp>
    </p:spTree>
    <p:extLst>
      <p:ext uri="{BB962C8B-B14F-4D97-AF65-F5344CB8AC3E}">
        <p14:creationId xmlns:p14="http://schemas.microsoft.com/office/powerpoint/2010/main" val="425059819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a:extLst>
              <a:ext uri="{FF2B5EF4-FFF2-40B4-BE49-F238E27FC236}">
                <a16:creationId xmlns:a16="http://schemas.microsoft.com/office/drawing/2014/main" id="{F6041A7A-770E-4590-B78A-639C288614D6}"/>
              </a:ext>
            </a:extLst>
          </p:cNvPr>
          <p:cNvSpPr/>
          <p:nvPr/>
        </p:nvSpPr>
        <p:spPr>
          <a:xfrm>
            <a:off x="1149038" y="1403913"/>
            <a:ext cx="1145938" cy="598992"/>
          </a:xfrm>
          <a:prstGeom prst="rect">
            <a:avLst/>
          </a:prstGeom>
          <a:solidFill>
            <a:schemeClr val="bg2">
              <a:alpha val="10000"/>
            </a:schemeClr>
          </a:solid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255" dirty="0">
              <a:solidFill>
                <a:srgbClr val="FFFFFF"/>
              </a:solidFill>
              <a:latin typeface="Verdana"/>
            </a:endParaRPr>
          </a:p>
        </p:txBody>
      </p:sp>
      <p:sp>
        <p:nvSpPr>
          <p:cNvPr id="57" name="Rectangle 56">
            <a:extLst>
              <a:ext uri="{FF2B5EF4-FFF2-40B4-BE49-F238E27FC236}">
                <a16:creationId xmlns:a16="http://schemas.microsoft.com/office/drawing/2014/main" id="{C56C09F6-0601-44C7-86FF-5D7AF1119CCA}"/>
              </a:ext>
            </a:extLst>
          </p:cNvPr>
          <p:cNvSpPr/>
          <p:nvPr/>
        </p:nvSpPr>
        <p:spPr>
          <a:xfrm>
            <a:off x="1130560" y="2078994"/>
            <a:ext cx="1164416" cy="3156394"/>
          </a:xfrm>
          <a:prstGeom prst="rect">
            <a:avLst/>
          </a:prstGeom>
          <a:solidFill>
            <a:schemeClr val="bg2">
              <a:alpha val="10000"/>
            </a:schemeClr>
          </a:solid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255">
              <a:solidFill>
                <a:srgbClr val="FFFFFF"/>
              </a:solidFill>
              <a:latin typeface="Verdana"/>
            </a:endParaRPr>
          </a:p>
        </p:txBody>
      </p:sp>
      <p:sp>
        <p:nvSpPr>
          <p:cNvPr id="24" name="Rectangle 2">
            <a:extLst>
              <a:ext uri="{FF2B5EF4-FFF2-40B4-BE49-F238E27FC236}">
                <a16:creationId xmlns:a16="http://schemas.microsoft.com/office/drawing/2014/main" id="{AAA758A7-9340-4EF8-B319-FB2E592E783E}"/>
              </a:ext>
            </a:extLst>
          </p:cNvPr>
          <p:cNvSpPr>
            <a:spLocks noChangeArrowheads="1"/>
          </p:cNvSpPr>
          <p:nvPr/>
        </p:nvSpPr>
        <p:spPr bwMode="auto">
          <a:xfrm>
            <a:off x="5141459" y="3100322"/>
            <a:ext cx="979953" cy="520370"/>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Bill Grish</a:t>
            </a:r>
          </a:p>
          <a:p>
            <a:pPr marL="1048" lvl="1" algn="ctr" defTabSz="632269">
              <a:spcBef>
                <a:spcPct val="20000"/>
              </a:spcBef>
            </a:pPr>
            <a:r>
              <a:rPr lang="en-GB" sz="726" b="1" dirty="0">
                <a:solidFill>
                  <a:srgbClr val="0070AD"/>
                </a:solidFill>
                <a:latin typeface="Verdana"/>
              </a:rPr>
              <a:t>SE - ADM</a:t>
            </a:r>
            <a:r>
              <a:rPr lang="en-GB" sz="726" b="1">
                <a:solidFill>
                  <a:srgbClr val="0070AD"/>
                </a:solidFill>
                <a:latin typeface="Verdana"/>
              </a:rPr>
              <a:t>, ERP, </a:t>
            </a:r>
            <a:r>
              <a:rPr lang="en-GB" sz="726" b="1" dirty="0">
                <a:solidFill>
                  <a:srgbClr val="0070AD"/>
                </a:solidFill>
                <a:latin typeface="Verdana"/>
              </a:rPr>
              <a:t>Duck Creek,  Orientation</a:t>
            </a:r>
          </a:p>
        </p:txBody>
      </p:sp>
      <p:sp>
        <p:nvSpPr>
          <p:cNvPr id="28" name="Rectangle 2">
            <a:extLst>
              <a:ext uri="{FF2B5EF4-FFF2-40B4-BE49-F238E27FC236}">
                <a16:creationId xmlns:a16="http://schemas.microsoft.com/office/drawing/2014/main" id="{B4082109-BCC2-40DB-A883-320A2B3F2BE8}"/>
              </a:ext>
            </a:extLst>
          </p:cNvPr>
          <p:cNvSpPr>
            <a:spLocks noChangeArrowheads="1"/>
          </p:cNvSpPr>
          <p:nvPr/>
        </p:nvSpPr>
        <p:spPr bwMode="auto">
          <a:xfrm>
            <a:off x="5132974" y="3714221"/>
            <a:ext cx="996926" cy="643044"/>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Margo Sanders</a:t>
            </a:r>
          </a:p>
          <a:p>
            <a:pPr marL="1048" lvl="1" algn="ctr" defTabSz="632269">
              <a:spcBef>
                <a:spcPct val="20000"/>
              </a:spcBef>
            </a:pPr>
            <a:r>
              <a:rPr lang="en-GB" sz="726" b="1" dirty="0">
                <a:solidFill>
                  <a:srgbClr val="0070AD"/>
                </a:solidFill>
                <a:latin typeface="Verdana"/>
              </a:rPr>
              <a:t>MW – Testing,</a:t>
            </a:r>
          </a:p>
          <a:p>
            <a:pPr marL="1048" lvl="1" algn="ctr" defTabSz="632269">
              <a:spcBef>
                <a:spcPct val="20000"/>
              </a:spcBef>
            </a:pPr>
            <a:r>
              <a:rPr lang="en-GB" sz="726" b="1" dirty="0">
                <a:solidFill>
                  <a:srgbClr val="0070AD"/>
                </a:solidFill>
                <a:latin typeface="Verdana"/>
              </a:rPr>
              <a:t>Relocations</a:t>
            </a:r>
          </a:p>
        </p:txBody>
      </p:sp>
      <p:sp>
        <p:nvSpPr>
          <p:cNvPr id="33" name="Rectangle 2">
            <a:extLst>
              <a:ext uri="{FF2B5EF4-FFF2-40B4-BE49-F238E27FC236}">
                <a16:creationId xmlns:a16="http://schemas.microsoft.com/office/drawing/2014/main" id="{90B25B73-0AEE-42B3-956B-808E8CF5C36B}"/>
              </a:ext>
            </a:extLst>
          </p:cNvPr>
          <p:cNvSpPr>
            <a:spLocks noChangeArrowheads="1"/>
          </p:cNvSpPr>
          <p:nvPr/>
        </p:nvSpPr>
        <p:spPr bwMode="auto">
          <a:xfrm>
            <a:off x="7567511" y="3714219"/>
            <a:ext cx="996926" cy="536681"/>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Purnima Rajesh</a:t>
            </a:r>
          </a:p>
          <a:p>
            <a:pPr marL="1048" lvl="1" algn="ctr" defTabSz="632269">
              <a:spcBef>
                <a:spcPct val="20000"/>
              </a:spcBef>
            </a:pPr>
            <a:r>
              <a:rPr lang="en-GB" sz="726" b="1" dirty="0">
                <a:solidFill>
                  <a:srgbClr val="0070AD"/>
                </a:solidFill>
                <a:latin typeface="Verdana"/>
              </a:rPr>
              <a:t>Canada Ops/ </a:t>
            </a:r>
          </a:p>
          <a:p>
            <a:pPr marL="1048" lvl="1" algn="ctr" defTabSz="632269">
              <a:spcBef>
                <a:spcPct val="20000"/>
              </a:spcBef>
            </a:pPr>
            <a:r>
              <a:rPr lang="en-GB" sz="726" b="1" dirty="0">
                <a:solidFill>
                  <a:srgbClr val="0070AD"/>
                </a:solidFill>
                <a:latin typeface="Verdana"/>
              </a:rPr>
              <a:t>HRBP Non-FS Canada</a:t>
            </a:r>
          </a:p>
        </p:txBody>
      </p:sp>
      <p:sp>
        <p:nvSpPr>
          <p:cNvPr id="34" name="Rectangle 2">
            <a:extLst>
              <a:ext uri="{FF2B5EF4-FFF2-40B4-BE49-F238E27FC236}">
                <a16:creationId xmlns:a16="http://schemas.microsoft.com/office/drawing/2014/main" id="{8EF021A8-7871-4AEE-9F1A-9E52CBFB8594}"/>
              </a:ext>
            </a:extLst>
          </p:cNvPr>
          <p:cNvSpPr>
            <a:spLocks noChangeArrowheads="1"/>
          </p:cNvSpPr>
          <p:nvPr/>
        </p:nvSpPr>
        <p:spPr bwMode="auto">
          <a:xfrm>
            <a:off x="3885640" y="3832809"/>
            <a:ext cx="979955" cy="772260"/>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Jane Viegas</a:t>
            </a:r>
          </a:p>
          <a:p>
            <a:pPr marL="1048" lvl="1" algn="ctr" defTabSz="632269">
              <a:spcBef>
                <a:spcPct val="20000"/>
              </a:spcBef>
            </a:pPr>
            <a:r>
              <a:rPr lang="en-GB" sz="726" b="1" dirty="0">
                <a:solidFill>
                  <a:srgbClr val="0070AD"/>
                </a:solidFill>
                <a:latin typeface="Verdana"/>
              </a:rPr>
              <a:t>NE – Tristate</a:t>
            </a:r>
          </a:p>
          <a:p>
            <a:pPr marL="1048" lvl="1" algn="ctr" defTabSz="632269">
              <a:spcBef>
                <a:spcPct val="20000"/>
              </a:spcBef>
            </a:pPr>
            <a:r>
              <a:rPr lang="en-US" sz="726" b="1" dirty="0">
                <a:solidFill>
                  <a:srgbClr val="0070AD"/>
                </a:solidFill>
                <a:latin typeface="Verdana"/>
              </a:rPr>
              <a:t>I&amp;D, Cards &amp; Payments,</a:t>
            </a:r>
          </a:p>
          <a:p>
            <a:pPr marL="1048" lvl="1" algn="ctr" defTabSz="632269">
              <a:spcBef>
                <a:spcPct val="20000"/>
              </a:spcBef>
            </a:pPr>
            <a:r>
              <a:rPr lang="en-US" sz="609" b="1" dirty="0">
                <a:solidFill>
                  <a:srgbClr val="0070AD"/>
                </a:solidFill>
                <a:latin typeface="Verdana"/>
              </a:rPr>
              <a:t>Support Functions</a:t>
            </a:r>
          </a:p>
        </p:txBody>
      </p:sp>
      <p:sp>
        <p:nvSpPr>
          <p:cNvPr id="44" name="Rectangle 5">
            <a:extLst>
              <a:ext uri="{FF2B5EF4-FFF2-40B4-BE49-F238E27FC236}">
                <a16:creationId xmlns:a16="http://schemas.microsoft.com/office/drawing/2014/main" id="{B67700A6-1CCD-45B5-83BF-136706D32764}"/>
              </a:ext>
            </a:extLst>
          </p:cNvPr>
          <p:cNvSpPr>
            <a:spLocks noChangeArrowheads="1"/>
          </p:cNvSpPr>
          <p:nvPr/>
        </p:nvSpPr>
        <p:spPr bwMode="auto">
          <a:xfrm>
            <a:off x="3817721" y="1451449"/>
            <a:ext cx="2347124" cy="50392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048" lvl="1" algn="ctr" defTabSz="632269">
              <a:spcBef>
                <a:spcPct val="20000"/>
              </a:spcBef>
            </a:pPr>
            <a:r>
              <a:rPr lang="en-GB" sz="726" b="1" dirty="0">
                <a:solidFill>
                  <a:prstClr val="white"/>
                </a:solidFill>
                <a:latin typeface="Verdana"/>
              </a:rPr>
              <a:t>HEAD OF FS SBU HR NORTH AMERICA </a:t>
            </a:r>
          </a:p>
          <a:p>
            <a:pPr marL="1048" lvl="1" algn="ctr" defTabSz="632269">
              <a:spcBef>
                <a:spcPct val="20000"/>
              </a:spcBef>
            </a:pPr>
            <a:r>
              <a:rPr lang="en-GB" sz="726" b="1" dirty="0">
                <a:solidFill>
                  <a:prstClr val="white"/>
                </a:solidFill>
                <a:latin typeface="Verdana"/>
              </a:rPr>
              <a:t>&amp; GLOBAL FS SBU HEAD OF C&amp;B </a:t>
            </a:r>
          </a:p>
          <a:p>
            <a:pPr marL="1048" lvl="1" algn="ctr" defTabSz="632269">
              <a:spcBef>
                <a:spcPct val="20000"/>
              </a:spcBef>
            </a:pPr>
            <a:r>
              <a:rPr lang="en-GB" sz="726" dirty="0">
                <a:solidFill>
                  <a:prstClr val="white"/>
                </a:solidFill>
                <a:latin typeface="Verdana"/>
              </a:rPr>
              <a:t>JESUS GOMEZ-MARTINEZ</a:t>
            </a:r>
          </a:p>
        </p:txBody>
      </p:sp>
      <p:sp>
        <p:nvSpPr>
          <p:cNvPr id="48" name="Rectangle 2">
            <a:extLst>
              <a:ext uri="{FF2B5EF4-FFF2-40B4-BE49-F238E27FC236}">
                <a16:creationId xmlns:a16="http://schemas.microsoft.com/office/drawing/2014/main" id="{C6396D41-5C5B-4CE4-BEAC-5A055C36578B}"/>
              </a:ext>
            </a:extLst>
          </p:cNvPr>
          <p:cNvSpPr>
            <a:spLocks noChangeArrowheads="1"/>
          </p:cNvSpPr>
          <p:nvPr/>
        </p:nvSpPr>
        <p:spPr bwMode="auto">
          <a:xfrm>
            <a:off x="3885640" y="2288124"/>
            <a:ext cx="982635" cy="666235"/>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Priya Choudhary</a:t>
            </a:r>
          </a:p>
          <a:p>
            <a:pPr marL="1048" lvl="1" algn="ctr" defTabSz="632269">
              <a:spcBef>
                <a:spcPct val="20000"/>
              </a:spcBef>
            </a:pPr>
            <a:r>
              <a:rPr lang="en-GB" sz="726" b="1" dirty="0">
                <a:solidFill>
                  <a:srgbClr val="0070AD"/>
                </a:solidFill>
                <a:latin typeface="Verdana"/>
              </a:rPr>
              <a:t>Diversity</a:t>
            </a:r>
          </a:p>
          <a:p>
            <a:pPr marL="1048" lvl="1" algn="ctr" defTabSz="632269">
              <a:spcBef>
                <a:spcPct val="20000"/>
              </a:spcBef>
            </a:pPr>
            <a:r>
              <a:rPr lang="en-GB" sz="726" b="1" dirty="0">
                <a:solidFill>
                  <a:srgbClr val="0070AD"/>
                </a:solidFill>
                <a:latin typeface="Verdana"/>
              </a:rPr>
              <a:t>BCM </a:t>
            </a:r>
          </a:p>
          <a:p>
            <a:pPr marL="1048" lvl="1" algn="ctr" defTabSz="632269">
              <a:spcBef>
                <a:spcPct val="20000"/>
              </a:spcBef>
            </a:pPr>
            <a:r>
              <a:rPr lang="en-GB" sz="726" b="1" dirty="0">
                <a:solidFill>
                  <a:srgbClr val="0070AD"/>
                </a:solidFill>
                <a:latin typeface="Verdana"/>
              </a:rPr>
              <a:t>HRBP Lead</a:t>
            </a:r>
          </a:p>
        </p:txBody>
      </p:sp>
      <p:sp>
        <p:nvSpPr>
          <p:cNvPr id="50" name="Rectangle 2">
            <a:extLst>
              <a:ext uri="{FF2B5EF4-FFF2-40B4-BE49-F238E27FC236}">
                <a16:creationId xmlns:a16="http://schemas.microsoft.com/office/drawing/2014/main" id="{FC043476-7A7E-48FD-BD17-C38526E7D009}"/>
              </a:ext>
            </a:extLst>
          </p:cNvPr>
          <p:cNvSpPr>
            <a:spLocks noChangeArrowheads="1"/>
          </p:cNvSpPr>
          <p:nvPr/>
        </p:nvSpPr>
        <p:spPr bwMode="auto">
          <a:xfrm>
            <a:off x="7575994" y="5073940"/>
            <a:ext cx="996927" cy="548497"/>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Snehal Munde</a:t>
            </a:r>
          </a:p>
          <a:p>
            <a:pPr marL="1048" lvl="1" algn="ctr" defTabSz="632269">
              <a:spcBef>
                <a:spcPct val="20000"/>
              </a:spcBef>
            </a:pPr>
            <a:r>
              <a:rPr lang="en-GB" sz="726" b="1" dirty="0">
                <a:solidFill>
                  <a:srgbClr val="0070AD"/>
                </a:solidFill>
                <a:latin typeface="Verdana"/>
              </a:rPr>
              <a:t>NA HR Operations (India)</a:t>
            </a:r>
          </a:p>
        </p:txBody>
      </p:sp>
      <p:sp>
        <p:nvSpPr>
          <p:cNvPr id="78" name="Rectangle 2">
            <a:extLst>
              <a:ext uri="{FF2B5EF4-FFF2-40B4-BE49-F238E27FC236}">
                <a16:creationId xmlns:a16="http://schemas.microsoft.com/office/drawing/2014/main" id="{0452A507-05DF-41FA-A0D1-089C40770388}"/>
              </a:ext>
            </a:extLst>
          </p:cNvPr>
          <p:cNvSpPr>
            <a:spLocks noChangeArrowheads="1"/>
          </p:cNvSpPr>
          <p:nvPr/>
        </p:nvSpPr>
        <p:spPr bwMode="auto">
          <a:xfrm>
            <a:off x="5141458" y="2298581"/>
            <a:ext cx="979960" cy="665915"/>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Pijush Chatterjee</a:t>
            </a:r>
          </a:p>
          <a:p>
            <a:pPr marL="1048" lvl="1" algn="ctr" defTabSz="632269">
              <a:spcBef>
                <a:spcPct val="20000"/>
              </a:spcBef>
            </a:pPr>
            <a:r>
              <a:rPr lang="en-GB" sz="726" b="1" dirty="0">
                <a:solidFill>
                  <a:srgbClr val="0070AD"/>
                </a:solidFill>
                <a:latin typeface="Verdana"/>
              </a:rPr>
              <a:t>Immigration Insurance, B&amp;ITT-Ins</a:t>
            </a:r>
          </a:p>
          <a:p>
            <a:pPr marL="1048" lvl="1" algn="ctr" defTabSz="632269">
              <a:spcBef>
                <a:spcPct val="20000"/>
              </a:spcBef>
            </a:pPr>
            <a:r>
              <a:rPr lang="en-GB" sz="726" b="1" dirty="0">
                <a:solidFill>
                  <a:srgbClr val="0070AD"/>
                </a:solidFill>
                <a:latin typeface="Verdana"/>
              </a:rPr>
              <a:t>HRBP Lead</a:t>
            </a:r>
          </a:p>
        </p:txBody>
      </p:sp>
      <p:sp>
        <p:nvSpPr>
          <p:cNvPr id="79" name="Rectangle 2">
            <a:extLst>
              <a:ext uri="{FF2B5EF4-FFF2-40B4-BE49-F238E27FC236}">
                <a16:creationId xmlns:a16="http://schemas.microsoft.com/office/drawing/2014/main" id="{EE069684-BECB-4839-93D0-59E3F0E89567}"/>
              </a:ext>
            </a:extLst>
          </p:cNvPr>
          <p:cNvSpPr>
            <a:spLocks noChangeArrowheads="1"/>
          </p:cNvSpPr>
          <p:nvPr/>
        </p:nvSpPr>
        <p:spPr bwMode="auto">
          <a:xfrm>
            <a:off x="7575993" y="3103263"/>
            <a:ext cx="979960" cy="514488"/>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Ignatius Kumar</a:t>
            </a:r>
          </a:p>
          <a:p>
            <a:pPr marL="1048" lvl="1" algn="ctr" defTabSz="632269">
              <a:spcBef>
                <a:spcPct val="20000"/>
              </a:spcBef>
            </a:pPr>
            <a:r>
              <a:rPr lang="en-GB" sz="726" b="1" dirty="0">
                <a:solidFill>
                  <a:srgbClr val="0070AD"/>
                </a:solidFill>
                <a:latin typeface="Verdana"/>
              </a:rPr>
              <a:t>HR Operations</a:t>
            </a:r>
          </a:p>
          <a:p>
            <a:pPr marL="1048" lvl="1" algn="ctr" defTabSz="632269">
              <a:spcBef>
                <a:spcPct val="20000"/>
              </a:spcBef>
            </a:pPr>
            <a:r>
              <a:rPr lang="en-GB" sz="726" b="1" dirty="0">
                <a:solidFill>
                  <a:srgbClr val="0070AD"/>
                </a:solidFill>
                <a:latin typeface="Verdana"/>
              </a:rPr>
              <a:t>Special Projects</a:t>
            </a:r>
          </a:p>
        </p:txBody>
      </p:sp>
      <p:sp>
        <p:nvSpPr>
          <p:cNvPr id="80" name="Rectangle 2">
            <a:extLst>
              <a:ext uri="{FF2B5EF4-FFF2-40B4-BE49-F238E27FC236}">
                <a16:creationId xmlns:a16="http://schemas.microsoft.com/office/drawing/2014/main" id="{58C4E4C5-04B6-49A8-B13B-5D3EE11A0D49}"/>
              </a:ext>
            </a:extLst>
          </p:cNvPr>
          <p:cNvSpPr>
            <a:spLocks noChangeArrowheads="1"/>
          </p:cNvSpPr>
          <p:nvPr/>
        </p:nvSpPr>
        <p:spPr bwMode="auto">
          <a:xfrm>
            <a:off x="2526694" y="2288123"/>
            <a:ext cx="982636" cy="666638"/>
          </a:xfrm>
          <a:prstGeom prst="rect">
            <a:avLst/>
          </a:prstGeom>
          <a:solidFill>
            <a:schemeClr val="tx2"/>
          </a:solidFill>
          <a:ln w="9525">
            <a:solidFill>
              <a:schemeClr val="tx1"/>
            </a:solidFill>
            <a:miter lim="800000"/>
            <a:headEnd/>
            <a:tailEnd/>
          </a:ln>
        </p:spPr>
        <p:txBody>
          <a:bodyPr anchor="ctr"/>
          <a:lstStyle/>
          <a:p>
            <a:pPr marL="1048" lvl="1" algn="ctr" defTabSz="632269">
              <a:spcBef>
                <a:spcPct val="20000"/>
              </a:spcBef>
            </a:pPr>
            <a:r>
              <a:rPr lang="en-GB" sz="726" dirty="0">
                <a:solidFill>
                  <a:prstClr val="white"/>
                </a:solidFill>
                <a:latin typeface="Verdana"/>
              </a:rPr>
              <a:t>Sameer Deshmukh</a:t>
            </a:r>
          </a:p>
          <a:p>
            <a:pPr marL="1048" lvl="1" algn="ctr" defTabSz="632269">
              <a:spcBef>
                <a:spcPct val="20000"/>
              </a:spcBef>
            </a:pPr>
            <a:r>
              <a:rPr lang="en-GB" sz="726" b="1" dirty="0">
                <a:solidFill>
                  <a:prstClr val="white"/>
                </a:solidFill>
                <a:latin typeface="Verdana"/>
              </a:rPr>
              <a:t>HR Strategist</a:t>
            </a:r>
          </a:p>
        </p:txBody>
      </p:sp>
      <p:sp>
        <p:nvSpPr>
          <p:cNvPr id="82" name="Rectangle 2">
            <a:extLst>
              <a:ext uri="{FF2B5EF4-FFF2-40B4-BE49-F238E27FC236}">
                <a16:creationId xmlns:a16="http://schemas.microsoft.com/office/drawing/2014/main" id="{4116E989-4C32-4E8A-B59F-75CCAA5F0AB5}"/>
              </a:ext>
            </a:extLst>
          </p:cNvPr>
          <p:cNvSpPr>
            <a:spLocks noChangeArrowheads="1"/>
          </p:cNvSpPr>
          <p:nvPr/>
        </p:nvSpPr>
        <p:spPr bwMode="auto">
          <a:xfrm>
            <a:off x="7572472" y="2288125"/>
            <a:ext cx="987005" cy="665914"/>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US" sz="726" dirty="0">
                <a:solidFill>
                  <a:srgbClr val="0070AD"/>
                </a:solidFill>
                <a:latin typeface="Verdana"/>
              </a:rPr>
              <a:t>Liz Cauffman</a:t>
            </a:r>
          </a:p>
          <a:p>
            <a:pPr marL="1048" lvl="1" algn="ctr" defTabSz="632269">
              <a:spcBef>
                <a:spcPct val="20000"/>
              </a:spcBef>
            </a:pPr>
            <a:r>
              <a:rPr lang="en-US" sz="726" b="1" dirty="0">
                <a:solidFill>
                  <a:srgbClr val="0070AD"/>
                </a:solidFill>
                <a:latin typeface="Verdana"/>
              </a:rPr>
              <a:t>Head of NA HR Operations</a:t>
            </a:r>
          </a:p>
        </p:txBody>
      </p:sp>
      <p:sp>
        <p:nvSpPr>
          <p:cNvPr id="90" name="Rectangle 2">
            <a:extLst>
              <a:ext uri="{FF2B5EF4-FFF2-40B4-BE49-F238E27FC236}">
                <a16:creationId xmlns:a16="http://schemas.microsoft.com/office/drawing/2014/main" id="{714BA370-ED12-4C72-A6E8-28341403B905}"/>
              </a:ext>
            </a:extLst>
          </p:cNvPr>
          <p:cNvSpPr>
            <a:spLocks noChangeArrowheads="1"/>
          </p:cNvSpPr>
          <p:nvPr/>
        </p:nvSpPr>
        <p:spPr bwMode="auto">
          <a:xfrm>
            <a:off x="1225634" y="3714219"/>
            <a:ext cx="1017519" cy="539914"/>
          </a:xfrm>
          <a:prstGeom prst="rect">
            <a:avLst/>
          </a:prstGeom>
          <a:solidFill>
            <a:schemeClr val="accent4"/>
          </a:solidFill>
          <a:ln w="9525">
            <a:solidFill>
              <a:schemeClr val="tx1"/>
            </a:solidFill>
            <a:miter lim="800000"/>
            <a:headEnd/>
            <a:tailEnd/>
          </a:ln>
        </p:spPr>
        <p:txBody>
          <a:bodyPr anchor="ctr"/>
          <a:lstStyle/>
          <a:p>
            <a:pPr marL="1048" lvl="1" algn="ctr" defTabSz="632269">
              <a:spcBef>
                <a:spcPct val="20000"/>
              </a:spcBef>
            </a:pPr>
            <a:r>
              <a:rPr lang="en-GB" sz="726" dirty="0">
                <a:solidFill>
                  <a:srgbClr val="FFFFFF"/>
                </a:solidFill>
                <a:latin typeface="Verdana"/>
              </a:rPr>
              <a:t>Lynne </a:t>
            </a:r>
            <a:r>
              <a:rPr lang="en-GB" sz="726" dirty="0" err="1">
                <a:solidFill>
                  <a:srgbClr val="FFFFFF"/>
                </a:solidFill>
                <a:latin typeface="Verdana"/>
              </a:rPr>
              <a:t>Gomberg</a:t>
            </a:r>
            <a:endParaRPr lang="en-GB" sz="726" dirty="0">
              <a:solidFill>
                <a:srgbClr val="FFFFFF"/>
              </a:solidFill>
              <a:latin typeface="Verdana"/>
            </a:endParaRPr>
          </a:p>
          <a:p>
            <a:pPr marL="1048" lvl="1" algn="ctr" defTabSz="632269">
              <a:spcBef>
                <a:spcPct val="20000"/>
              </a:spcBef>
            </a:pPr>
            <a:r>
              <a:rPr lang="en-GB" sz="726" b="1" dirty="0">
                <a:solidFill>
                  <a:srgbClr val="FFFFFF"/>
                </a:solidFill>
                <a:latin typeface="Verdana"/>
              </a:rPr>
              <a:t>Canada Benefits</a:t>
            </a:r>
          </a:p>
        </p:txBody>
      </p:sp>
      <p:sp>
        <p:nvSpPr>
          <p:cNvPr id="91" name="Rectangle 2">
            <a:extLst>
              <a:ext uri="{FF2B5EF4-FFF2-40B4-BE49-F238E27FC236}">
                <a16:creationId xmlns:a16="http://schemas.microsoft.com/office/drawing/2014/main" id="{DBB318F5-40FA-4174-9810-86419C56E594}"/>
              </a:ext>
            </a:extLst>
          </p:cNvPr>
          <p:cNvSpPr>
            <a:spLocks noChangeArrowheads="1"/>
          </p:cNvSpPr>
          <p:nvPr/>
        </p:nvSpPr>
        <p:spPr bwMode="auto">
          <a:xfrm>
            <a:off x="1225634" y="3118438"/>
            <a:ext cx="1017519" cy="492296"/>
          </a:xfrm>
          <a:prstGeom prst="rect">
            <a:avLst/>
          </a:prstGeom>
          <a:solidFill>
            <a:schemeClr val="accent4"/>
          </a:solidFill>
          <a:ln w="9525">
            <a:solidFill>
              <a:schemeClr val="tx1"/>
            </a:solidFill>
            <a:miter lim="800000"/>
            <a:headEnd/>
            <a:tailEnd/>
          </a:ln>
        </p:spPr>
        <p:txBody>
          <a:bodyPr anchor="ctr"/>
          <a:lstStyle/>
          <a:p>
            <a:pPr marL="1048" lvl="1" algn="ctr" defTabSz="632269">
              <a:spcBef>
                <a:spcPct val="20000"/>
              </a:spcBef>
            </a:pPr>
            <a:r>
              <a:rPr lang="en-GB" sz="726" dirty="0">
                <a:solidFill>
                  <a:prstClr val="white"/>
                </a:solidFill>
                <a:latin typeface="Verdana"/>
              </a:rPr>
              <a:t>Maggie Moise</a:t>
            </a:r>
          </a:p>
          <a:p>
            <a:pPr marL="1048" lvl="1" algn="ctr" defTabSz="632269">
              <a:spcBef>
                <a:spcPct val="20000"/>
              </a:spcBef>
            </a:pPr>
            <a:r>
              <a:rPr lang="en-GB" sz="726" b="1" dirty="0">
                <a:solidFill>
                  <a:prstClr val="white"/>
                </a:solidFill>
                <a:latin typeface="Verdana"/>
              </a:rPr>
              <a:t>US Benefits</a:t>
            </a:r>
          </a:p>
        </p:txBody>
      </p:sp>
      <p:sp>
        <p:nvSpPr>
          <p:cNvPr id="98" name="Rectangle 2">
            <a:extLst>
              <a:ext uri="{FF2B5EF4-FFF2-40B4-BE49-F238E27FC236}">
                <a16:creationId xmlns:a16="http://schemas.microsoft.com/office/drawing/2014/main" id="{A0890881-08AD-4FF7-ABBC-80C1933E32D5}"/>
              </a:ext>
            </a:extLst>
          </p:cNvPr>
          <p:cNvSpPr>
            <a:spLocks noChangeArrowheads="1"/>
          </p:cNvSpPr>
          <p:nvPr/>
        </p:nvSpPr>
        <p:spPr bwMode="auto">
          <a:xfrm>
            <a:off x="1243074" y="2288123"/>
            <a:ext cx="982636" cy="666638"/>
          </a:xfrm>
          <a:prstGeom prst="rect">
            <a:avLst/>
          </a:prstGeom>
          <a:solidFill>
            <a:schemeClr val="tx2"/>
          </a:solidFill>
          <a:ln w="9525">
            <a:solidFill>
              <a:schemeClr val="tx1"/>
            </a:solidFill>
            <a:miter lim="800000"/>
            <a:headEnd/>
            <a:tailEnd/>
          </a:ln>
        </p:spPr>
        <p:txBody>
          <a:bodyPr anchor="ctr"/>
          <a:lstStyle/>
          <a:p>
            <a:pPr marL="1048" lvl="1" algn="ctr" defTabSz="632269">
              <a:spcBef>
                <a:spcPct val="20000"/>
              </a:spcBef>
            </a:pPr>
            <a:r>
              <a:rPr lang="en-GB" sz="726" dirty="0" err="1">
                <a:solidFill>
                  <a:prstClr val="white"/>
                </a:solidFill>
                <a:latin typeface="Verdana"/>
              </a:rPr>
              <a:t>Lenka</a:t>
            </a:r>
            <a:r>
              <a:rPr lang="en-GB" sz="726" dirty="0">
                <a:solidFill>
                  <a:prstClr val="white"/>
                </a:solidFill>
                <a:latin typeface="Verdana"/>
              </a:rPr>
              <a:t> </a:t>
            </a:r>
            <a:r>
              <a:rPr lang="en-GB" sz="726" dirty="0" err="1">
                <a:solidFill>
                  <a:prstClr val="white"/>
                </a:solidFill>
                <a:latin typeface="Verdana"/>
              </a:rPr>
              <a:t>Sloman</a:t>
            </a:r>
            <a:endParaRPr lang="en-GB" sz="726" dirty="0">
              <a:solidFill>
                <a:prstClr val="white"/>
              </a:solidFill>
              <a:latin typeface="Verdana"/>
            </a:endParaRPr>
          </a:p>
          <a:p>
            <a:pPr marL="1048" lvl="1" algn="ctr" defTabSz="632269">
              <a:spcBef>
                <a:spcPct val="20000"/>
              </a:spcBef>
            </a:pPr>
            <a:r>
              <a:rPr lang="en-GB" sz="726" b="1" dirty="0">
                <a:solidFill>
                  <a:prstClr val="white"/>
                </a:solidFill>
                <a:latin typeface="Verdana"/>
              </a:rPr>
              <a:t>NA C&amp;B Leader</a:t>
            </a:r>
          </a:p>
        </p:txBody>
      </p:sp>
      <p:cxnSp>
        <p:nvCxnSpPr>
          <p:cNvPr id="99" name="Straight Connector 98">
            <a:extLst>
              <a:ext uri="{FF2B5EF4-FFF2-40B4-BE49-F238E27FC236}">
                <a16:creationId xmlns:a16="http://schemas.microsoft.com/office/drawing/2014/main" id="{90D5EF18-627A-4D85-8FA0-CA81F349C948}"/>
              </a:ext>
            </a:extLst>
          </p:cNvPr>
          <p:cNvCxnSpPr>
            <a:cxnSpLocks/>
            <a:stCxn id="98" idx="2"/>
            <a:endCxn id="91" idx="0"/>
          </p:cNvCxnSpPr>
          <p:nvPr/>
        </p:nvCxnSpPr>
        <p:spPr>
          <a:xfrm>
            <a:off x="1734393" y="2954762"/>
            <a:ext cx="1" cy="1636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918B7E3-E696-444F-A7BF-26771D45095E}"/>
              </a:ext>
            </a:extLst>
          </p:cNvPr>
          <p:cNvCxnSpPr>
            <a:cxnSpLocks/>
          </p:cNvCxnSpPr>
          <p:nvPr/>
        </p:nvCxnSpPr>
        <p:spPr>
          <a:xfrm>
            <a:off x="1734393" y="3144166"/>
            <a:ext cx="0" cy="124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B09E66CC-A228-4BE7-A406-7F73F8132772}"/>
              </a:ext>
            </a:extLst>
          </p:cNvPr>
          <p:cNvCxnSpPr>
            <a:cxnSpLocks/>
            <a:stCxn id="98" idx="0"/>
            <a:endCxn id="44" idx="2"/>
          </p:cNvCxnSpPr>
          <p:nvPr/>
        </p:nvCxnSpPr>
        <p:spPr>
          <a:xfrm rot="5400000" flipH="1" flipV="1">
            <a:off x="3196459" y="493301"/>
            <a:ext cx="332756" cy="325689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685C34B6-19B3-4AE8-9254-BD62FAD69D8F}"/>
              </a:ext>
            </a:extLst>
          </p:cNvPr>
          <p:cNvCxnSpPr>
            <a:cxnSpLocks/>
            <a:stCxn id="44" idx="2"/>
            <a:endCxn id="82" idx="0"/>
          </p:cNvCxnSpPr>
          <p:nvPr/>
        </p:nvCxnSpPr>
        <p:spPr>
          <a:xfrm rot="16200000" flipH="1">
            <a:off x="6362250" y="584400"/>
            <a:ext cx="332756" cy="307469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97C504ED-C306-43FF-80AF-F1B931005A45}"/>
              </a:ext>
            </a:extLst>
          </p:cNvPr>
          <p:cNvCxnSpPr>
            <a:cxnSpLocks/>
            <a:stCxn id="80" idx="0"/>
            <a:endCxn id="44" idx="2"/>
          </p:cNvCxnSpPr>
          <p:nvPr/>
        </p:nvCxnSpPr>
        <p:spPr>
          <a:xfrm rot="5400000" flipH="1" flipV="1">
            <a:off x="3838269" y="1135112"/>
            <a:ext cx="332756" cy="197327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3" name="Rectangle 2">
            <a:extLst>
              <a:ext uri="{FF2B5EF4-FFF2-40B4-BE49-F238E27FC236}">
                <a16:creationId xmlns:a16="http://schemas.microsoft.com/office/drawing/2014/main" id="{3FF261C0-9ED4-4E68-BD5B-B792F40A6F04}"/>
              </a:ext>
            </a:extLst>
          </p:cNvPr>
          <p:cNvSpPr>
            <a:spLocks noChangeArrowheads="1"/>
          </p:cNvSpPr>
          <p:nvPr/>
        </p:nvSpPr>
        <p:spPr bwMode="auto">
          <a:xfrm>
            <a:off x="1243076" y="4499875"/>
            <a:ext cx="982635" cy="352093"/>
          </a:xfrm>
          <a:prstGeom prst="rect">
            <a:avLst/>
          </a:prstGeom>
          <a:noFill/>
          <a:ln w="9525">
            <a:noFill/>
            <a:miter lim="800000"/>
            <a:headEnd/>
            <a:tailEnd/>
          </a:ln>
        </p:spPr>
        <p:txBody>
          <a:bodyPr anchor="ctr"/>
          <a:lstStyle/>
          <a:p>
            <a:pPr marL="1048" lvl="1" algn="ctr" defTabSz="632269">
              <a:spcBef>
                <a:spcPct val="20000"/>
              </a:spcBef>
            </a:pPr>
            <a:r>
              <a:rPr lang="en-US" sz="726" i="1" dirty="0">
                <a:solidFill>
                  <a:prstClr val="black"/>
                </a:solidFill>
                <a:latin typeface="Verdana"/>
              </a:rPr>
              <a:t>Members of the Global FS C&amp;B Function</a:t>
            </a:r>
          </a:p>
        </p:txBody>
      </p:sp>
      <p:sp>
        <p:nvSpPr>
          <p:cNvPr id="124" name="Rectangle 2">
            <a:extLst>
              <a:ext uri="{FF2B5EF4-FFF2-40B4-BE49-F238E27FC236}">
                <a16:creationId xmlns:a16="http://schemas.microsoft.com/office/drawing/2014/main" id="{B489E15A-9BE1-4AFA-BA14-9D70D1B979DD}"/>
              </a:ext>
            </a:extLst>
          </p:cNvPr>
          <p:cNvSpPr>
            <a:spLocks noChangeArrowheads="1"/>
          </p:cNvSpPr>
          <p:nvPr/>
        </p:nvSpPr>
        <p:spPr bwMode="auto">
          <a:xfrm>
            <a:off x="1178096" y="1437589"/>
            <a:ext cx="1071866" cy="504982"/>
          </a:xfrm>
          <a:prstGeom prst="rect">
            <a:avLst/>
          </a:prstGeom>
          <a:solidFill>
            <a:schemeClr val="tx2"/>
          </a:solidFill>
          <a:ln w="9525">
            <a:solidFill>
              <a:schemeClr val="tx1"/>
            </a:solidFill>
            <a:miter lim="800000"/>
            <a:headEnd/>
            <a:tailEnd/>
          </a:ln>
        </p:spPr>
        <p:txBody>
          <a:bodyPr anchor="ctr"/>
          <a:lstStyle/>
          <a:p>
            <a:pPr marL="1048" lvl="1" algn="ctr" defTabSz="632269">
              <a:spcBef>
                <a:spcPct val="20000"/>
              </a:spcBef>
            </a:pPr>
            <a:r>
              <a:rPr lang="en-GB" sz="726" b="1" dirty="0">
                <a:solidFill>
                  <a:prstClr val="white"/>
                </a:solidFill>
                <a:latin typeface="Verdana"/>
              </a:rPr>
              <a:t>GLOBAL FS C&amp;B FUNCTION</a:t>
            </a:r>
          </a:p>
        </p:txBody>
      </p:sp>
      <p:sp>
        <p:nvSpPr>
          <p:cNvPr id="72" name="Rectangle 2">
            <a:extLst>
              <a:ext uri="{FF2B5EF4-FFF2-40B4-BE49-F238E27FC236}">
                <a16:creationId xmlns:a16="http://schemas.microsoft.com/office/drawing/2014/main" id="{DA27CC7A-142B-44E5-84CB-BF77C6501868}"/>
              </a:ext>
            </a:extLst>
          </p:cNvPr>
          <p:cNvSpPr>
            <a:spLocks noChangeArrowheads="1"/>
          </p:cNvSpPr>
          <p:nvPr/>
        </p:nvSpPr>
        <p:spPr bwMode="auto">
          <a:xfrm>
            <a:off x="6379097" y="2301385"/>
            <a:ext cx="979960" cy="652654"/>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err="1">
                <a:solidFill>
                  <a:srgbClr val="0070AD"/>
                </a:solidFill>
                <a:latin typeface="Verdana"/>
              </a:rPr>
              <a:t>Kas</a:t>
            </a:r>
            <a:r>
              <a:rPr lang="en-GB" sz="726" dirty="0">
                <a:solidFill>
                  <a:srgbClr val="0070AD"/>
                </a:solidFill>
                <a:latin typeface="Verdana"/>
              </a:rPr>
              <a:t> </a:t>
            </a:r>
            <a:r>
              <a:rPr lang="en-GB" sz="726" dirty="0" err="1">
                <a:solidFill>
                  <a:srgbClr val="0070AD"/>
                </a:solidFill>
                <a:latin typeface="Verdana"/>
              </a:rPr>
              <a:t>Kathir</a:t>
            </a:r>
            <a:endParaRPr lang="en-GB" sz="726" dirty="0">
              <a:solidFill>
                <a:srgbClr val="0070AD"/>
              </a:solidFill>
              <a:latin typeface="Verdana"/>
            </a:endParaRPr>
          </a:p>
          <a:p>
            <a:pPr marL="1048" lvl="1" algn="ctr" defTabSz="632269">
              <a:spcBef>
                <a:spcPct val="20000"/>
              </a:spcBef>
            </a:pPr>
            <a:r>
              <a:rPr lang="en-GB" sz="726" b="1" dirty="0">
                <a:solidFill>
                  <a:srgbClr val="0070AD"/>
                </a:solidFill>
                <a:latin typeface="Verdana"/>
              </a:rPr>
              <a:t>CANADA</a:t>
            </a:r>
          </a:p>
          <a:p>
            <a:pPr marL="1048" lvl="1" algn="ctr" defTabSz="632269">
              <a:spcBef>
                <a:spcPct val="20000"/>
              </a:spcBef>
            </a:pPr>
            <a:r>
              <a:rPr lang="en-GB" sz="726" b="1" dirty="0">
                <a:solidFill>
                  <a:srgbClr val="0070AD"/>
                </a:solidFill>
                <a:latin typeface="Verdana"/>
              </a:rPr>
              <a:t> HRBP</a:t>
            </a:r>
          </a:p>
        </p:txBody>
      </p:sp>
      <p:cxnSp>
        <p:nvCxnSpPr>
          <p:cNvPr id="76" name="Straight Connector 75">
            <a:extLst>
              <a:ext uri="{FF2B5EF4-FFF2-40B4-BE49-F238E27FC236}">
                <a16:creationId xmlns:a16="http://schemas.microsoft.com/office/drawing/2014/main" id="{777085E9-602A-4FD1-BB78-70129FBB4D20}"/>
              </a:ext>
            </a:extLst>
          </p:cNvPr>
          <p:cNvCxnSpPr>
            <a:cxnSpLocks/>
          </p:cNvCxnSpPr>
          <p:nvPr/>
        </p:nvCxnSpPr>
        <p:spPr>
          <a:xfrm flipH="1">
            <a:off x="5631437" y="2964498"/>
            <a:ext cx="1" cy="131748"/>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75A6248-EBB2-43FF-8FBC-09EE30AE5229}"/>
              </a:ext>
            </a:extLst>
          </p:cNvPr>
          <p:cNvCxnSpPr>
            <a:cxnSpLocks/>
            <a:endCxn id="28" idx="0"/>
          </p:cNvCxnSpPr>
          <p:nvPr/>
        </p:nvCxnSpPr>
        <p:spPr>
          <a:xfrm>
            <a:off x="5631437" y="3616615"/>
            <a:ext cx="1" cy="97606"/>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218C5EC-69C4-4D77-959E-5AF0C65F478F}"/>
              </a:ext>
            </a:extLst>
          </p:cNvPr>
          <p:cNvCxnSpPr>
            <a:cxnSpLocks/>
          </p:cNvCxnSpPr>
          <p:nvPr/>
        </p:nvCxnSpPr>
        <p:spPr>
          <a:xfrm flipH="1">
            <a:off x="4376957" y="2954360"/>
            <a:ext cx="1" cy="1500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FC9B0F5-F375-487B-8E4C-A3291933E6FE}"/>
              </a:ext>
            </a:extLst>
          </p:cNvPr>
          <p:cNvCxnSpPr>
            <a:cxnSpLocks/>
            <a:endCxn id="34" idx="0"/>
          </p:cNvCxnSpPr>
          <p:nvPr/>
        </p:nvCxnSpPr>
        <p:spPr>
          <a:xfrm>
            <a:off x="4375617" y="3729965"/>
            <a:ext cx="1" cy="10284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E979AD41-E557-4431-9E62-D9B7C3EC52BE}"/>
              </a:ext>
            </a:extLst>
          </p:cNvPr>
          <p:cNvCxnSpPr>
            <a:cxnSpLocks/>
            <a:stCxn id="48" idx="0"/>
            <a:endCxn id="44" idx="2"/>
          </p:cNvCxnSpPr>
          <p:nvPr/>
        </p:nvCxnSpPr>
        <p:spPr>
          <a:xfrm rot="5400000" flipH="1" flipV="1">
            <a:off x="4517741" y="1814583"/>
            <a:ext cx="332756" cy="61432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76B66946-9676-4C15-A3E7-972D71143784}"/>
              </a:ext>
            </a:extLst>
          </p:cNvPr>
          <p:cNvCxnSpPr>
            <a:cxnSpLocks/>
            <a:stCxn id="78" idx="0"/>
            <a:endCxn id="44" idx="2"/>
          </p:cNvCxnSpPr>
          <p:nvPr/>
        </p:nvCxnSpPr>
        <p:spPr>
          <a:xfrm rot="16200000" flipV="1">
            <a:off x="5139754" y="1806897"/>
            <a:ext cx="343213" cy="640154"/>
          </a:xfrm>
          <a:prstGeom prst="bentConnector3">
            <a:avLst>
              <a:gd name="adj1" fmla="val 51466"/>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521A41-AA0B-48A5-95C7-112978642F29}"/>
              </a:ext>
            </a:extLst>
          </p:cNvPr>
          <p:cNvCxnSpPr>
            <a:cxnSpLocks/>
          </p:cNvCxnSpPr>
          <p:nvPr/>
        </p:nvCxnSpPr>
        <p:spPr>
          <a:xfrm>
            <a:off x="8065973" y="2954038"/>
            <a:ext cx="0" cy="14220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9C3459D-3268-4E71-851D-5FFF396C9E7D}"/>
              </a:ext>
            </a:extLst>
          </p:cNvPr>
          <p:cNvCxnSpPr>
            <a:cxnSpLocks/>
            <a:stCxn id="79" idx="2"/>
            <a:endCxn id="33" idx="0"/>
          </p:cNvCxnSpPr>
          <p:nvPr/>
        </p:nvCxnSpPr>
        <p:spPr>
          <a:xfrm>
            <a:off x="8065974" y="3617751"/>
            <a:ext cx="1" cy="964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2275B59-C844-49F6-8A99-AD4424C6F070}"/>
              </a:ext>
            </a:extLst>
          </p:cNvPr>
          <p:cNvCxnSpPr>
            <a:cxnSpLocks/>
            <a:stCxn id="33" idx="2"/>
          </p:cNvCxnSpPr>
          <p:nvPr/>
        </p:nvCxnSpPr>
        <p:spPr>
          <a:xfrm>
            <a:off x="8065974" y="4250900"/>
            <a:ext cx="0" cy="1063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3FB7D79-88F1-4A0B-9BDB-09037A46B252}"/>
              </a:ext>
            </a:extLst>
          </p:cNvPr>
          <p:cNvCxnSpPr>
            <a:cxnSpLocks/>
            <a:endCxn id="50" idx="0"/>
          </p:cNvCxnSpPr>
          <p:nvPr/>
        </p:nvCxnSpPr>
        <p:spPr>
          <a:xfrm flipH="1">
            <a:off x="8074457" y="4956924"/>
            <a:ext cx="1" cy="1170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B07F274-008C-4B2B-8786-B15CFEDDFE8F}"/>
              </a:ext>
            </a:extLst>
          </p:cNvPr>
          <p:cNvCxnSpPr>
            <a:cxnSpLocks/>
          </p:cNvCxnSpPr>
          <p:nvPr/>
        </p:nvCxnSpPr>
        <p:spPr>
          <a:xfrm rot="16200000" flipH="1">
            <a:off x="5761602" y="1178419"/>
            <a:ext cx="346015" cy="188665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6" name="Rectangle 2">
            <a:extLst>
              <a:ext uri="{FF2B5EF4-FFF2-40B4-BE49-F238E27FC236}">
                <a16:creationId xmlns:a16="http://schemas.microsoft.com/office/drawing/2014/main" id="{AF5DA24C-47B0-4FA1-A84E-A788E3A64FD5}"/>
              </a:ext>
            </a:extLst>
          </p:cNvPr>
          <p:cNvSpPr>
            <a:spLocks noChangeArrowheads="1"/>
          </p:cNvSpPr>
          <p:nvPr/>
        </p:nvSpPr>
        <p:spPr bwMode="auto">
          <a:xfrm>
            <a:off x="2526694" y="3104400"/>
            <a:ext cx="982635" cy="277064"/>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b="1" dirty="0" err="1">
                <a:solidFill>
                  <a:srgbClr val="0070AD"/>
                </a:solidFill>
                <a:latin typeface="Verdana"/>
              </a:rPr>
              <a:t>CapGenie</a:t>
            </a:r>
            <a:endParaRPr lang="en-GB" sz="726" b="1" dirty="0">
              <a:solidFill>
                <a:srgbClr val="0070AD"/>
              </a:solidFill>
              <a:latin typeface="Verdana"/>
            </a:endParaRPr>
          </a:p>
        </p:txBody>
      </p:sp>
      <p:cxnSp>
        <p:nvCxnSpPr>
          <p:cNvPr id="49" name="Straight Connector 48">
            <a:extLst>
              <a:ext uri="{FF2B5EF4-FFF2-40B4-BE49-F238E27FC236}">
                <a16:creationId xmlns:a16="http://schemas.microsoft.com/office/drawing/2014/main" id="{E038788E-6477-4573-B699-1446609994CE}"/>
              </a:ext>
            </a:extLst>
          </p:cNvPr>
          <p:cNvCxnSpPr>
            <a:cxnSpLocks/>
            <a:stCxn id="80" idx="2"/>
            <a:endCxn id="46" idx="0"/>
          </p:cNvCxnSpPr>
          <p:nvPr/>
        </p:nvCxnSpPr>
        <p:spPr>
          <a:xfrm flipH="1">
            <a:off x="3018012" y="2954763"/>
            <a:ext cx="1" cy="1496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77215AF-5081-42D4-A1B6-3C071AAC33D2}"/>
              </a:ext>
            </a:extLst>
          </p:cNvPr>
          <p:cNvCxnSpPr>
            <a:cxnSpLocks/>
            <a:stCxn id="91" idx="2"/>
            <a:endCxn id="90" idx="0"/>
          </p:cNvCxnSpPr>
          <p:nvPr/>
        </p:nvCxnSpPr>
        <p:spPr>
          <a:xfrm>
            <a:off x="1734393" y="3610732"/>
            <a:ext cx="0" cy="103487"/>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5FD356A2-8AEF-4983-8C93-A7354DC8413F}"/>
              </a:ext>
            </a:extLst>
          </p:cNvPr>
          <p:cNvSpPr/>
          <p:nvPr/>
        </p:nvSpPr>
        <p:spPr>
          <a:xfrm>
            <a:off x="1477745" y="855147"/>
            <a:ext cx="3116559" cy="342401"/>
          </a:xfrm>
          <a:prstGeom prst="rect">
            <a:avLst/>
          </a:prstGeom>
        </p:spPr>
        <p:txBody>
          <a:bodyPr wrap="none">
            <a:spAutoFit/>
          </a:bodyPr>
          <a:lstStyle/>
          <a:p>
            <a:pPr defTabSz="742950"/>
            <a:r>
              <a:rPr lang="en-US" sz="1625" dirty="0">
                <a:solidFill>
                  <a:prstClr val="black"/>
                </a:solidFill>
                <a:latin typeface="Verdana"/>
              </a:rPr>
              <a:t>North America HR Structure</a:t>
            </a:r>
            <a:endParaRPr lang="en-US" sz="1463" dirty="0">
              <a:solidFill>
                <a:prstClr val="black"/>
              </a:solidFill>
              <a:latin typeface="Verdana"/>
            </a:endParaRPr>
          </a:p>
        </p:txBody>
      </p:sp>
      <p:sp>
        <p:nvSpPr>
          <p:cNvPr id="45" name="Rectangle 2">
            <a:extLst>
              <a:ext uri="{FF2B5EF4-FFF2-40B4-BE49-F238E27FC236}">
                <a16:creationId xmlns:a16="http://schemas.microsoft.com/office/drawing/2014/main" id="{13FA916D-0017-46BB-9AFF-223710DE5926}"/>
              </a:ext>
            </a:extLst>
          </p:cNvPr>
          <p:cNvSpPr>
            <a:spLocks noChangeArrowheads="1"/>
          </p:cNvSpPr>
          <p:nvPr/>
        </p:nvSpPr>
        <p:spPr bwMode="auto">
          <a:xfrm>
            <a:off x="3882960" y="4792655"/>
            <a:ext cx="982635" cy="613898"/>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Carolina Ortiz</a:t>
            </a:r>
          </a:p>
          <a:p>
            <a:pPr marL="1048" lvl="1" algn="ctr" defTabSz="632269">
              <a:spcBef>
                <a:spcPct val="20000"/>
              </a:spcBef>
            </a:pPr>
            <a:r>
              <a:rPr lang="en-GB" sz="726" b="1" dirty="0">
                <a:solidFill>
                  <a:srgbClr val="0070AD"/>
                </a:solidFill>
                <a:latin typeface="Verdana"/>
              </a:rPr>
              <a:t>Digital Practices</a:t>
            </a:r>
          </a:p>
        </p:txBody>
      </p:sp>
      <p:sp>
        <p:nvSpPr>
          <p:cNvPr id="51" name="Rectangle 2">
            <a:extLst>
              <a:ext uri="{FF2B5EF4-FFF2-40B4-BE49-F238E27FC236}">
                <a16:creationId xmlns:a16="http://schemas.microsoft.com/office/drawing/2014/main" id="{2A947F7A-4A08-4B8E-BAE3-AAE483CBFAF7}"/>
              </a:ext>
            </a:extLst>
          </p:cNvPr>
          <p:cNvSpPr>
            <a:spLocks noChangeArrowheads="1"/>
          </p:cNvSpPr>
          <p:nvPr/>
        </p:nvSpPr>
        <p:spPr bwMode="auto">
          <a:xfrm>
            <a:off x="3891475" y="3111159"/>
            <a:ext cx="996926" cy="613898"/>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Michael </a:t>
            </a:r>
            <a:r>
              <a:rPr lang="en-GB" sz="726" dirty="0" err="1">
                <a:solidFill>
                  <a:srgbClr val="0070AD"/>
                </a:solidFill>
                <a:latin typeface="Verdana"/>
              </a:rPr>
              <a:t>Nardi</a:t>
            </a:r>
            <a:endParaRPr lang="en-GB" sz="726" dirty="0">
              <a:solidFill>
                <a:srgbClr val="0070AD"/>
              </a:solidFill>
              <a:latin typeface="Verdana"/>
            </a:endParaRPr>
          </a:p>
          <a:p>
            <a:pPr marL="1048" lvl="1" algn="ctr" defTabSz="632269">
              <a:spcBef>
                <a:spcPct val="20000"/>
              </a:spcBef>
            </a:pPr>
            <a:r>
              <a:rPr lang="en-GB" sz="726" b="1" dirty="0">
                <a:solidFill>
                  <a:srgbClr val="0070AD"/>
                </a:solidFill>
                <a:latin typeface="Verdana"/>
              </a:rPr>
              <a:t>BDF, B</a:t>
            </a:r>
            <a:r>
              <a:rPr lang="en-GB" sz="726" b="1">
                <a:solidFill>
                  <a:srgbClr val="0070AD"/>
                </a:solidFill>
                <a:latin typeface="Verdana"/>
              </a:rPr>
              <a:t>&amp;ITT-Banking, </a:t>
            </a:r>
            <a:r>
              <a:rPr lang="en-GB" sz="726" b="1" dirty="0">
                <a:solidFill>
                  <a:srgbClr val="0070AD"/>
                </a:solidFill>
                <a:latin typeface="Verdana"/>
              </a:rPr>
              <a:t>CM</a:t>
            </a:r>
          </a:p>
        </p:txBody>
      </p:sp>
      <p:cxnSp>
        <p:nvCxnSpPr>
          <p:cNvPr id="58" name="Straight Connector 57">
            <a:extLst>
              <a:ext uri="{FF2B5EF4-FFF2-40B4-BE49-F238E27FC236}">
                <a16:creationId xmlns:a16="http://schemas.microsoft.com/office/drawing/2014/main" id="{A7D130C1-7207-4B28-AF89-282BA4117B56}"/>
              </a:ext>
            </a:extLst>
          </p:cNvPr>
          <p:cNvCxnSpPr>
            <a:cxnSpLocks/>
            <a:stCxn id="34" idx="2"/>
            <a:endCxn id="45" idx="0"/>
          </p:cNvCxnSpPr>
          <p:nvPr/>
        </p:nvCxnSpPr>
        <p:spPr>
          <a:xfrm flipH="1">
            <a:off x="4374278" y="4605071"/>
            <a:ext cx="1340" cy="187584"/>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2">
            <a:extLst>
              <a:ext uri="{FF2B5EF4-FFF2-40B4-BE49-F238E27FC236}">
                <a16:creationId xmlns:a16="http://schemas.microsoft.com/office/drawing/2014/main" id="{9D0EE0CB-09C7-4EED-8BDB-F497AFD5C1F9}"/>
              </a:ext>
            </a:extLst>
          </p:cNvPr>
          <p:cNvSpPr>
            <a:spLocks noChangeArrowheads="1"/>
          </p:cNvSpPr>
          <p:nvPr/>
        </p:nvSpPr>
        <p:spPr bwMode="auto">
          <a:xfrm>
            <a:off x="7575994" y="4332835"/>
            <a:ext cx="996926" cy="613898"/>
          </a:xfrm>
          <a:prstGeom prst="rect">
            <a:avLst/>
          </a:prstGeom>
          <a:solidFill>
            <a:schemeClr val="bg1"/>
          </a:solidFill>
          <a:ln w="9525">
            <a:solidFill>
              <a:schemeClr val="tx1"/>
            </a:solidFill>
            <a:miter lim="800000"/>
            <a:headEnd/>
            <a:tailEnd/>
          </a:ln>
        </p:spPr>
        <p:txBody>
          <a:bodyPr anchor="ctr"/>
          <a:lstStyle/>
          <a:p>
            <a:pPr marL="1048" lvl="1" algn="ctr" defTabSz="632269">
              <a:spcBef>
                <a:spcPct val="20000"/>
              </a:spcBef>
            </a:pPr>
            <a:r>
              <a:rPr lang="en-GB" sz="726" dirty="0">
                <a:solidFill>
                  <a:srgbClr val="0070AD"/>
                </a:solidFill>
                <a:latin typeface="Verdana"/>
              </a:rPr>
              <a:t>Michael Nardi</a:t>
            </a:r>
            <a:endParaRPr lang="en-GB" sz="726" b="1" dirty="0">
              <a:solidFill>
                <a:srgbClr val="0070AD"/>
              </a:solidFill>
              <a:latin typeface="Verdana"/>
            </a:endParaRPr>
          </a:p>
          <a:p>
            <a:pPr marL="1048" lvl="1" algn="ctr" defTabSz="632269">
              <a:spcBef>
                <a:spcPct val="20000"/>
              </a:spcBef>
            </a:pPr>
            <a:r>
              <a:rPr lang="en-GB" sz="726" b="1" dirty="0">
                <a:solidFill>
                  <a:srgbClr val="0070AD"/>
                </a:solidFill>
                <a:latin typeface="Verdana"/>
              </a:rPr>
              <a:t>I-9, HR Files &amp; EVL</a:t>
            </a:r>
          </a:p>
        </p:txBody>
      </p:sp>
    </p:spTree>
    <p:extLst>
      <p:ext uri="{BB962C8B-B14F-4D97-AF65-F5344CB8AC3E}">
        <p14:creationId xmlns:p14="http://schemas.microsoft.com/office/powerpoint/2010/main" val="388642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917891" y="859320"/>
            <a:ext cx="3762475" cy="416620"/>
          </a:xfrm>
        </p:spPr>
        <p:txBody>
          <a:bodyPr/>
          <a:lstStyle/>
          <a:p>
            <a:r>
              <a:rPr lang="en-US" sz="2275" b="1">
                <a:solidFill>
                  <a:schemeClr val="accent1"/>
                </a:solidFill>
                <a:latin typeface="Verdana"/>
                <a:ea typeface="Verdana"/>
                <a:cs typeface="Verdana"/>
              </a:rPr>
              <a:t>Your Staffing Partners </a:t>
            </a:r>
            <a:endParaRPr lang="en-US" sz="2275" b="1">
              <a:solidFill>
                <a:schemeClr val="accent1"/>
              </a:solidFill>
            </a:endParaRPr>
          </a:p>
        </p:txBody>
      </p:sp>
      <p:graphicFrame>
        <p:nvGraphicFramePr>
          <p:cNvPr id="2" name="Table 1">
            <a:extLst>
              <a:ext uri="{FF2B5EF4-FFF2-40B4-BE49-F238E27FC236}">
                <a16:creationId xmlns:a16="http://schemas.microsoft.com/office/drawing/2014/main" id="{38D28E01-C0E2-4542-83AC-E768507E0E4E}"/>
              </a:ext>
            </a:extLst>
          </p:cNvPr>
          <p:cNvGraphicFramePr>
            <a:graphicFrameLocks noGrp="1"/>
          </p:cNvGraphicFramePr>
          <p:nvPr/>
        </p:nvGraphicFramePr>
        <p:xfrm>
          <a:off x="1352713" y="1877928"/>
          <a:ext cx="7335674" cy="3022115"/>
        </p:xfrm>
        <a:graphic>
          <a:graphicData uri="http://schemas.openxmlformats.org/drawingml/2006/table">
            <a:tbl>
              <a:tblPr/>
              <a:tblGrid>
                <a:gridCol w="3142392">
                  <a:extLst>
                    <a:ext uri="{9D8B030D-6E8A-4147-A177-3AD203B41FA5}">
                      <a16:colId xmlns:a16="http://schemas.microsoft.com/office/drawing/2014/main" val="1386234016"/>
                    </a:ext>
                  </a:extLst>
                </a:gridCol>
                <a:gridCol w="4193282">
                  <a:extLst>
                    <a:ext uri="{9D8B030D-6E8A-4147-A177-3AD203B41FA5}">
                      <a16:colId xmlns:a16="http://schemas.microsoft.com/office/drawing/2014/main" val="3940906563"/>
                    </a:ext>
                  </a:extLst>
                </a:gridCol>
              </a:tblGrid>
              <a:tr h="377979">
                <a:tc>
                  <a:txBody>
                    <a:bodyPr/>
                    <a:lstStyle/>
                    <a:p>
                      <a:pPr algn="l" fontAlgn="base"/>
                      <a:r>
                        <a:rPr lang="en-US" sz="1200" b="1" i="0" u="none" strike="noStrike">
                          <a:solidFill>
                            <a:srgbClr val="000000"/>
                          </a:solidFill>
                          <a:effectLst/>
                          <a:latin typeface="Verdana" panose="020B0604030504040204" pitchFamily="34" charset="0"/>
                        </a:rPr>
                        <a:t>Name(s)</a:t>
                      </a:r>
                      <a:r>
                        <a:rPr lang="en-US" sz="1200" b="1" i="0">
                          <a:solidFill>
                            <a:srgbClr val="FFFFFF"/>
                          </a:solidFill>
                          <a:effectLst/>
                          <a:latin typeface="Verdana" panose="020B0604030504040204" pitchFamily="34" charset="0"/>
                        </a:rPr>
                        <a:t>​</a:t>
                      </a:r>
                      <a:endParaRPr lang="en-US" sz="1000" b="1" i="0">
                        <a:solidFill>
                          <a:srgbClr val="FFFFFF"/>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200" b="1" i="0" u="none" strike="noStrike" dirty="0">
                          <a:solidFill>
                            <a:srgbClr val="000000"/>
                          </a:solidFill>
                          <a:effectLst/>
                          <a:latin typeface="Verdana" panose="020B0604030504040204" pitchFamily="34" charset="0"/>
                        </a:rPr>
                        <a:t>Practice(s)</a:t>
                      </a:r>
                      <a:r>
                        <a:rPr lang="en-US" sz="1200" b="1" i="0" dirty="0">
                          <a:solidFill>
                            <a:srgbClr val="FFFFFF"/>
                          </a:solidFill>
                          <a:effectLst/>
                          <a:latin typeface="Verdana" panose="020B0604030504040204" pitchFamily="34" charset="0"/>
                        </a:rPr>
                        <a:t>​</a:t>
                      </a:r>
                      <a:endParaRPr lang="en-US" sz="1000" b="1" i="0" dirty="0">
                        <a:solidFill>
                          <a:srgbClr val="FFFFFF"/>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3543962521"/>
                  </a:ext>
                </a:extLst>
              </a:tr>
              <a:tr h="377979">
                <a:tc>
                  <a:txBody>
                    <a:bodyPr/>
                    <a:lstStyle/>
                    <a:p>
                      <a:pPr algn="l" fontAlgn="base"/>
                      <a:r>
                        <a:rPr lang="en-US" sz="1300" b="1" i="0" u="none" strike="noStrike" dirty="0">
                          <a:solidFill>
                            <a:srgbClr val="FF304C"/>
                          </a:solidFill>
                          <a:effectLst/>
                          <a:latin typeface="Verdana" panose="020B0604030504040204" pitchFamily="34" charset="0"/>
                        </a:rPr>
                        <a:t>Dinesh Nigam –847-287-1065</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300" b="0" i="0" u="none" strike="noStrike" dirty="0">
                          <a:solidFill>
                            <a:srgbClr val="000000"/>
                          </a:solidFill>
                          <a:effectLst/>
                          <a:latin typeface="Verdana" panose="020B0604030504040204" pitchFamily="34" charset="0"/>
                        </a:rPr>
                        <a:t>Insurance, B&amp;ITT-Ins, Duck Creek</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3378949573"/>
                  </a:ext>
                </a:extLst>
              </a:tr>
              <a:tr h="339410">
                <a:tc>
                  <a:txBody>
                    <a:bodyPr/>
                    <a:lstStyle/>
                    <a:p>
                      <a:pPr algn="l" fontAlgn="base"/>
                      <a:r>
                        <a:rPr lang="en-US" sz="1300" b="1" i="0" u="none" strike="noStrike" dirty="0">
                          <a:solidFill>
                            <a:srgbClr val="FF304C"/>
                          </a:solidFill>
                          <a:effectLst/>
                          <a:latin typeface="Verdana" panose="020B0604030504040204" pitchFamily="34" charset="0"/>
                        </a:rPr>
                        <a:t>Sakti Dash – 201-755-3101</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300" b="0" i="0" u="none" strike="noStrike" dirty="0">
                          <a:solidFill>
                            <a:srgbClr val="000000"/>
                          </a:solidFill>
                          <a:effectLst/>
                          <a:latin typeface="Verdana" panose="020B0604030504040204" pitchFamily="34" charset="0"/>
                        </a:rPr>
                        <a:t>ADM, Auto &amp; ERP</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1606339324"/>
                  </a:ext>
                </a:extLst>
              </a:tr>
              <a:tr h="470535">
                <a:tc>
                  <a:txBody>
                    <a:bodyPr/>
                    <a:lstStyle/>
                    <a:p>
                      <a:pPr algn="l" fontAlgn="base"/>
                      <a:r>
                        <a:rPr lang="en-US" sz="1300" b="1" i="0" u="none" strike="noStrike" dirty="0">
                          <a:solidFill>
                            <a:srgbClr val="FF304C"/>
                          </a:solidFill>
                          <a:effectLst/>
                          <a:latin typeface="Verdana" panose="020B0604030504040204" pitchFamily="34" charset="0"/>
                        </a:rPr>
                        <a:t>Mayuri Chande</a:t>
                      </a:r>
                      <a:r>
                        <a:rPr lang="en-US" sz="1600" b="0" i="0" dirty="0">
                          <a:solidFill>
                            <a:srgbClr val="000000"/>
                          </a:solidFill>
                          <a:effectLst/>
                          <a:latin typeface="Verdana" panose="020B0604030504040204" pitchFamily="34" charset="0"/>
                        </a:rPr>
                        <a:t>​ </a:t>
                      </a:r>
                      <a:r>
                        <a:rPr lang="en-US" sz="1000" b="1" i="0" dirty="0">
                          <a:solidFill>
                            <a:srgbClr val="FF0000"/>
                          </a:solidFill>
                          <a:effectLst/>
                          <a:latin typeface="Verdana" panose="020B0604030504040204" pitchFamily="34" charset="0"/>
                        </a:rPr>
                        <a:t>(email contact is best:  mayuri.chande@Capgemini.com)</a:t>
                      </a:r>
                      <a:endParaRPr lang="en-US" sz="1000" b="0" i="0" dirty="0">
                        <a:solidFill>
                          <a:srgbClr val="00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300" b="0" i="0" u="none" strike="noStrike" dirty="0">
                          <a:solidFill>
                            <a:srgbClr val="000000"/>
                          </a:solidFill>
                          <a:effectLst/>
                          <a:latin typeface="Verdana" panose="020B0604030504040204" pitchFamily="34" charset="0"/>
                        </a:rPr>
                        <a:t>I&amp;D</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2202524928"/>
                  </a:ext>
                </a:extLst>
              </a:tr>
              <a:tr h="377979">
                <a:tc>
                  <a:txBody>
                    <a:bodyPr/>
                    <a:lstStyle/>
                    <a:p>
                      <a:pPr algn="l" fontAlgn="base"/>
                      <a:r>
                        <a:rPr lang="en-US" sz="1300" b="1" i="0" u="none" strike="noStrike" dirty="0">
                          <a:solidFill>
                            <a:srgbClr val="FF304C"/>
                          </a:solidFill>
                          <a:effectLst/>
                          <a:latin typeface="Verdana" panose="020B0604030504040204" pitchFamily="34" charset="0"/>
                        </a:rPr>
                        <a:t>Amit Rane – 224-258-4487</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300" b="0" i="0" u="none" strike="noStrike" dirty="0">
                          <a:solidFill>
                            <a:srgbClr val="000000"/>
                          </a:solidFill>
                          <a:effectLst/>
                          <a:latin typeface="Verdana" panose="020B0604030504040204" pitchFamily="34" charset="0"/>
                        </a:rPr>
                        <a:t>Digital &amp; Testing</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3963396918"/>
                  </a:ext>
                </a:extLst>
              </a:tr>
              <a:tr h="495300">
                <a:tc>
                  <a:txBody>
                    <a:bodyPr/>
                    <a:lstStyle/>
                    <a:p>
                      <a:pPr algn="l" fontAlgn="base"/>
                      <a:r>
                        <a:rPr lang="en-US" sz="1300" b="1" i="0" u="none" strike="noStrike" dirty="0" err="1">
                          <a:solidFill>
                            <a:srgbClr val="FF304C"/>
                          </a:solidFill>
                          <a:effectLst/>
                          <a:latin typeface="Verdana" panose="020B0604030504040204" pitchFamily="34" charset="0"/>
                        </a:rPr>
                        <a:t>Ompi</a:t>
                      </a:r>
                      <a:r>
                        <a:rPr lang="en-US" sz="1300" b="1" i="0" u="none" strike="noStrike" dirty="0">
                          <a:solidFill>
                            <a:srgbClr val="FF304C"/>
                          </a:solidFill>
                          <a:effectLst/>
                          <a:latin typeface="Verdana" panose="020B0604030504040204" pitchFamily="34" charset="0"/>
                        </a:rPr>
                        <a:t> Mitra</a:t>
                      </a:r>
                      <a:r>
                        <a:rPr lang="en-US" sz="1000" b="1" i="0" dirty="0">
                          <a:solidFill>
                            <a:srgbClr val="000000"/>
                          </a:solidFill>
                          <a:effectLst/>
                          <a:latin typeface="Verdana" panose="020B0604030504040204" pitchFamily="34" charset="0"/>
                        </a:rPr>
                        <a:t>​ </a:t>
                      </a:r>
                      <a:r>
                        <a:rPr lang="en-US" sz="1000" b="1" i="0" dirty="0">
                          <a:solidFill>
                            <a:srgbClr val="FF0000"/>
                          </a:solidFill>
                          <a:effectLst/>
                          <a:latin typeface="Verdana" panose="020B0604030504040204" pitchFamily="34" charset="0"/>
                        </a:rPr>
                        <a:t>(email contact is best:  neha.d.sharma@Capgemini.com)</a:t>
                      </a:r>
                      <a:endParaRPr lang="en-US" sz="1000" b="1" i="0" dirty="0">
                        <a:solidFill>
                          <a:srgbClr val="FF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marL="371475" marR="0" lvl="1" indent="0" algn="l" defTabSz="742950" rtl="0" eaLnBrk="1" fontAlgn="base"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Verdana" panose="020B0604030504040204" pitchFamily="34" charset="0"/>
                        </a:rPr>
                        <a:t>B&amp;ITT-Banking</a:t>
                      </a:r>
                      <a:r>
                        <a:rPr lang="en-US" sz="1300" b="0" i="0" dirty="0">
                          <a:solidFill>
                            <a:srgbClr val="000000"/>
                          </a:solidFill>
                          <a:effectLst/>
                          <a:latin typeface="Verdana" panose="020B0604030504040204" pitchFamily="34" charset="0"/>
                        </a:rPr>
                        <a:t>​,</a:t>
                      </a:r>
                      <a:endParaRPr lang="en-US" sz="1300" b="0" i="0" dirty="0">
                        <a:solidFill>
                          <a:srgbClr val="000000"/>
                        </a:solidFill>
                        <a:effectLst/>
                      </a:endParaRPr>
                    </a:p>
                    <a:p>
                      <a:pPr marL="371475" marR="0" lvl="1" indent="0" algn="l" defTabSz="742950" rtl="0" eaLnBrk="1" fontAlgn="base"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Verdana" panose="020B0604030504040204" pitchFamily="34" charset="0"/>
                        </a:rPr>
                        <a:t>Capital Markets</a:t>
                      </a:r>
                      <a:r>
                        <a:rPr lang="en-US" sz="1500" b="0" i="0" dirty="0">
                          <a:solidFill>
                            <a:srgbClr val="000000"/>
                          </a:solidFill>
                          <a:effectLst/>
                          <a:latin typeface="Verdana" panose="020B0604030504040204" pitchFamily="34" charset="0"/>
                        </a:rPr>
                        <a:t>​</a:t>
                      </a:r>
                      <a:endParaRPr lang="en-US" sz="15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243088684"/>
                  </a:ext>
                </a:extLst>
              </a:tr>
              <a:tr h="421005">
                <a:tc>
                  <a:txBody>
                    <a:bodyPr/>
                    <a:lstStyle/>
                    <a:p>
                      <a:pPr algn="l" fontAlgn="base"/>
                      <a:r>
                        <a:rPr lang="en-US" sz="1300" b="1" i="0" u="none" strike="noStrike" dirty="0">
                          <a:solidFill>
                            <a:srgbClr val="FF304C"/>
                          </a:solidFill>
                          <a:effectLst/>
                          <a:latin typeface="Verdana" panose="020B0604030504040204" pitchFamily="34" charset="0"/>
                        </a:rPr>
                        <a:t>Charudatt Bawane </a:t>
                      </a:r>
                      <a:r>
                        <a:rPr lang="en-US" sz="1000" b="1" i="0" u="none" strike="noStrike" dirty="0">
                          <a:solidFill>
                            <a:srgbClr val="FF304C"/>
                          </a:solidFill>
                          <a:effectLst/>
                          <a:latin typeface="Verdana" panose="020B0604030504040204" pitchFamily="34" charset="0"/>
                        </a:rPr>
                        <a:t>(email contact is best: Charudatt.Bawane@Capgemini.com)</a:t>
                      </a:r>
                      <a:endParaRPr lang="en-US" sz="1000" b="0" i="0" u="none" dirty="0">
                        <a:solidFill>
                          <a:srgbClr val="00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lvl="1" algn="l" fontAlgn="base"/>
                      <a:r>
                        <a:rPr lang="en-US" sz="1300" b="0" i="0" u="none" strike="noStrike" dirty="0">
                          <a:solidFill>
                            <a:srgbClr val="000000"/>
                          </a:solidFill>
                          <a:effectLst/>
                          <a:latin typeface="Verdana" panose="020B0604030504040204" pitchFamily="34" charset="0"/>
                        </a:rPr>
                        <a:t>Support Functions</a:t>
                      </a:r>
                      <a:r>
                        <a:rPr lang="en-US" sz="1300" b="0" i="0" dirty="0">
                          <a:solidFill>
                            <a:srgbClr val="000000"/>
                          </a:solidFill>
                          <a:effectLst/>
                          <a:latin typeface="Verdana" panose="020B0604030504040204" pitchFamily="34" charset="0"/>
                        </a:rPr>
                        <a:t>​</a:t>
                      </a:r>
                      <a:endParaRPr lang="en-US" sz="10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2151672369"/>
                  </a:ext>
                </a:extLst>
              </a:tr>
            </a:tbl>
          </a:graphicData>
        </a:graphic>
      </p:graphicFrame>
      <p:sp>
        <p:nvSpPr>
          <p:cNvPr id="4" name="Rectangle 1">
            <a:extLst>
              <a:ext uri="{FF2B5EF4-FFF2-40B4-BE49-F238E27FC236}">
                <a16:creationId xmlns:a16="http://schemas.microsoft.com/office/drawing/2014/main" id="{8436C85D-A753-4E3D-9370-0D1EE2C8C306}"/>
              </a:ext>
            </a:extLst>
          </p:cNvPr>
          <p:cNvSpPr>
            <a:spLocks noChangeArrowheads="1"/>
          </p:cNvSpPr>
          <p:nvPr/>
        </p:nvSpPr>
        <p:spPr bwMode="auto">
          <a:xfrm>
            <a:off x="2374603" y="1921666"/>
            <a:ext cx="8048625" cy="525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4295" tIns="37148" rIns="74295" bIns="37148"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lang="en-US" altLang="en-US" sz="1463">
                <a:solidFill>
                  <a:srgbClr val="000000"/>
                </a:solidFill>
                <a:latin typeface="Times New Roman" panose="02020603050405020304" pitchFamily="18" charset="0"/>
                <a:cs typeface="Times New Roman" panose="02020603050405020304" pitchFamily="18" charset="0"/>
              </a:rPr>
              <a:t> </a:t>
            </a:r>
            <a:endParaRPr lang="en-US" altLang="en-US" sz="1463">
              <a:solidFill>
                <a:srgbClr val="000000"/>
              </a:solidFill>
            </a:endParaRPr>
          </a:p>
          <a:p>
            <a:pPr defTabSz="742950"/>
            <a:endParaRPr lang="en-US" altLang="en-US" sz="1463">
              <a:solidFill>
                <a:srgbClr val="000000"/>
              </a:solidFill>
            </a:endParaRPr>
          </a:p>
        </p:txBody>
      </p:sp>
      <p:graphicFrame>
        <p:nvGraphicFramePr>
          <p:cNvPr id="5" name="Table 4">
            <a:extLst>
              <a:ext uri="{FF2B5EF4-FFF2-40B4-BE49-F238E27FC236}">
                <a16:creationId xmlns:a16="http://schemas.microsoft.com/office/drawing/2014/main" id="{D822B876-2A4D-43AB-B923-F36A1C570A98}"/>
              </a:ext>
            </a:extLst>
          </p:cNvPr>
          <p:cNvGraphicFramePr>
            <a:graphicFrameLocks noGrp="1"/>
          </p:cNvGraphicFramePr>
          <p:nvPr/>
        </p:nvGraphicFramePr>
        <p:xfrm>
          <a:off x="1352713" y="4738115"/>
          <a:ext cx="7335674" cy="424816"/>
        </p:xfrm>
        <a:graphic>
          <a:graphicData uri="http://schemas.openxmlformats.org/drawingml/2006/table">
            <a:tbl>
              <a:tblPr/>
              <a:tblGrid>
                <a:gridCol w="3142392">
                  <a:extLst>
                    <a:ext uri="{9D8B030D-6E8A-4147-A177-3AD203B41FA5}">
                      <a16:colId xmlns:a16="http://schemas.microsoft.com/office/drawing/2014/main" val="3705813718"/>
                    </a:ext>
                  </a:extLst>
                </a:gridCol>
                <a:gridCol w="4193282">
                  <a:extLst>
                    <a:ext uri="{9D8B030D-6E8A-4147-A177-3AD203B41FA5}">
                      <a16:colId xmlns:a16="http://schemas.microsoft.com/office/drawing/2014/main" val="3550513352"/>
                    </a:ext>
                  </a:extLst>
                </a:gridCol>
              </a:tblGrid>
              <a:tr h="421005">
                <a:tc>
                  <a:txBody>
                    <a:bodyPr/>
                    <a:lstStyle/>
                    <a:p>
                      <a:pPr algn="l" fontAlgn="base"/>
                      <a:r>
                        <a:rPr lang="en-US" sz="1300" b="1" i="0" u="none" strike="noStrike" dirty="0">
                          <a:solidFill>
                            <a:srgbClr val="FF304C"/>
                          </a:solidFill>
                          <a:effectLst/>
                          <a:latin typeface="Verdana" panose="020B0604030504040204" pitchFamily="34" charset="0"/>
                        </a:rPr>
                        <a:t>Pulkit Mehrotra</a:t>
                      </a:r>
                      <a:r>
                        <a:rPr lang="en-US" sz="1000" b="1" i="0" dirty="0">
                          <a:solidFill>
                            <a:srgbClr val="000000"/>
                          </a:solidFill>
                          <a:effectLst/>
                          <a:latin typeface="Verdana" panose="020B0604030504040204" pitchFamily="34" charset="0"/>
                        </a:rPr>
                        <a:t>​ </a:t>
                      </a:r>
                      <a:r>
                        <a:rPr lang="en-US" sz="1000" b="1" i="0" dirty="0">
                          <a:solidFill>
                            <a:srgbClr val="FF0000"/>
                          </a:solidFill>
                          <a:effectLst/>
                          <a:latin typeface="Verdana" panose="020B0604030504040204" pitchFamily="34" charset="0"/>
                        </a:rPr>
                        <a:t>(email contact is best:  pulkit.mehrotra@Capgemini.com)</a:t>
                      </a:r>
                      <a:endParaRPr lang="en-US" sz="1000" b="1" i="0" dirty="0">
                        <a:solidFill>
                          <a:srgbClr val="FF0000"/>
                        </a:solidFill>
                        <a:effectLst/>
                      </a:endParaRPr>
                    </a:p>
                  </a:txBody>
                  <a:tcPr marL="74295" marR="74295" marT="37148" marB="37148" anchor="ctr">
                    <a:lnL w="8199" cap="flat" cmpd="sng" algn="ctr">
                      <a:solidFill>
                        <a:srgbClr val="95E616"/>
                      </a:solidFill>
                      <a:prstDash val="solid"/>
                      <a:round/>
                      <a:headEnd type="none" w="med" len="med"/>
                      <a:tailEnd type="none" w="med" len="med"/>
                    </a:lnL>
                    <a:lnR w="7620" cap="flat" cmpd="sng" algn="ctr">
                      <a:solidFill>
                        <a:srgbClr val="F4F7FC"/>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tc>
                  <a:txBody>
                    <a:bodyPr/>
                    <a:lstStyle/>
                    <a:p>
                      <a:pPr marL="371475" marR="0" lvl="1" indent="0" algn="l" defTabSz="742950" rtl="0" eaLnBrk="1" fontAlgn="base"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Verdana" panose="020B0604030504040204" pitchFamily="34" charset="0"/>
                        </a:rPr>
                        <a:t>BDF, </a:t>
                      </a:r>
                      <a:r>
                        <a:rPr lang="en-US" sz="1500" b="0" i="0" u="none" strike="noStrike" dirty="0">
                          <a:solidFill>
                            <a:srgbClr val="000000"/>
                          </a:solidFill>
                          <a:effectLst/>
                          <a:latin typeface="Verdana" panose="020B0604030504040204" pitchFamily="34" charset="0"/>
                        </a:rPr>
                        <a:t>Cards &amp; Payments</a:t>
                      </a:r>
                      <a:endParaRPr lang="en-US" sz="1500" b="0" i="0" dirty="0">
                        <a:solidFill>
                          <a:srgbClr val="000000"/>
                        </a:solidFill>
                        <a:effectLst/>
                      </a:endParaRPr>
                    </a:p>
                  </a:txBody>
                  <a:tcPr marL="74295" marR="74295" marT="37148" marB="37148" anchor="ctr">
                    <a:lnL w="7620" cap="flat" cmpd="sng" algn="ctr">
                      <a:solidFill>
                        <a:srgbClr val="F4F7FC"/>
                      </a:solidFill>
                      <a:prstDash val="solid"/>
                      <a:round/>
                      <a:headEnd type="none" w="med" len="med"/>
                      <a:tailEnd type="none" w="med" len="med"/>
                    </a:lnL>
                    <a:lnR w="8199" cap="flat" cmpd="sng" algn="ctr">
                      <a:solidFill>
                        <a:srgbClr val="95E616"/>
                      </a:solidFill>
                      <a:prstDash val="solid"/>
                      <a:round/>
                      <a:headEnd type="none" w="med" len="med"/>
                      <a:tailEnd type="none" w="med" len="med"/>
                    </a:lnR>
                    <a:lnT w="8199" cap="flat" cmpd="sng" algn="ctr">
                      <a:solidFill>
                        <a:srgbClr val="95E616"/>
                      </a:solidFill>
                      <a:prstDash val="solid"/>
                      <a:round/>
                      <a:headEnd type="none" w="med" len="med"/>
                      <a:tailEnd type="none" w="med" len="med"/>
                    </a:lnT>
                    <a:lnB w="8199" cap="flat" cmpd="sng" algn="ctr">
                      <a:solidFill>
                        <a:srgbClr val="95E616"/>
                      </a:solidFill>
                      <a:prstDash val="solid"/>
                      <a:round/>
                      <a:headEnd type="none" w="med" len="med"/>
                      <a:tailEnd type="none" w="med" len="med"/>
                    </a:lnB>
                  </a:tcPr>
                </a:tc>
                <a:extLst>
                  <a:ext uri="{0D108BD9-81ED-4DB2-BD59-A6C34878D82A}">
                    <a16:rowId xmlns:a16="http://schemas.microsoft.com/office/drawing/2014/main" val="96375143"/>
                  </a:ext>
                </a:extLst>
              </a:tr>
            </a:tbl>
          </a:graphicData>
        </a:graphic>
      </p:graphicFrame>
    </p:spTree>
    <p:extLst>
      <p:ext uri="{BB962C8B-B14F-4D97-AF65-F5344CB8AC3E}">
        <p14:creationId xmlns:p14="http://schemas.microsoft.com/office/powerpoint/2010/main" val="415003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Freeform 9">
            <a:extLst>
              <a:ext uri="{FF2B5EF4-FFF2-40B4-BE49-F238E27FC236}">
                <a16:creationId xmlns:a16="http://schemas.microsoft.com/office/drawing/2014/main" id="{6AEDE478-54DF-47AA-84E5-A5F0289A8260}"/>
              </a:ext>
            </a:extLst>
          </p:cNvPr>
          <p:cNvSpPr>
            <a:spLocks/>
          </p:cNvSpPr>
          <p:nvPr/>
        </p:nvSpPr>
        <p:spPr bwMode="auto">
          <a:xfrm>
            <a:off x="0" y="-27878"/>
            <a:ext cx="4279769" cy="2280884"/>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AutoShape 2" descr="Image result for career as a jungle gy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585663" y="166693"/>
            <a:ext cx="2936720" cy="1225977"/>
          </a:xfrm>
          <a:prstGeom prst="rect">
            <a:avLst/>
          </a:prstGeom>
          <a:noFill/>
        </p:spPr>
        <p:txBody>
          <a:bodyPr wrap="square" anchor="t">
            <a:spAutoFit/>
          </a:bodyPr>
          <a:lstStyle/>
          <a:p>
            <a:pPr eaLnBrk="0" hangingPunct="0">
              <a:spcAft>
                <a:spcPts val="200"/>
              </a:spcAft>
              <a:buClr>
                <a:schemeClr val="tx2"/>
              </a:buClr>
              <a:defRPr/>
            </a:pPr>
            <a:endParaRPr lang="en-US" sz="2400" kern="0">
              <a:solidFill>
                <a:schemeClr val="bg1"/>
              </a:solidFill>
            </a:endParaRPr>
          </a:p>
          <a:p>
            <a:pPr eaLnBrk="0" hangingPunct="0">
              <a:spcAft>
                <a:spcPts val="200"/>
              </a:spcAft>
              <a:buClr>
                <a:schemeClr val="tx2"/>
              </a:buClr>
              <a:defRPr/>
            </a:pPr>
            <a:r>
              <a:rPr lang="en-US" sz="2400" kern="0">
                <a:solidFill>
                  <a:schemeClr val="bg1"/>
                </a:solidFill>
              </a:rPr>
              <a:t>Staffing Partner Responsibilities:</a:t>
            </a:r>
            <a:endParaRPr lang="en-US" sz="2400" kern="0">
              <a:solidFill>
                <a:schemeClr val="bg1"/>
              </a:solidFill>
              <a:ea typeface="Verdana"/>
              <a:cs typeface="Verdana"/>
            </a:endParaRPr>
          </a:p>
        </p:txBody>
      </p:sp>
      <p:sp>
        <p:nvSpPr>
          <p:cNvPr id="3" name="Rectangle 2">
            <a:extLst>
              <a:ext uri="{FF2B5EF4-FFF2-40B4-BE49-F238E27FC236}">
                <a16:creationId xmlns:a16="http://schemas.microsoft.com/office/drawing/2014/main" id="{61F78CE5-93E6-4761-9EE0-86447FA70776}"/>
              </a:ext>
            </a:extLst>
          </p:cNvPr>
          <p:cNvSpPr/>
          <p:nvPr/>
        </p:nvSpPr>
        <p:spPr>
          <a:xfrm>
            <a:off x="4540402" y="3388872"/>
            <a:ext cx="5291988" cy="2687915"/>
          </a:xfrm>
          <a:prstGeom prst="rect">
            <a:avLst/>
          </a:prstGeom>
        </p:spPr>
        <p:txBody>
          <a:bodyPr wrap="square" anchor="t">
            <a:spAutoFit/>
          </a:bodyPr>
          <a:lstStyle/>
          <a:p>
            <a:pPr marL="171450" indent="-171450" eaLnBrk="0" hangingPunct="0">
              <a:spcAft>
                <a:spcPts val="200"/>
              </a:spcAft>
              <a:buClr>
                <a:schemeClr val="tx2"/>
              </a:buClr>
              <a:buFont typeface="Wingdings" pitchFamily="2" charset="2"/>
              <a:buChar char="§"/>
              <a:defRPr/>
            </a:pPr>
            <a:r>
              <a:rPr lang="en-US" sz="1800" kern="0">
                <a:solidFill>
                  <a:schemeClr val="bg1"/>
                </a:solidFill>
              </a:rPr>
              <a:t>Track resource demand and map it</a:t>
            </a:r>
          </a:p>
          <a:p>
            <a:pPr eaLnBrk="0" hangingPunct="0">
              <a:spcAft>
                <a:spcPts val="200"/>
              </a:spcAft>
              <a:buClr>
                <a:schemeClr val="tx2"/>
              </a:buClr>
              <a:defRPr/>
            </a:pPr>
            <a:r>
              <a:rPr lang="en-US" sz="1800" kern="0">
                <a:solidFill>
                  <a:schemeClr val="bg1"/>
                </a:solidFill>
              </a:rPr>
              <a:t>   to the resource supply</a:t>
            </a:r>
            <a:endParaRPr lang="en-US" sz="1800" kern="0">
              <a:solidFill>
                <a:schemeClr val="bg1"/>
              </a:solidFill>
              <a:ea typeface="Verdana"/>
              <a:cs typeface="Verdana"/>
            </a:endParaRPr>
          </a:p>
          <a:p>
            <a:pPr marL="171450" indent="-171450" eaLnBrk="0" hangingPunct="0">
              <a:spcAft>
                <a:spcPts val="200"/>
              </a:spcAft>
              <a:buClr>
                <a:schemeClr val="tx2"/>
              </a:buClr>
              <a:buFont typeface="Wingdings" pitchFamily="2" charset="2"/>
              <a:buChar char="§"/>
              <a:defRPr/>
            </a:pPr>
            <a:r>
              <a:rPr lang="en-US" sz="1800" kern="0">
                <a:solidFill>
                  <a:schemeClr val="bg1"/>
                </a:solidFill>
              </a:rPr>
              <a:t>Open demand to recruitment if internal supply cannot fulfill</a:t>
            </a:r>
            <a:endParaRPr lang="en-US" sz="1800" kern="0">
              <a:solidFill>
                <a:schemeClr val="bg1"/>
              </a:solidFill>
              <a:ea typeface="Verdana"/>
              <a:cs typeface="Verdana"/>
            </a:endParaRPr>
          </a:p>
          <a:p>
            <a:pPr marL="171450" indent="-171450" eaLnBrk="0" hangingPunct="0">
              <a:spcAft>
                <a:spcPts val="200"/>
              </a:spcAft>
              <a:buClr>
                <a:schemeClr val="tx2"/>
              </a:buClr>
              <a:buFont typeface="Wingdings" pitchFamily="2" charset="2"/>
              <a:buChar char="§"/>
              <a:defRPr/>
            </a:pPr>
            <a:r>
              <a:rPr lang="en-US" sz="1800" kern="0">
                <a:solidFill>
                  <a:schemeClr val="bg1"/>
                </a:solidFill>
              </a:rPr>
              <a:t>Ensure correct project allocations to enable time entry</a:t>
            </a:r>
          </a:p>
          <a:p>
            <a:pPr marL="171450" indent="-171450" eaLnBrk="0" hangingPunct="0">
              <a:spcAft>
                <a:spcPts val="200"/>
              </a:spcAft>
              <a:buClr>
                <a:schemeClr val="tx2"/>
              </a:buClr>
              <a:buFont typeface="Wingdings" pitchFamily="2" charset="2"/>
              <a:buChar char="§"/>
              <a:defRPr/>
            </a:pPr>
            <a:r>
              <a:rPr lang="en-US" sz="1800" kern="0">
                <a:solidFill>
                  <a:schemeClr val="bg1"/>
                </a:solidFill>
              </a:rPr>
              <a:t>Follow-up with BU/Account to resolve any allocation discrepancies, extensions and roll offs</a:t>
            </a:r>
          </a:p>
        </p:txBody>
      </p:sp>
    </p:spTree>
    <p:extLst>
      <p:ext uri="{BB962C8B-B14F-4D97-AF65-F5344CB8AC3E}">
        <p14:creationId xmlns:p14="http://schemas.microsoft.com/office/powerpoint/2010/main" val="2671397898"/>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b="1"/>
              <a:t>Your Learning Team</a:t>
            </a:r>
          </a:p>
        </p:txBody>
      </p:sp>
      <p:graphicFrame>
        <p:nvGraphicFramePr>
          <p:cNvPr id="15" name="Table 14"/>
          <p:cNvGraphicFramePr>
            <a:graphicFrameLocks noGrp="1"/>
          </p:cNvGraphicFramePr>
          <p:nvPr>
            <p:extLst>
              <p:ext uri="{D42A27DB-BD31-4B8C-83A1-F6EECF244321}">
                <p14:modId xmlns:p14="http://schemas.microsoft.com/office/powerpoint/2010/main" val="1284463607"/>
              </p:ext>
            </p:extLst>
          </p:nvPr>
        </p:nvGraphicFramePr>
        <p:xfrm>
          <a:off x="250267" y="1623760"/>
          <a:ext cx="7168395" cy="4041883"/>
        </p:xfrm>
        <a:graphic>
          <a:graphicData uri="http://schemas.openxmlformats.org/drawingml/2006/table">
            <a:tbl>
              <a:tblPr firstRow="1" bandRow="1">
                <a:tableStyleId>{5A111915-BE36-4E01-A7E5-04B1672EAD32}</a:tableStyleId>
              </a:tblPr>
              <a:tblGrid>
                <a:gridCol w="2307069">
                  <a:extLst>
                    <a:ext uri="{9D8B030D-6E8A-4147-A177-3AD203B41FA5}">
                      <a16:colId xmlns:a16="http://schemas.microsoft.com/office/drawing/2014/main" val="20000"/>
                    </a:ext>
                  </a:extLst>
                </a:gridCol>
                <a:gridCol w="4861326">
                  <a:extLst>
                    <a:ext uri="{9D8B030D-6E8A-4147-A177-3AD203B41FA5}">
                      <a16:colId xmlns:a16="http://schemas.microsoft.com/office/drawing/2014/main" val="20001"/>
                    </a:ext>
                  </a:extLst>
                </a:gridCol>
              </a:tblGrid>
              <a:tr h="570306">
                <a:tc>
                  <a:txBody>
                    <a:bodyPr/>
                    <a:lstStyle/>
                    <a:p>
                      <a:r>
                        <a:rPr lang="en-US" sz="1800">
                          <a:solidFill>
                            <a:schemeClr val="tx1"/>
                          </a:solidFill>
                        </a:rPr>
                        <a:t>Name(s)</a:t>
                      </a:r>
                    </a:p>
                  </a:txBody>
                  <a:tcPr marL="99060" marR="99060">
                    <a:solidFill>
                      <a:schemeClr val="bg1">
                        <a:alpha val="80000"/>
                      </a:schemeClr>
                    </a:solidFill>
                  </a:tcPr>
                </a:tc>
                <a:tc>
                  <a:txBody>
                    <a:bodyPr/>
                    <a:lstStyle/>
                    <a:p>
                      <a:r>
                        <a:rPr lang="en-US" sz="1800">
                          <a:solidFill>
                            <a:schemeClr val="tx1"/>
                          </a:solidFill>
                        </a:rPr>
                        <a:t>Role(s)</a:t>
                      </a:r>
                    </a:p>
                  </a:txBody>
                  <a:tcPr marL="99060" marR="99060">
                    <a:solidFill>
                      <a:schemeClr val="bg1">
                        <a:alpha val="80000"/>
                      </a:schemeClr>
                    </a:solidFill>
                  </a:tcPr>
                </a:tc>
                <a:extLst>
                  <a:ext uri="{0D108BD9-81ED-4DB2-BD59-A6C34878D82A}">
                    <a16:rowId xmlns:a16="http://schemas.microsoft.com/office/drawing/2014/main" val="10000"/>
                  </a:ext>
                </a:extLst>
              </a:tr>
              <a:tr h="380204">
                <a:tc>
                  <a:txBody>
                    <a:bodyPr/>
                    <a:lstStyle/>
                    <a:p>
                      <a:r>
                        <a:rPr lang="en-US" sz="1800" b="1">
                          <a:solidFill>
                            <a:schemeClr val="accent4"/>
                          </a:solidFill>
                        </a:rPr>
                        <a:t>Amar Shetty</a:t>
                      </a:r>
                    </a:p>
                  </a:txBody>
                  <a:tcPr marL="99060" marR="99060">
                    <a:solidFill>
                      <a:schemeClr val="bg1">
                        <a:alpha val="80000"/>
                      </a:schemeClr>
                    </a:solidFill>
                  </a:tcPr>
                </a:tc>
                <a:tc>
                  <a:txBody>
                    <a:bodyPr/>
                    <a:lstStyle/>
                    <a:p>
                      <a:r>
                        <a:rPr lang="en-US" sz="1800"/>
                        <a:t>Global Head, L&amp;D FS SBU</a:t>
                      </a:r>
                    </a:p>
                  </a:txBody>
                  <a:tcPr marL="99060" marR="99060">
                    <a:solidFill>
                      <a:schemeClr val="bg1">
                        <a:alpha val="80000"/>
                      </a:schemeClr>
                    </a:solidFill>
                  </a:tcPr>
                </a:tc>
                <a:extLst>
                  <a:ext uri="{0D108BD9-81ED-4DB2-BD59-A6C34878D82A}">
                    <a16:rowId xmlns:a16="http://schemas.microsoft.com/office/drawing/2014/main" val="10001"/>
                  </a:ext>
                </a:extLst>
              </a:tr>
              <a:tr h="646234">
                <a:tc>
                  <a:txBody>
                    <a:bodyPr/>
                    <a:lstStyle/>
                    <a:p>
                      <a:r>
                        <a:rPr lang="en-US" sz="1800" b="1" err="1">
                          <a:solidFill>
                            <a:schemeClr val="accent4"/>
                          </a:solidFill>
                        </a:rPr>
                        <a:t>Ajinth</a:t>
                      </a:r>
                      <a:r>
                        <a:rPr lang="en-US" sz="1800" b="1">
                          <a:solidFill>
                            <a:schemeClr val="accent4"/>
                          </a:solidFill>
                        </a:rPr>
                        <a:t> </a:t>
                      </a:r>
                      <a:r>
                        <a:rPr lang="en-US" sz="1800" b="1" err="1">
                          <a:solidFill>
                            <a:schemeClr val="accent4"/>
                          </a:solidFill>
                        </a:rPr>
                        <a:t>Sreedharan</a:t>
                      </a:r>
                    </a:p>
                  </a:txBody>
                  <a:tcPr marL="99060" marR="99060">
                    <a:solidFill>
                      <a:schemeClr val="bg1">
                        <a:alpha val="80000"/>
                      </a:schemeClr>
                    </a:solidFill>
                  </a:tcPr>
                </a:tc>
                <a:tc>
                  <a:txBody>
                    <a:bodyPr/>
                    <a:lstStyle/>
                    <a:p>
                      <a:r>
                        <a:rPr lang="en-US" sz="1800"/>
                        <a:t>Learning Head, All NA</a:t>
                      </a:r>
                    </a:p>
                  </a:txBody>
                  <a:tcPr marL="99060" marR="99060">
                    <a:solidFill>
                      <a:schemeClr val="bg1">
                        <a:alpha val="80000"/>
                      </a:schemeClr>
                    </a:solidFill>
                  </a:tcPr>
                </a:tc>
                <a:extLst>
                  <a:ext uri="{0D108BD9-81ED-4DB2-BD59-A6C34878D82A}">
                    <a16:rowId xmlns:a16="http://schemas.microsoft.com/office/drawing/2014/main" val="10002"/>
                  </a:ext>
                </a:extLst>
              </a:tr>
              <a:tr h="772467">
                <a:tc>
                  <a:txBody>
                    <a:bodyPr/>
                    <a:lstStyle/>
                    <a:p>
                      <a:r>
                        <a:rPr lang="en-US" sz="1800" b="1" err="1">
                          <a:solidFill>
                            <a:schemeClr val="accent4"/>
                          </a:solidFill>
                        </a:rPr>
                        <a:t>Sinjini</a:t>
                      </a:r>
                      <a:r>
                        <a:rPr lang="en-US" sz="1800" b="1" baseline="0">
                          <a:solidFill>
                            <a:schemeClr val="accent4"/>
                          </a:solidFill>
                        </a:rPr>
                        <a:t> Bandyopadhyay</a:t>
                      </a:r>
                      <a:endParaRPr lang="en-US" sz="1800" b="1">
                        <a:solidFill>
                          <a:schemeClr val="accent4"/>
                        </a:solidFill>
                      </a:endParaRPr>
                    </a:p>
                  </a:txBody>
                  <a:tcPr marL="99060" marR="99060">
                    <a:solidFill>
                      <a:schemeClr val="bg1">
                        <a:alpha val="80000"/>
                      </a:schemeClr>
                    </a:solidFill>
                  </a:tcPr>
                </a:tc>
                <a:tc>
                  <a:txBody>
                    <a:bodyPr/>
                    <a:lstStyle/>
                    <a:p>
                      <a:r>
                        <a:rPr lang="en-US" sz="1800"/>
                        <a:t>Regional Learning Partner (RLP), FS NA</a:t>
                      </a:r>
                    </a:p>
                    <a:p>
                      <a:r>
                        <a:rPr lang="en-US" sz="1800"/>
                        <a:t>Learning Design Lead, FS</a:t>
                      </a:r>
                      <a:r>
                        <a:rPr lang="en-US" sz="1800" baseline="0"/>
                        <a:t> SBU</a:t>
                      </a:r>
                      <a:endParaRPr lang="en-US" sz="1800"/>
                    </a:p>
                  </a:txBody>
                  <a:tcPr marL="99060" marR="99060">
                    <a:solidFill>
                      <a:schemeClr val="bg1">
                        <a:alpha val="80000"/>
                      </a:schemeClr>
                    </a:solidFill>
                  </a:tcPr>
                </a:tc>
                <a:extLst>
                  <a:ext uri="{0D108BD9-81ED-4DB2-BD59-A6C34878D82A}">
                    <a16:rowId xmlns:a16="http://schemas.microsoft.com/office/drawing/2014/main" val="10003"/>
                  </a:ext>
                </a:extLst>
              </a:tr>
              <a:tr h="380204">
                <a:tc>
                  <a:txBody>
                    <a:bodyPr/>
                    <a:lstStyle/>
                    <a:p>
                      <a:r>
                        <a:rPr lang="en-US" sz="1800" b="1">
                          <a:solidFill>
                            <a:schemeClr val="accent4"/>
                          </a:solidFill>
                        </a:rPr>
                        <a:t>Rajesh M</a:t>
                      </a:r>
                    </a:p>
                  </a:txBody>
                  <a:tcPr marL="99060" marR="99060">
                    <a:solidFill>
                      <a:schemeClr val="bg1">
                        <a:alpha val="80000"/>
                      </a:schemeClr>
                    </a:solidFill>
                  </a:tcPr>
                </a:tc>
                <a:tc>
                  <a:txBody>
                    <a:bodyPr/>
                    <a:lstStyle/>
                    <a:p>
                      <a:r>
                        <a:rPr lang="en-US" sz="1800"/>
                        <a:t>Learning Coordinator, FSNA</a:t>
                      </a:r>
                    </a:p>
                  </a:txBody>
                  <a:tcPr marL="99060" marR="99060">
                    <a:solidFill>
                      <a:schemeClr val="bg1">
                        <a:alpha val="80000"/>
                      </a:schemeClr>
                    </a:solidFill>
                  </a:tcPr>
                </a:tc>
                <a:extLst>
                  <a:ext uri="{0D108BD9-81ED-4DB2-BD59-A6C34878D82A}">
                    <a16:rowId xmlns:a16="http://schemas.microsoft.com/office/drawing/2014/main" val="10004"/>
                  </a:ext>
                </a:extLst>
              </a:tr>
              <a:tr h="646234">
                <a:tc>
                  <a:txBody>
                    <a:bodyPr/>
                    <a:lstStyle/>
                    <a:p>
                      <a:r>
                        <a:rPr lang="en-US" sz="1800" b="1">
                          <a:solidFill>
                            <a:schemeClr val="accent4"/>
                          </a:solidFill>
                        </a:rPr>
                        <a:t>Ramesh Puram</a:t>
                      </a:r>
                    </a:p>
                  </a:txBody>
                  <a:tcPr marL="99060" marR="99060">
                    <a:solidFill>
                      <a:schemeClr val="bg1">
                        <a:alpha val="80000"/>
                      </a:schemeClr>
                    </a:solidFill>
                  </a:tcPr>
                </a:tc>
                <a:tc>
                  <a:txBody>
                    <a:bodyPr/>
                    <a:lstStyle/>
                    <a:p>
                      <a:r>
                        <a:rPr lang="en-US" sz="1800"/>
                        <a:t>Global Certifications Manager, FS SBU</a:t>
                      </a:r>
                    </a:p>
                  </a:txBody>
                  <a:tcPr marL="99060" marR="99060">
                    <a:solidFill>
                      <a:schemeClr val="bg1">
                        <a:alpha val="80000"/>
                      </a:schemeClr>
                    </a:solidFill>
                  </a:tcPr>
                </a:tc>
                <a:extLst>
                  <a:ext uri="{0D108BD9-81ED-4DB2-BD59-A6C34878D82A}">
                    <a16:rowId xmlns:a16="http://schemas.microsoft.com/office/drawing/2014/main" val="10005"/>
                  </a:ext>
                </a:extLst>
              </a:tr>
              <a:tr h="646234">
                <a:tc>
                  <a:txBody>
                    <a:bodyPr/>
                    <a:lstStyle/>
                    <a:p>
                      <a:r>
                        <a:rPr lang="en-US" sz="1800" b="1">
                          <a:solidFill>
                            <a:schemeClr val="accent4"/>
                          </a:solidFill>
                        </a:rPr>
                        <a:t>Satish Sundaram</a:t>
                      </a:r>
                    </a:p>
                  </a:txBody>
                  <a:tcPr marL="99060" marR="99060">
                    <a:solidFill>
                      <a:schemeClr val="bg1">
                        <a:alpha val="80000"/>
                      </a:schemeClr>
                    </a:solidFill>
                  </a:tcPr>
                </a:tc>
                <a:tc>
                  <a:txBody>
                    <a:bodyPr/>
                    <a:lstStyle/>
                    <a:p>
                      <a:r>
                        <a:rPr lang="en-US" sz="1800"/>
                        <a:t>MyLearning &amp; </a:t>
                      </a:r>
                      <a:r>
                        <a:rPr lang="en-US" sz="1800" err="1"/>
                        <a:t>iCompass</a:t>
                      </a:r>
                      <a:r>
                        <a:rPr lang="en-US" sz="1800"/>
                        <a:t> Lifeline, FS SBU</a:t>
                      </a:r>
                    </a:p>
                  </a:txBody>
                  <a:tcPr marL="99060" marR="99060">
                    <a:solidFill>
                      <a:schemeClr val="bg1">
                        <a:alpha val="80000"/>
                      </a:schemeClr>
                    </a:solidFill>
                  </a:tcPr>
                </a:tc>
                <a:extLst>
                  <a:ext uri="{0D108BD9-81ED-4DB2-BD59-A6C34878D82A}">
                    <a16:rowId xmlns:a16="http://schemas.microsoft.com/office/drawing/2014/main" val="10006"/>
                  </a:ext>
                </a:extLst>
              </a:tr>
            </a:tbl>
          </a:graphicData>
        </a:graphic>
      </p:graphicFrame>
      <p:pic>
        <p:nvPicPr>
          <p:cNvPr id="2" name="Picture 3">
            <a:extLst>
              <a:ext uri="{FF2B5EF4-FFF2-40B4-BE49-F238E27FC236}">
                <a16:creationId xmlns:a16="http://schemas.microsoft.com/office/drawing/2014/main" id="{89276FC8-EC4B-49A0-A3A8-371CEB4617C4}"/>
              </a:ext>
            </a:extLst>
          </p:cNvPr>
          <p:cNvPicPr>
            <a:picLocks noChangeAspect="1"/>
          </p:cNvPicPr>
          <p:nvPr/>
        </p:nvPicPr>
        <p:blipFill>
          <a:blip r:embed="rId3"/>
          <a:stretch>
            <a:fillRect/>
          </a:stretch>
        </p:blipFill>
        <p:spPr>
          <a:xfrm>
            <a:off x="7876385" y="20413"/>
            <a:ext cx="2029085" cy="609600"/>
          </a:xfrm>
          <a:prstGeom prst="rect">
            <a:avLst/>
          </a:prstGeom>
        </p:spPr>
      </p:pic>
    </p:spTree>
    <p:extLst>
      <p:ext uri="{BB962C8B-B14F-4D97-AF65-F5344CB8AC3E}">
        <p14:creationId xmlns:p14="http://schemas.microsoft.com/office/powerpoint/2010/main" val="1368011478"/>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107"/>
          <p:cNvSpPr>
            <a:spLocks noGrp="1"/>
          </p:cNvSpPr>
          <p:nvPr>
            <p:ph type="title"/>
          </p:nvPr>
        </p:nvSpPr>
        <p:spPr>
          <a:xfrm>
            <a:off x="331491" y="404813"/>
            <a:ext cx="6709800" cy="863600"/>
          </a:xfrm>
        </p:spPr>
        <p:txBody>
          <a:bodyPr/>
          <a:lstStyle/>
          <a:p>
            <a:r>
              <a:rPr lang="en-US" sz="2200" b="1">
                <a:solidFill>
                  <a:srgbClr val="00A0D6"/>
                </a:solidFill>
                <a:latin typeface="+mj-lt"/>
                <a:ea typeface="+mj-ea"/>
                <a:cs typeface="+mj-cs"/>
              </a:rPr>
              <a:t>Learning Highlights: Quick Reckoner </a:t>
            </a:r>
            <a:br>
              <a:rPr lang="en-US" sz="2200" b="1">
                <a:solidFill>
                  <a:srgbClr val="00A0D6"/>
                </a:solidFill>
                <a:latin typeface="+mj-lt"/>
                <a:ea typeface="+mj-ea"/>
                <a:cs typeface="+mj-cs"/>
              </a:rPr>
            </a:br>
            <a:r>
              <a:rPr lang="en-US" sz="1600" b="1">
                <a:solidFill>
                  <a:srgbClr val="00A0D6"/>
                </a:solidFill>
                <a:latin typeface="+mj-lt"/>
                <a:ea typeface="+mj-ea"/>
                <a:cs typeface="+mj-cs"/>
              </a:rPr>
              <a:t>(The L&amp;D team drives </a:t>
            </a:r>
            <a:r>
              <a:rPr lang="en-US" sz="1600" b="1">
                <a:solidFill>
                  <a:srgbClr val="00A0D6"/>
                </a:solidFill>
                <a:latin typeface="+mj-lt"/>
                <a:cs typeface="+mj-cs"/>
              </a:rPr>
              <a:t>business-to-learning for FS SBU)</a:t>
            </a:r>
            <a:endParaRPr lang="en-US">
              <a:solidFill>
                <a:srgbClr val="00A0D6"/>
              </a:solidFill>
              <a:latin typeface="+mj-lt"/>
            </a:endParaRPr>
          </a:p>
        </p:txBody>
      </p:sp>
      <p:sp>
        <p:nvSpPr>
          <p:cNvPr id="111" name="Rectangle 110"/>
          <p:cNvSpPr/>
          <p:nvPr/>
        </p:nvSpPr>
        <p:spPr>
          <a:xfrm>
            <a:off x="1225091" y="1344161"/>
            <a:ext cx="3015744" cy="9817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bg1"/>
                </a:solidFill>
                <a:cs typeface="Arial" pitchFamily="34" charset="0"/>
              </a:rPr>
              <a:t>40 hours, </a:t>
            </a:r>
          </a:p>
          <a:p>
            <a:pPr algn="r"/>
            <a:r>
              <a:rPr lang="en-US" sz="1400" b="1">
                <a:solidFill>
                  <a:schemeClr val="bg1"/>
                </a:solidFill>
                <a:cs typeface="Arial" pitchFamily="34" charset="0"/>
              </a:rPr>
              <a:t>40% virtual</a:t>
            </a:r>
          </a:p>
        </p:txBody>
      </p:sp>
      <p:sp>
        <p:nvSpPr>
          <p:cNvPr id="112" name="Rectangle 111"/>
          <p:cNvSpPr/>
          <p:nvPr/>
        </p:nvSpPr>
        <p:spPr>
          <a:xfrm>
            <a:off x="5454461" y="1851312"/>
            <a:ext cx="2680990" cy="98178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r>
              <a:rPr lang="en-US" sz="1200" b="1">
                <a:solidFill>
                  <a:schemeClr val="bg1"/>
                </a:solidFill>
                <a:cs typeface="Arial" pitchFamily="34" charset="0"/>
              </a:rPr>
              <a:t>Bronze, Silver, Gold, and Platinum Star </a:t>
            </a:r>
          </a:p>
          <a:p>
            <a:pPr lvl="0" algn="r"/>
            <a:r>
              <a:rPr lang="en-US" sz="1200">
                <a:solidFill>
                  <a:schemeClr val="bg1"/>
                </a:solidFill>
                <a:cs typeface="Arial" pitchFamily="34" charset="0"/>
              </a:rPr>
              <a:t>for contribution to </a:t>
            </a:r>
          </a:p>
          <a:p>
            <a:pPr lvl="0" algn="r"/>
            <a:r>
              <a:rPr lang="en-US" sz="1200">
                <a:solidFill>
                  <a:schemeClr val="bg1"/>
                </a:solidFill>
                <a:cs typeface="Arial" pitchFamily="34" charset="0"/>
              </a:rPr>
              <a:t>learning initiatives and for facilitation.</a:t>
            </a:r>
          </a:p>
        </p:txBody>
      </p:sp>
      <p:sp>
        <p:nvSpPr>
          <p:cNvPr id="113" name="Rectangle 112"/>
          <p:cNvSpPr/>
          <p:nvPr/>
        </p:nvSpPr>
        <p:spPr>
          <a:xfrm>
            <a:off x="2268240" y="2682063"/>
            <a:ext cx="1955800" cy="981785"/>
          </a:xfrm>
          <a:prstGeom prst="rect">
            <a:avLst/>
          </a:prstGeom>
          <a:solidFill>
            <a:srgbClr val="E01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r>
              <a:rPr lang="en-US" sz="1400" b="1">
                <a:solidFill>
                  <a:schemeClr val="bg1"/>
                </a:solidFill>
                <a:cs typeface="Arial" pitchFamily="34" charset="0"/>
              </a:rPr>
              <a:t>Technology, </a:t>
            </a:r>
          </a:p>
          <a:p>
            <a:pPr lvl="0" algn="r"/>
            <a:r>
              <a:rPr lang="en-US" sz="1400" b="1">
                <a:solidFill>
                  <a:schemeClr val="bg1"/>
                </a:solidFill>
                <a:cs typeface="Arial" pitchFamily="34" charset="0"/>
              </a:rPr>
              <a:t>Domain, and Leadership journeys</a:t>
            </a:r>
            <a:endParaRPr lang="en-US" sz="2000">
              <a:solidFill>
                <a:schemeClr val="bg1"/>
              </a:solidFill>
            </a:endParaRPr>
          </a:p>
        </p:txBody>
      </p:sp>
      <p:sp>
        <p:nvSpPr>
          <p:cNvPr id="114" name="Rectangle 113"/>
          <p:cNvSpPr/>
          <p:nvPr/>
        </p:nvSpPr>
        <p:spPr>
          <a:xfrm>
            <a:off x="5411034" y="3021789"/>
            <a:ext cx="2330594" cy="98178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r"/>
            <a:r>
              <a:rPr lang="en-US" sz="1200">
                <a:solidFill>
                  <a:schemeClr val="tx1"/>
                </a:solidFill>
                <a:cs typeface="Arial" pitchFamily="34" charset="0"/>
              </a:rPr>
              <a:t>Use </a:t>
            </a:r>
            <a:r>
              <a:rPr lang="en-US" sz="1200" err="1">
                <a:solidFill>
                  <a:schemeClr val="tx1"/>
                </a:solidFill>
                <a:cs typeface="Arial" pitchFamily="34" charset="0"/>
              </a:rPr>
              <a:t>SumTotal</a:t>
            </a:r>
            <a:r>
              <a:rPr lang="en-US" sz="1200">
                <a:solidFill>
                  <a:schemeClr val="tx1"/>
                </a:solidFill>
                <a:cs typeface="Arial" pitchFamily="34" charset="0"/>
              </a:rPr>
              <a:t>, HR Genie, FS Insights apps</a:t>
            </a:r>
          </a:p>
        </p:txBody>
      </p:sp>
      <p:sp>
        <p:nvSpPr>
          <p:cNvPr id="115" name="Rectangle 114"/>
          <p:cNvSpPr/>
          <p:nvPr/>
        </p:nvSpPr>
        <p:spPr>
          <a:xfrm>
            <a:off x="1225091" y="1344161"/>
            <a:ext cx="1059944" cy="98178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Learning </a:t>
            </a:r>
            <a:r>
              <a:rPr lang="en-US" sz="1400" b="1" err="1">
                <a:solidFill>
                  <a:schemeClr val="bg1"/>
                </a:solidFill>
                <a:latin typeface="Arial" panose="020B0604020202020204" pitchFamily="34" charset="0"/>
                <a:cs typeface="Arial" panose="020B0604020202020204" pitchFamily="34" charset="0"/>
              </a:rPr>
              <a:t>Hrs</a:t>
            </a:r>
            <a:r>
              <a:rPr lang="en-US" sz="1400" b="1">
                <a:solidFill>
                  <a:schemeClr val="bg1"/>
                </a:solidFill>
                <a:latin typeface="Arial" panose="020B0604020202020204" pitchFamily="34" charset="0"/>
                <a:cs typeface="Arial" panose="020B0604020202020204" pitchFamily="34" charset="0"/>
              </a:rPr>
              <a:t>/employee/year</a:t>
            </a:r>
          </a:p>
        </p:txBody>
      </p:sp>
      <p:sp>
        <p:nvSpPr>
          <p:cNvPr id="116" name="Rectangle 115"/>
          <p:cNvSpPr/>
          <p:nvPr/>
        </p:nvSpPr>
        <p:spPr>
          <a:xfrm>
            <a:off x="4394517" y="1851312"/>
            <a:ext cx="1212015" cy="981785"/>
          </a:xfrm>
          <a:prstGeom prst="rect">
            <a:avLst/>
          </a:prstGeom>
          <a:solidFill>
            <a:srgbClr val="00A0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t>Contribute to Learning</a:t>
            </a:r>
          </a:p>
        </p:txBody>
      </p:sp>
      <p:sp>
        <p:nvSpPr>
          <p:cNvPr id="117" name="Rectangle 116"/>
          <p:cNvSpPr/>
          <p:nvPr/>
        </p:nvSpPr>
        <p:spPr>
          <a:xfrm>
            <a:off x="1208296" y="2682063"/>
            <a:ext cx="1059944" cy="981785"/>
          </a:xfrm>
          <a:prstGeom prst="rect">
            <a:avLst/>
          </a:prstGeom>
          <a:solidFill>
            <a:srgbClr val="BA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Learning </a:t>
            </a:r>
          </a:p>
          <a:p>
            <a:pPr algn="ctr"/>
            <a:r>
              <a:rPr lang="en-US" sz="1400" b="1">
                <a:solidFill>
                  <a:schemeClr val="bg1"/>
                </a:solidFill>
                <a:latin typeface="Arial" panose="020B0604020202020204" pitchFamily="34" charset="0"/>
                <a:cs typeface="Arial" panose="020B0604020202020204" pitchFamily="34" charset="0"/>
              </a:rPr>
              <a:t>Mix</a:t>
            </a:r>
          </a:p>
        </p:txBody>
      </p:sp>
      <p:sp>
        <p:nvSpPr>
          <p:cNvPr id="118" name="Rectangle 117"/>
          <p:cNvSpPr/>
          <p:nvPr/>
        </p:nvSpPr>
        <p:spPr>
          <a:xfrm>
            <a:off x="4407488" y="3021789"/>
            <a:ext cx="1189644" cy="981785"/>
          </a:xfrm>
          <a:prstGeom prst="rect">
            <a:avLst/>
          </a:prstGeom>
          <a:solidFill>
            <a:srgbClr val="99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tx1"/>
                </a:solidFill>
              </a:rPr>
              <a:t>Learn through Apps </a:t>
            </a:r>
          </a:p>
        </p:txBody>
      </p:sp>
      <p:sp>
        <p:nvSpPr>
          <p:cNvPr id="127" name="Rectangle 126"/>
          <p:cNvSpPr/>
          <p:nvPr/>
        </p:nvSpPr>
        <p:spPr>
          <a:xfrm>
            <a:off x="1225091" y="4001163"/>
            <a:ext cx="3015744" cy="1010610"/>
          </a:xfrm>
          <a:prstGeom prst="rect">
            <a:avLst/>
          </a:prstGeom>
          <a:solidFill>
            <a:srgbClr val="16A1CA"/>
          </a:solidFill>
          <a:ln w="12700" cap="flat" cmpd="sng" algn="ctr">
            <a:noFill/>
            <a:prstDash val="solid"/>
            <a:miter lim="800000"/>
          </a:ln>
          <a:effectLst/>
        </p:spPr>
        <p:txBody>
          <a:bodyPr rtlCol="0" anchor="b"/>
          <a:lstStyle/>
          <a:p>
            <a:pPr marL="1081088" lvl="0" algn="r" defTabSz="914400"/>
            <a:endParaRPr lang="en-US" sz="1300" b="1">
              <a:solidFill>
                <a:schemeClr val="bg1"/>
              </a:solidFill>
              <a:cs typeface="Arial" pitchFamily="34" charset="0"/>
            </a:endParaRPr>
          </a:p>
          <a:p>
            <a:pPr marL="1081088" lvl="0" algn="r" defTabSz="914400"/>
            <a:endParaRPr lang="en-US" sz="1300" b="1">
              <a:solidFill>
                <a:schemeClr val="bg1"/>
              </a:solidFill>
              <a:cs typeface="Arial" pitchFamily="34" charset="0"/>
            </a:endParaRPr>
          </a:p>
          <a:p>
            <a:pPr marL="1081088" lvl="0" algn="r" defTabSz="914400"/>
            <a:endParaRPr lang="en-US" sz="1300" b="1">
              <a:solidFill>
                <a:schemeClr val="bg1"/>
              </a:solidFill>
              <a:cs typeface="Arial" pitchFamily="34" charset="0"/>
            </a:endParaRPr>
          </a:p>
          <a:p>
            <a:pPr marL="1081088" lvl="0" algn="r" defTabSz="914400"/>
            <a:r>
              <a:rPr lang="en-US" sz="1300" b="1">
                <a:solidFill>
                  <a:schemeClr val="bg1"/>
                </a:solidFill>
                <a:cs typeface="Arial" pitchFamily="34" charset="0"/>
              </a:rPr>
              <a:t>ONE certification </a:t>
            </a:r>
            <a:r>
              <a:rPr lang="en-US" sz="1300">
                <a:solidFill>
                  <a:schemeClr val="bg1"/>
                </a:solidFill>
                <a:cs typeface="Arial" pitchFamily="34" charset="0"/>
              </a:rPr>
              <a:t>from the pre-approved list is reimbursed in a calendar year.</a:t>
            </a:r>
            <a:endParaRPr kumimoji="0" lang="en-US" sz="1300" b="0" i="0" u="none" strike="noStrike" kern="0" cap="none" spc="0" normalizeH="0" baseline="0" noProof="0">
              <a:ln>
                <a:noFill/>
              </a:ln>
              <a:solidFill>
                <a:schemeClr val="bg1"/>
              </a:solidFill>
              <a:effectLst/>
              <a:uLnTx/>
              <a:uFillTx/>
              <a:latin typeface="Calibri"/>
            </a:endParaRPr>
          </a:p>
        </p:txBody>
      </p:sp>
      <p:sp>
        <p:nvSpPr>
          <p:cNvPr id="128" name="Rectangle 127"/>
          <p:cNvSpPr/>
          <p:nvPr/>
        </p:nvSpPr>
        <p:spPr>
          <a:xfrm>
            <a:off x="5454460" y="4187619"/>
            <a:ext cx="2024152" cy="1393362"/>
          </a:xfrm>
          <a:prstGeom prst="rect">
            <a:avLst/>
          </a:prstGeom>
          <a:solidFill>
            <a:srgbClr val="099481"/>
          </a:solidFill>
          <a:ln w="12700" cap="flat" cmpd="sng" algn="ctr">
            <a:noFill/>
            <a:prstDash val="solid"/>
            <a:miter lim="800000"/>
          </a:ln>
          <a:effectLst/>
        </p:spPr>
        <p:txBody>
          <a:bodyPr rtlCol="0" anchor="ctr"/>
          <a:lstStyle/>
          <a:p>
            <a:pPr lvl="0" algn="r"/>
            <a:r>
              <a:rPr lang="en-US" sz="1200">
                <a:solidFill>
                  <a:schemeClr val="bg1"/>
                </a:solidFill>
                <a:cs typeface="Arial" pitchFamily="34" charset="0"/>
              </a:rPr>
              <a:t>Agile, DevOps, Digital, Cloud, Big Data, Robotic Process Automation, FinTech (Blockchain, </a:t>
            </a:r>
            <a:r>
              <a:rPr lang="en-US" sz="1200" err="1">
                <a:solidFill>
                  <a:schemeClr val="bg1"/>
                </a:solidFill>
                <a:cs typeface="Arial" pitchFamily="34" charset="0"/>
              </a:rPr>
              <a:t>InsurTech</a:t>
            </a:r>
            <a:r>
              <a:rPr lang="en-US" sz="1200">
                <a:solidFill>
                  <a:schemeClr val="bg1"/>
                </a:solidFill>
                <a:cs typeface="Arial" pitchFamily="34" charset="0"/>
              </a:rPr>
              <a:t>…)</a:t>
            </a:r>
          </a:p>
        </p:txBody>
      </p:sp>
      <p:sp>
        <p:nvSpPr>
          <p:cNvPr id="129" name="Rectangle 128"/>
          <p:cNvSpPr/>
          <p:nvPr/>
        </p:nvSpPr>
        <p:spPr>
          <a:xfrm>
            <a:off x="1209837" y="5247290"/>
            <a:ext cx="3015744" cy="936130"/>
          </a:xfrm>
          <a:prstGeom prst="rect">
            <a:avLst/>
          </a:prstGeom>
          <a:solidFill>
            <a:srgbClr val="7DBC2D"/>
          </a:solidFill>
          <a:ln w="12700" cap="flat" cmpd="sng" algn="ctr">
            <a:noFill/>
            <a:prstDash val="solid"/>
            <a:miter lim="800000"/>
          </a:ln>
          <a:effectLst/>
        </p:spPr>
        <p:txBody>
          <a:bodyPr rtlCol="0" anchor="ctr"/>
          <a:lstStyle/>
          <a:p>
            <a:pPr marL="1206500" lvl="0" algn="r" defTabSz="914400"/>
            <a:r>
              <a:rPr lang="en-US" sz="1200" b="1">
                <a:solidFill>
                  <a:schemeClr val="bg1"/>
                </a:solidFill>
                <a:cs typeface="Arial" pitchFamily="34" charset="0"/>
              </a:rPr>
              <a:t>Core, Professional, </a:t>
            </a:r>
          </a:p>
          <a:p>
            <a:pPr marL="1206500" lvl="0" algn="r" defTabSz="914400"/>
            <a:r>
              <a:rPr lang="en-US" sz="1200" b="1">
                <a:solidFill>
                  <a:schemeClr val="bg1"/>
                </a:solidFill>
                <a:cs typeface="Arial" pitchFamily="34" charset="0"/>
              </a:rPr>
              <a:t>&amp; Role-based Learning Journeys </a:t>
            </a:r>
          </a:p>
          <a:p>
            <a:pPr marL="1206500" lvl="0" algn="r" defTabSz="914400"/>
            <a:r>
              <a:rPr lang="en-US" sz="1200">
                <a:solidFill>
                  <a:schemeClr val="bg1"/>
                </a:solidFill>
                <a:cs typeface="Arial" pitchFamily="34" charset="0"/>
              </a:rPr>
              <a:t>for all delivery and sales roles.</a:t>
            </a:r>
            <a:endParaRPr kumimoji="0" lang="en-US" sz="1200" b="0" i="0" u="none" strike="noStrike" kern="0" cap="none" spc="0" normalizeH="0" baseline="0" noProof="0">
              <a:ln>
                <a:noFill/>
              </a:ln>
              <a:solidFill>
                <a:schemeClr val="bg1"/>
              </a:solidFill>
              <a:effectLst/>
              <a:uLnTx/>
              <a:uFillTx/>
              <a:latin typeface="Calibri"/>
            </a:endParaRPr>
          </a:p>
        </p:txBody>
      </p:sp>
      <p:sp>
        <p:nvSpPr>
          <p:cNvPr id="131" name="Rectangle 130"/>
          <p:cNvSpPr/>
          <p:nvPr/>
        </p:nvSpPr>
        <p:spPr>
          <a:xfrm>
            <a:off x="1225091" y="4001163"/>
            <a:ext cx="1059944" cy="1010610"/>
          </a:xfrm>
          <a:prstGeom prst="rect">
            <a:avLst/>
          </a:prstGeom>
          <a:solidFill>
            <a:srgbClr val="16A1CA">
              <a:lumMod val="75000"/>
            </a:srgbClr>
          </a:solidFill>
          <a:ln w="12700" cap="flat" cmpd="sng" algn="ctr">
            <a:noFill/>
            <a:prstDash val="solid"/>
            <a:miter lim="800000"/>
          </a:ln>
          <a:effectLst/>
        </p:spPr>
        <p:txBody>
          <a:bodyPr rtlCol="0" anchor="ctr"/>
          <a:lstStyle/>
          <a:p>
            <a:pPr algn="ctr"/>
            <a:r>
              <a:rPr lang="en-US" sz="1400" b="1">
                <a:solidFill>
                  <a:schemeClr val="bg1"/>
                </a:solidFill>
                <a:latin typeface="Arial" panose="020B0604020202020204" pitchFamily="34" charset="0"/>
                <a:cs typeface="Arial" panose="020B0604020202020204" pitchFamily="34" charset="0"/>
              </a:rPr>
              <a:t>Certifications</a:t>
            </a:r>
          </a:p>
        </p:txBody>
      </p:sp>
      <p:sp>
        <p:nvSpPr>
          <p:cNvPr id="132" name="Rectangle 131"/>
          <p:cNvSpPr/>
          <p:nvPr/>
        </p:nvSpPr>
        <p:spPr>
          <a:xfrm>
            <a:off x="4394517" y="4187619"/>
            <a:ext cx="1096987" cy="1393362"/>
          </a:xfrm>
          <a:prstGeom prst="rect">
            <a:avLst/>
          </a:prstGeom>
          <a:solidFill>
            <a:srgbClr val="09948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300" b="1">
                <a:solidFill>
                  <a:schemeClr val="lt1"/>
                </a:solidFill>
              </a:rPr>
              <a:t>Help our clients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300" b="1">
                <a:solidFill>
                  <a:schemeClr val="lt1"/>
                </a:solidFill>
              </a:rPr>
              <a:t>Transform</a:t>
            </a:r>
          </a:p>
        </p:txBody>
      </p:sp>
      <p:sp>
        <p:nvSpPr>
          <p:cNvPr id="133" name="Rectangle 132"/>
          <p:cNvSpPr/>
          <p:nvPr/>
        </p:nvSpPr>
        <p:spPr>
          <a:xfrm>
            <a:off x="1209837" y="5247290"/>
            <a:ext cx="1059944" cy="936130"/>
          </a:xfrm>
          <a:prstGeom prst="rect">
            <a:avLst/>
          </a:prstGeom>
          <a:solidFill>
            <a:srgbClr val="7DBC2D">
              <a:lumMod val="75000"/>
            </a:srgbClr>
          </a:solidFill>
          <a:ln w="12700" cap="flat" cmpd="sng" algn="ctr">
            <a:noFill/>
            <a:prstDash val="solid"/>
            <a:miter lim="800000"/>
          </a:ln>
          <a:effectLst/>
        </p:spPr>
        <p:txBody>
          <a:bodyPr rtlCol="0" anchor="ctr"/>
          <a:lstStyle/>
          <a:p>
            <a:pPr algn="ctr"/>
            <a:r>
              <a:rPr lang="en-US" sz="1400" b="1" err="1">
                <a:solidFill>
                  <a:schemeClr val="bg1"/>
                </a:solidFill>
                <a:latin typeface="Arial" panose="020B0604020202020204" pitchFamily="34" charset="0"/>
                <a:cs typeface="Arial" panose="020B0604020202020204" pitchFamily="34" charset="0"/>
              </a:rPr>
              <a:t>LearningMaps</a:t>
            </a:r>
            <a:r>
              <a:rPr lang="en-US" sz="1600" b="1">
                <a:solidFill>
                  <a:schemeClr val="bg1"/>
                </a:solidFill>
                <a:latin typeface="Arial" panose="020B0604020202020204" pitchFamily="34" charset="0"/>
                <a:cs typeface="Arial" panose="020B0604020202020204" pitchFamily="34" charset="0"/>
              </a:rPr>
              <a:t> </a:t>
            </a:r>
          </a:p>
        </p:txBody>
      </p:sp>
      <p:grpSp>
        <p:nvGrpSpPr>
          <p:cNvPr id="136" name="Group 135"/>
          <p:cNvGrpSpPr/>
          <p:nvPr/>
        </p:nvGrpSpPr>
        <p:grpSpPr>
          <a:xfrm>
            <a:off x="2268061" y="3000522"/>
            <a:ext cx="626291" cy="535874"/>
            <a:chOff x="-1162050" y="2613025"/>
            <a:chExt cx="684212" cy="701675"/>
          </a:xfrm>
          <a:solidFill>
            <a:schemeClr val="bg1"/>
          </a:solidFill>
        </p:grpSpPr>
        <p:sp>
          <p:nvSpPr>
            <p:cNvPr id="137" name="Freeform 112"/>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8" name="Freeform 113"/>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9" name="Freeform 114"/>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0" name="Freeform 115"/>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1" name="Freeform 116"/>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2" name="Freeform 117"/>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3" name="Freeform 118"/>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4" name="Freeform 119"/>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5" name="Freeform 120"/>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46" name="Groupe 14"/>
          <p:cNvGrpSpPr/>
          <p:nvPr/>
        </p:nvGrpSpPr>
        <p:grpSpPr>
          <a:xfrm>
            <a:off x="2360321" y="4433630"/>
            <a:ext cx="429544" cy="472833"/>
            <a:chOff x="4822825" y="3849686"/>
            <a:chExt cx="377826" cy="560388"/>
          </a:xfrm>
          <a:solidFill>
            <a:schemeClr val="bg1"/>
          </a:solidFill>
        </p:grpSpPr>
        <p:sp>
          <p:nvSpPr>
            <p:cNvPr id="147" name="Freeform 301"/>
            <p:cNvSpPr>
              <a:spLocks/>
            </p:cNvSpPr>
            <p:nvPr/>
          </p:nvSpPr>
          <p:spPr bwMode="auto">
            <a:xfrm>
              <a:off x="5021263" y="3878261"/>
              <a:ext cx="120650" cy="276225"/>
            </a:xfrm>
            <a:custGeom>
              <a:avLst/>
              <a:gdLst/>
              <a:ahLst/>
              <a:cxnLst>
                <a:cxn ang="0">
                  <a:pos x="76" y="174"/>
                </a:cxn>
                <a:cxn ang="0">
                  <a:pos x="76" y="41"/>
                </a:cxn>
                <a:cxn ang="0">
                  <a:pos x="0" y="41"/>
                </a:cxn>
                <a:cxn ang="0">
                  <a:pos x="0" y="0"/>
                </a:cxn>
              </a:cxnLst>
              <a:rect l="0" t="0" r="r" b="b"/>
              <a:pathLst>
                <a:path w="76" h="174">
                  <a:moveTo>
                    <a:pt x="76" y="174"/>
                  </a:moveTo>
                  <a:lnTo>
                    <a:pt x="76" y="41"/>
                  </a:lnTo>
                  <a:lnTo>
                    <a:pt x="0" y="41"/>
                  </a:lnTo>
                  <a:lnTo>
                    <a:pt x="0" y="0"/>
                  </a:lnTo>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48" name="Freeform 302"/>
            <p:cNvSpPr>
              <a:spLocks/>
            </p:cNvSpPr>
            <p:nvPr/>
          </p:nvSpPr>
          <p:spPr bwMode="auto">
            <a:xfrm>
              <a:off x="4822825" y="3849686"/>
              <a:ext cx="319088" cy="441325"/>
            </a:xfrm>
            <a:custGeom>
              <a:avLst/>
              <a:gdLst/>
              <a:ahLst/>
              <a:cxnLst>
                <a:cxn ang="0">
                  <a:pos x="201" y="58"/>
                </a:cxn>
                <a:cxn ang="0">
                  <a:pos x="125" y="0"/>
                </a:cxn>
                <a:cxn ang="0">
                  <a:pos x="0" y="0"/>
                </a:cxn>
                <a:cxn ang="0">
                  <a:pos x="0" y="278"/>
                </a:cxn>
              </a:cxnLst>
              <a:rect l="0" t="0" r="r" b="b"/>
              <a:pathLst>
                <a:path w="201" h="278">
                  <a:moveTo>
                    <a:pt x="201" y="58"/>
                  </a:moveTo>
                  <a:lnTo>
                    <a:pt x="125" y="0"/>
                  </a:lnTo>
                  <a:lnTo>
                    <a:pt x="0" y="0"/>
                  </a:lnTo>
                  <a:lnTo>
                    <a:pt x="0" y="278"/>
                  </a:lnTo>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49" name="Freeform 303"/>
            <p:cNvSpPr>
              <a:spLocks/>
            </p:cNvSpPr>
            <p:nvPr/>
          </p:nvSpPr>
          <p:spPr bwMode="auto">
            <a:xfrm>
              <a:off x="5008563" y="4135436"/>
              <a:ext cx="192088" cy="27463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0" name="Freeform 304"/>
            <p:cNvSpPr>
              <a:spLocks/>
            </p:cNvSpPr>
            <p:nvPr/>
          </p:nvSpPr>
          <p:spPr bwMode="auto">
            <a:xfrm>
              <a:off x="5037138" y="4162423"/>
              <a:ext cx="134938" cy="131763"/>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1" name="Freeform 305"/>
            <p:cNvSpPr>
              <a:spLocks/>
            </p:cNvSpPr>
            <p:nvPr/>
          </p:nvSpPr>
          <p:spPr bwMode="auto">
            <a:xfrm>
              <a:off x="4851401" y="3905248"/>
              <a:ext cx="134938" cy="98425"/>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2" name="Line 306"/>
            <p:cNvSpPr>
              <a:spLocks noChangeShapeType="1"/>
            </p:cNvSpPr>
            <p:nvPr/>
          </p:nvSpPr>
          <p:spPr bwMode="auto">
            <a:xfrm>
              <a:off x="4851401" y="4040186"/>
              <a:ext cx="266700"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3" name="Line 307"/>
            <p:cNvSpPr>
              <a:spLocks noChangeShapeType="1"/>
            </p:cNvSpPr>
            <p:nvPr/>
          </p:nvSpPr>
          <p:spPr bwMode="auto">
            <a:xfrm>
              <a:off x="4851401" y="4073523"/>
              <a:ext cx="266700"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4" name="Line 308"/>
            <p:cNvSpPr>
              <a:spLocks noChangeShapeType="1"/>
            </p:cNvSpPr>
            <p:nvPr/>
          </p:nvSpPr>
          <p:spPr bwMode="auto">
            <a:xfrm>
              <a:off x="4851405" y="4106861"/>
              <a:ext cx="266700"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5" name="Line 309"/>
            <p:cNvSpPr>
              <a:spLocks noChangeShapeType="1"/>
            </p:cNvSpPr>
            <p:nvPr/>
          </p:nvSpPr>
          <p:spPr bwMode="auto">
            <a:xfrm>
              <a:off x="4851401" y="4202111"/>
              <a:ext cx="115888"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6" name="Line 310"/>
            <p:cNvSpPr>
              <a:spLocks noChangeShapeType="1"/>
            </p:cNvSpPr>
            <p:nvPr/>
          </p:nvSpPr>
          <p:spPr bwMode="auto">
            <a:xfrm>
              <a:off x="4851401" y="4233861"/>
              <a:ext cx="115888"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57" name="Line 311"/>
            <p:cNvSpPr>
              <a:spLocks noChangeShapeType="1"/>
            </p:cNvSpPr>
            <p:nvPr/>
          </p:nvSpPr>
          <p:spPr bwMode="auto">
            <a:xfrm>
              <a:off x="4824413" y="4291011"/>
              <a:ext cx="176213" cy="1588"/>
            </a:xfrm>
            <a:prstGeom prst="line">
              <a:avLst/>
            </a:pr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grpSp>
      <p:grpSp>
        <p:nvGrpSpPr>
          <p:cNvPr id="158" name="Groupe 669"/>
          <p:cNvGrpSpPr/>
          <p:nvPr/>
        </p:nvGrpSpPr>
        <p:grpSpPr>
          <a:xfrm>
            <a:off x="2056620" y="5601126"/>
            <a:ext cx="549260" cy="562868"/>
            <a:chOff x="6470651" y="2876550"/>
            <a:chExt cx="374650" cy="415926"/>
          </a:xfrm>
          <a:solidFill>
            <a:schemeClr val="bg1"/>
          </a:solidFill>
        </p:grpSpPr>
        <p:sp>
          <p:nvSpPr>
            <p:cNvPr id="159" name="Freeform 283"/>
            <p:cNvSpPr>
              <a:spLocks/>
            </p:cNvSpPr>
            <p:nvPr/>
          </p:nvSpPr>
          <p:spPr bwMode="auto">
            <a:xfrm>
              <a:off x="6470651" y="3043238"/>
              <a:ext cx="374650" cy="249238"/>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grp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sp>
          <p:nvSpPr>
            <p:cNvPr id="160" name="Freeform 284"/>
            <p:cNvSpPr>
              <a:spLocks/>
            </p:cNvSpPr>
            <p:nvPr/>
          </p:nvSpPr>
          <p:spPr bwMode="auto">
            <a:xfrm>
              <a:off x="6654801" y="2951163"/>
              <a:ext cx="76200"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sp>
          <p:nvSpPr>
            <p:cNvPr id="161" name="Freeform 285"/>
            <p:cNvSpPr>
              <a:spLocks/>
            </p:cNvSpPr>
            <p:nvPr/>
          </p:nvSpPr>
          <p:spPr bwMode="auto">
            <a:xfrm>
              <a:off x="6616701" y="2876550"/>
              <a:ext cx="50800"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solidFill>
                  <a:srgbClr val="505150"/>
                </a:solidFill>
                <a:cs typeface="Arial" pitchFamily="34" charset="0"/>
              </a:endParaRPr>
            </a:p>
          </p:txBody>
        </p:sp>
        <p:sp>
          <p:nvSpPr>
            <p:cNvPr id="162" name="Line 286"/>
            <p:cNvSpPr>
              <a:spLocks noChangeShapeType="1"/>
            </p:cNvSpPr>
            <p:nvPr/>
          </p:nvSpPr>
          <p:spPr bwMode="auto">
            <a:xfrm>
              <a:off x="6648451" y="2960688"/>
              <a:ext cx="1588" cy="1588"/>
            </a:xfrm>
            <a:prstGeom prst="line">
              <a:avLst/>
            </a:pr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a:solidFill>
                  <a:srgbClr val="505150"/>
                </a:solidFill>
                <a:cs typeface="Arial" pitchFamily="34" charset="0"/>
              </a:endParaRPr>
            </a:p>
          </p:txBody>
        </p:sp>
        <p:sp>
          <p:nvSpPr>
            <p:cNvPr id="163" name="Freeform 287"/>
            <p:cNvSpPr>
              <a:spLocks/>
            </p:cNvSpPr>
            <p:nvPr/>
          </p:nvSpPr>
          <p:spPr bwMode="auto">
            <a:xfrm>
              <a:off x="6627813" y="3055938"/>
              <a:ext cx="38100"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sp>
          <p:nvSpPr>
            <p:cNvPr id="164" name="Freeform 288"/>
            <p:cNvSpPr>
              <a:spLocks/>
            </p:cNvSpPr>
            <p:nvPr/>
          </p:nvSpPr>
          <p:spPr bwMode="auto">
            <a:xfrm>
              <a:off x="6578601" y="2976563"/>
              <a:ext cx="17463" cy="69850"/>
            </a:xfrm>
            <a:custGeom>
              <a:avLst/>
              <a:gdLst/>
              <a:ahLst/>
              <a:cxnLst>
                <a:cxn ang="0">
                  <a:pos x="9" y="0"/>
                </a:cxn>
                <a:cxn ang="0">
                  <a:pos x="0" y="36"/>
                </a:cxn>
              </a:cxnLst>
              <a:rect l="0" t="0" r="r" b="b"/>
              <a:pathLst>
                <a:path w="9" h="36">
                  <a:moveTo>
                    <a:pt x="9" y="0"/>
                  </a:moveTo>
                  <a:cubicBezTo>
                    <a:pt x="7" y="10"/>
                    <a:pt x="1" y="28"/>
                    <a:pt x="0" y="36"/>
                  </a:cubicBezTo>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sp>
          <p:nvSpPr>
            <p:cNvPr id="165" name="Freeform 289"/>
            <p:cNvSpPr>
              <a:spLocks/>
            </p:cNvSpPr>
            <p:nvPr/>
          </p:nvSpPr>
          <p:spPr bwMode="auto">
            <a:xfrm>
              <a:off x="6524626" y="2946400"/>
              <a:ext cx="88900"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sp>
          <p:nvSpPr>
            <p:cNvPr id="166" name="Freeform 290"/>
            <p:cNvSpPr>
              <a:spLocks/>
            </p:cNvSpPr>
            <p:nvPr/>
          </p:nvSpPr>
          <p:spPr bwMode="auto">
            <a:xfrm>
              <a:off x="6530976" y="3043238"/>
              <a:ext cx="76200"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grpFill/>
            <a:ln w="1111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solidFill>
                  <a:srgbClr val="505150"/>
                </a:solidFill>
                <a:cs typeface="Arial" pitchFamily="34" charset="0"/>
              </a:endParaRPr>
            </a:p>
          </p:txBody>
        </p:sp>
      </p:grpSp>
      <p:grpSp>
        <p:nvGrpSpPr>
          <p:cNvPr id="172" name="Group 171"/>
          <p:cNvGrpSpPr/>
          <p:nvPr/>
        </p:nvGrpSpPr>
        <p:grpSpPr>
          <a:xfrm>
            <a:off x="5618938" y="2093796"/>
            <a:ext cx="367335" cy="554216"/>
            <a:chOff x="2553109" y="4071165"/>
            <a:chExt cx="158640" cy="239348"/>
          </a:xfrm>
          <a:solidFill>
            <a:schemeClr val="accent1">
              <a:lumMod val="20000"/>
              <a:lumOff val="80000"/>
            </a:schemeClr>
          </a:solidFill>
        </p:grpSpPr>
        <p:sp>
          <p:nvSpPr>
            <p:cNvPr id="173" name="Freeform 303"/>
            <p:cNvSpPr>
              <a:spLocks/>
            </p:cNvSpPr>
            <p:nvPr/>
          </p:nvSpPr>
          <p:spPr bwMode="auto">
            <a:xfrm>
              <a:off x="2553109" y="4071165"/>
              <a:ext cx="158640" cy="23934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grpFill/>
            <a:ln w="12700"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74" name="Freeform 304"/>
            <p:cNvSpPr>
              <a:spLocks/>
            </p:cNvSpPr>
            <p:nvPr/>
          </p:nvSpPr>
          <p:spPr bwMode="auto">
            <a:xfrm>
              <a:off x="2576708" y="4094684"/>
              <a:ext cx="111441" cy="114832"/>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grpFill/>
            <a:ln w="12700" cap="rnd">
              <a:solidFill>
                <a:srgbClr val="FFC0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grpSp>
      <p:grpSp>
        <p:nvGrpSpPr>
          <p:cNvPr id="175" name="Group 13"/>
          <p:cNvGrpSpPr>
            <a:grpSpLocks noChangeAspect="1"/>
          </p:cNvGrpSpPr>
          <p:nvPr/>
        </p:nvGrpSpPr>
        <p:grpSpPr bwMode="auto">
          <a:xfrm>
            <a:off x="5802606" y="3336906"/>
            <a:ext cx="603250" cy="538163"/>
            <a:chOff x="244" y="2738"/>
            <a:chExt cx="380" cy="339"/>
          </a:xfrm>
          <a:solidFill>
            <a:schemeClr val="bg1"/>
          </a:solidFill>
        </p:grpSpPr>
        <p:sp>
          <p:nvSpPr>
            <p:cNvPr id="176" name="Freeform 15"/>
            <p:cNvSpPr>
              <a:spLocks noEditPoints="1"/>
            </p:cNvSpPr>
            <p:nvPr/>
          </p:nvSpPr>
          <p:spPr bwMode="auto">
            <a:xfrm>
              <a:off x="303" y="2739"/>
              <a:ext cx="264" cy="335"/>
            </a:xfrm>
            <a:custGeom>
              <a:avLst/>
              <a:gdLst>
                <a:gd name="T0" fmla="*/ 1585 w 2376"/>
                <a:gd name="T1" fmla="*/ 2445 h 3012"/>
                <a:gd name="T2" fmla="*/ 1542 w 2376"/>
                <a:gd name="T3" fmla="*/ 2463 h 3012"/>
                <a:gd name="T4" fmla="*/ 1510 w 2376"/>
                <a:gd name="T5" fmla="*/ 2494 h 3012"/>
                <a:gd name="T6" fmla="*/ 1493 w 2376"/>
                <a:gd name="T7" fmla="*/ 2535 h 3012"/>
                <a:gd name="T8" fmla="*/ 1491 w 2376"/>
                <a:gd name="T9" fmla="*/ 2580 h 3012"/>
                <a:gd name="T10" fmla="*/ 1509 w 2376"/>
                <a:gd name="T11" fmla="*/ 2623 h 3012"/>
                <a:gd name="T12" fmla="*/ 1541 w 2376"/>
                <a:gd name="T13" fmla="*/ 2655 h 3012"/>
                <a:gd name="T14" fmla="*/ 1580 w 2376"/>
                <a:gd name="T15" fmla="*/ 2672 h 3012"/>
                <a:gd name="T16" fmla="*/ 1626 w 2376"/>
                <a:gd name="T17" fmla="*/ 2673 h 3012"/>
                <a:gd name="T18" fmla="*/ 1668 w 2376"/>
                <a:gd name="T19" fmla="*/ 2656 h 3012"/>
                <a:gd name="T20" fmla="*/ 1700 w 2376"/>
                <a:gd name="T21" fmla="*/ 2624 h 3012"/>
                <a:gd name="T22" fmla="*/ 1718 w 2376"/>
                <a:gd name="T23" fmla="*/ 2583 h 3012"/>
                <a:gd name="T24" fmla="*/ 1718 w 2376"/>
                <a:gd name="T25" fmla="*/ 2539 h 3012"/>
                <a:gd name="T26" fmla="*/ 1701 w 2376"/>
                <a:gd name="T27" fmla="*/ 2496 h 3012"/>
                <a:gd name="T28" fmla="*/ 1670 w 2376"/>
                <a:gd name="T29" fmla="*/ 2463 h 3012"/>
                <a:gd name="T30" fmla="*/ 1629 w 2376"/>
                <a:gd name="T31" fmla="*/ 2446 h 3012"/>
                <a:gd name="T32" fmla="*/ 1276 w 2376"/>
                <a:gd name="T33" fmla="*/ 334 h 3012"/>
                <a:gd name="T34" fmla="*/ 332 w 2376"/>
                <a:gd name="T35" fmla="*/ 712 h 3012"/>
                <a:gd name="T36" fmla="*/ 308 w 2376"/>
                <a:gd name="T37" fmla="*/ 732 h 3012"/>
                <a:gd name="T38" fmla="*/ 301 w 2376"/>
                <a:gd name="T39" fmla="*/ 761 h 3012"/>
                <a:gd name="T40" fmla="*/ 976 w 2376"/>
                <a:gd name="T41" fmla="*/ 2460 h 3012"/>
                <a:gd name="T42" fmla="*/ 996 w 2376"/>
                <a:gd name="T43" fmla="*/ 2483 h 3012"/>
                <a:gd name="T44" fmla="*/ 1025 w 2376"/>
                <a:gd name="T45" fmla="*/ 2491 h 3012"/>
                <a:gd name="T46" fmla="*/ 1969 w 2376"/>
                <a:gd name="T47" fmla="*/ 2114 h 3012"/>
                <a:gd name="T48" fmla="*/ 1993 w 2376"/>
                <a:gd name="T49" fmla="*/ 2093 h 3012"/>
                <a:gd name="T50" fmla="*/ 2000 w 2376"/>
                <a:gd name="T51" fmla="*/ 2063 h 3012"/>
                <a:gd name="T52" fmla="*/ 1325 w 2376"/>
                <a:gd name="T53" fmla="*/ 365 h 3012"/>
                <a:gd name="T54" fmla="*/ 1305 w 2376"/>
                <a:gd name="T55" fmla="*/ 341 h 3012"/>
                <a:gd name="T56" fmla="*/ 1276 w 2376"/>
                <a:gd name="T57" fmla="*/ 334 h 3012"/>
                <a:gd name="T58" fmla="*/ 1339 w 2376"/>
                <a:gd name="T59" fmla="*/ 1 h 3012"/>
                <a:gd name="T60" fmla="*/ 1393 w 2376"/>
                <a:gd name="T61" fmla="*/ 15 h 3012"/>
                <a:gd name="T62" fmla="*/ 1440 w 2376"/>
                <a:gd name="T63" fmla="*/ 44 h 3012"/>
                <a:gd name="T64" fmla="*/ 1478 w 2376"/>
                <a:gd name="T65" fmla="*/ 88 h 3012"/>
                <a:gd name="T66" fmla="*/ 2363 w 2376"/>
                <a:gd name="T67" fmla="*/ 2300 h 3012"/>
                <a:gd name="T68" fmla="*/ 2376 w 2376"/>
                <a:gd name="T69" fmla="*/ 2358 h 3012"/>
                <a:gd name="T70" fmla="*/ 2371 w 2376"/>
                <a:gd name="T71" fmla="*/ 2414 h 3012"/>
                <a:gd name="T72" fmla="*/ 2349 w 2376"/>
                <a:gd name="T73" fmla="*/ 2466 h 3012"/>
                <a:gd name="T74" fmla="*/ 2311 w 2376"/>
                <a:gd name="T75" fmla="*/ 2509 h 3012"/>
                <a:gd name="T76" fmla="*/ 2262 w 2376"/>
                <a:gd name="T77" fmla="*/ 2539 h 3012"/>
                <a:gd name="T78" fmla="*/ 1095 w 2376"/>
                <a:gd name="T79" fmla="*/ 3008 h 3012"/>
                <a:gd name="T80" fmla="*/ 1037 w 2376"/>
                <a:gd name="T81" fmla="*/ 3012 h 3012"/>
                <a:gd name="T82" fmla="*/ 982 w 2376"/>
                <a:gd name="T83" fmla="*/ 2997 h 3012"/>
                <a:gd name="T84" fmla="*/ 935 w 2376"/>
                <a:gd name="T85" fmla="*/ 2968 h 3012"/>
                <a:gd name="T86" fmla="*/ 899 w 2376"/>
                <a:gd name="T87" fmla="*/ 2924 h 3012"/>
                <a:gd name="T88" fmla="*/ 13 w 2376"/>
                <a:gd name="T89" fmla="*/ 712 h 3012"/>
                <a:gd name="T90" fmla="*/ 0 w 2376"/>
                <a:gd name="T91" fmla="*/ 655 h 3012"/>
                <a:gd name="T92" fmla="*/ 5 w 2376"/>
                <a:gd name="T93" fmla="*/ 598 h 3012"/>
                <a:gd name="T94" fmla="*/ 27 w 2376"/>
                <a:gd name="T95" fmla="*/ 546 h 3012"/>
                <a:gd name="T96" fmla="*/ 64 w 2376"/>
                <a:gd name="T97" fmla="*/ 503 h 3012"/>
                <a:gd name="T98" fmla="*/ 114 w 2376"/>
                <a:gd name="T99" fmla="*/ 473 h 3012"/>
                <a:gd name="T100" fmla="*/ 1282 w 2376"/>
                <a:gd name="T101" fmla="*/ 4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6" h="3012">
                  <a:moveTo>
                    <a:pt x="1607" y="2443"/>
                  </a:moveTo>
                  <a:lnTo>
                    <a:pt x="1585" y="2445"/>
                  </a:lnTo>
                  <a:lnTo>
                    <a:pt x="1563" y="2452"/>
                  </a:lnTo>
                  <a:lnTo>
                    <a:pt x="1542" y="2463"/>
                  </a:lnTo>
                  <a:lnTo>
                    <a:pt x="1524" y="2477"/>
                  </a:lnTo>
                  <a:lnTo>
                    <a:pt x="1510" y="2494"/>
                  </a:lnTo>
                  <a:lnTo>
                    <a:pt x="1500" y="2514"/>
                  </a:lnTo>
                  <a:lnTo>
                    <a:pt x="1493" y="2535"/>
                  </a:lnTo>
                  <a:lnTo>
                    <a:pt x="1490" y="2557"/>
                  </a:lnTo>
                  <a:lnTo>
                    <a:pt x="1491" y="2580"/>
                  </a:lnTo>
                  <a:lnTo>
                    <a:pt x="1499" y="2602"/>
                  </a:lnTo>
                  <a:lnTo>
                    <a:pt x="1509" y="2623"/>
                  </a:lnTo>
                  <a:lnTo>
                    <a:pt x="1524" y="2640"/>
                  </a:lnTo>
                  <a:lnTo>
                    <a:pt x="1541" y="2655"/>
                  </a:lnTo>
                  <a:lnTo>
                    <a:pt x="1560" y="2666"/>
                  </a:lnTo>
                  <a:lnTo>
                    <a:pt x="1580" y="2672"/>
                  </a:lnTo>
                  <a:lnTo>
                    <a:pt x="1602" y="2675"/>
                  </a:lnTo>
                  <a:lnTo>
                    <a:pt x="1626" y="2673"/>
                  </a:lnTo>
                  <a:lnTo>
                    <a:pt x="1648" y="2667"/>
                  </a:lnTo>
                  <a:lnTo>
                    <a:pt x="1668" y="2656"/>
                  </a:lnTo>
                  <a:lnTo>
                    <a:pt x="1686" y="2641"/>
                  </a:lnTo>
                  <a:lnTo>
                    <a:pt x="1700" y="2624"/>
                  </a:lnTo>
                  <a:lnTo>
                    <a:pt x="1710" y="2604"/>
                  </a:lnTo>
                  <a:lnTo>
                    <a:pt x="1718" y="2583"/>
                  </a:lnTo>
                  <a:lnTo>
                    <a:pt x="1720" y="2561"/>
                  </a:lnTo>
                  <a:lnTo>
                    <a:pt x="1718" y="2539"/>
                  </a:lnTo>
                  <a:lnTo>
                    <a:pt x="1711" y="2516"/>
                  </a:lnTo>
                  <a:lnTo>
                    <a:pt x="1701" y="2496"/>
                  </a:lnTo>
                  <a:lnTo>
                    <a:pt x="1686" y="2478"/>
                  </a:lnTo>
                  <a:lnTo>
                    <a:pt x="1670" y="2463"/>
                  </a:lnTo>
                  <a:lnTo>
                    <a:pt x="1650" y="2453"/>
                  </a:lnTo>
                  <a:lnTo>
                    <a:pt x="1629" y="2446"/>
                  </a:lnTo>
                  <a:lnTo>
                    <a:pt x="1607" y="2443"/>
                  </a:lnTo>
                  <a:close/>
                  <a:moveTo>
                    <a:pt x="1276" y="334"/>
                  </a:moveTo>
                  <a:lnTo>
                    <a:pt x="1260" y="337"/>
                  </a:lnTo>
                  <a:lnTo>
                    <a:pt x="332" y="712"/>
                  </a:lnTo>
                  <a:lnTo>
                    <a:pt x="319" y="720"/>
                  </a:lnTo>
                  <a:lnTo>
                    <a:pt x="308" y="732"/>
                  </a:lnTo>
                  <a:lnTo>
                    <a:pt x="303" y="746"/>
                  </a:lnTo>
                  <a:lnTo>
                    <a:pt x="301" y="761"/>
                  </a:lnTo>
                  <a:lnTo>
                    <a:pt x="305" y="777"/>
                  </a:lnTo>
                  <a:lnTo>
                    <a:pt x="976" y="2460"/>
                  </a:lnTo>
                  <a:lnTo>
                    <a:pt x="985" y="2474"/>
                  </a:lnTo>
                  <a:lnTo>
                    <a:pt x="996" y="2483"/>
                  </a:lnTo>
                  <a:lnTo>
                    <a:pt x="1010" y="2490"/>
                  </a:lnTo>
                  <a:lnTo>
                    <a:pt x="1025" y="2491"/>
                  </a:lnTo>
                  <a:lnTo>
                    <a:pt x="1041" y="2488"/>
                  </a:lnTo>
                  <a:lnTo>
                    <a:pt x="1969" y="2114"/>
                  </a:lnTo>
                  <a:lnTo>
                    <a:pt x="1983" y="2105"/>
                  </a:lnTo>
                  <a:lnTo>
                    <a:pt x="1993" y="2093"/>
                  </a:lnTo>
                  <a:lnTo>
                    <a:pt x="1998" y="2079"/>
                  </a:lnTo>
                  <a:lnTo>
                    <a:pt x="2000" y="2063"/>
                  </a:lnTo>
                  <a:lnTo>
                    <a:pt x="1997" y="2047"/>
                  </a:lnTo>
                  <a:lnTo>
                    <a:pt x="1325" y="365"/>
                  </a:lnTo>
                  <a:lnTo>
                    <a:pt x="1317" y="352"/>
                  </a:lnTo>
                  <a:lnTo>
                    <a:pt x="1305" y="341"/>
                  </a:lnTo>
                  <a:lnTo>
                    <a:pt x="1290" y="335"/>
                  </a:lnTo>
                  <a:lnTo>
                    <a:pt x="1276" y="334"/>
                  </a:lnTo>
                  <a:close/>
                  <a:moveTo>
                    <a:pt x="1310" y="0"/>
                  </a:moveTo>
                  <a:lnTo>
                    <a:pt x="1339" y="1"/>
                  </a:lnTo>
                  <a:lnTo>
                    <a:pt x="1367" y="5"/>
                  </a:lnTo>
                  <a:lnTo>
                    <a:pt x="1393" y="15"/>
                  </a:lnTo>
                  <a:lnTo>
                    <a:pt x="1418" y="27"/>
                  </a:lnTo>
                  <a:lnTo>
                    <a:pt x="1440" y="44"/>
                  </a:lnTo>
                  <a:lnTo>
                    <a:pt x="1461" y="65"/>
                  </a:lnTo>
                  <a:lnTo>
                    <a:pt x="1478" y="88"/>
                  </a:lnTo>
                  <a:lnTo>
                    <a:pt x="1490" y="115"/>
                  </a:lnTo>
                  <a:lnTo>
                    <a:pt x="2363" y="2300"/>
                  </a:lnTo>
                  <a:lnTo>
                    <a:pt x="2372" y="2329"/>
                  </a:lnTo>
                  <a:lnTo>
                    <a:pt x="2376" y="2358"/>
                  </a:lnTo>
                  <a:lnTo>
                    <a:pt x="2375" y="2386"/>
                  </a:lnTo>
                  <a:lnTo>
                    <a:pt x="2371" y="2414"/>
                  </a:lnTo>
                  <a:lnTo>
                    <a:pt x="2362" y="2441"/>
                  </a:lnTo>
                  <a:lnTo>
                    <a:pt x="2349" y="2466"/>
                  </a:lnTo>
                  <a:lnTo>
                    <a:pt x="2332" y="2489"/>
                  </a:lnTo>
                  <a:lnTo>
                    <a:pt x="2311" y="2509"/>
                  </a:lnTo>
                  <a:lnTo>
                    <a:pt x="2288" y="2527"/>
                  </a:lnTo>
                  <a:lnTo>
                    <a:pt x="2262" y="2539"/>
                  </a:lnTo>
                  <a:lnTo>
                    <a:pt x="1123" y="2999"/>
                  </a:lnTo>
                  <a:lnTo>
                    <a:pt x="1095" y="3008"/>
                  </a:lnTo>
                  <a:lnTo>
                    <a:pt x="1065" y="3012"/>
                  </a:lnTo>
                  <a:lnTo>
                    <a:pt x="1037" y="3012"/>
                  </a:lnTo>
                  <a:lnTo>
                    <a:pt x="1010" y="3007"/>
                  </a:lnTo>
                  <a:lnTo>
                    <a:pt x="982" y="2997"/>
                  </a:lnTo>
                  <a:lnTo>
                    <a:pt x="958" y="2985"/>
                  </a:lnTo>
                  <a:lnTo>
                    <a:pt x="935" y="2968"/>
                  </a:lnTo>
                  <a:lnTo>
                    <a:pt x="915" y="2948"/>
                  </a:lnTo>
                  <a:lnTo>
                    <a:pt x="899" y="2924"/>
                  </a:lnTo>
                  <a:lnTo>
                    <a:pt x="885" y="2897"/>
                  </a:lnTo>
                  <a:lnTo>
                    <a:pt x="13" y="712"/>
                  </a:lnTo>
                  <a:lnTo>
                    <a:pt x="4" y="683"/>
                  </a:lnTo>
                  <a:lnTo>
                    <a:pt x="0" y="655"/>
                  </a:lnTo>
                  <a:lnTo>
                    <a:pt x="0" y="625"/>
                  </a:lnTo>
                  <a:lnTo>
                    <a:pt x="5" y="598"/>
                  </a:lnTo>
                  <a:lnTo>
                    <a:pt x="14" y="572"/>
                  </a:lnTo>
                  <a:lnTo>
                    <a:pt x="27" y="546"/>
                  </a:lnTo>
                  <a:lnTo>
                    <a:pt x="44" y="523"/>
                  </a:lnTo>
                  <a:lnTo>
                    <a:pt x="64" y="503"/>
                  </a:lnTo>
                  <a:lnTo>
                    <a:pt x="87" y="486"/>
                  </a:lnTo>
                  <a:lnTo>
                    <a:pt x="114" y="473"/>
                  </a:lnTo>
                  <a:lnTo>
                    <a:pt x="1253" y="14"/>
                  </a:lnTo>
                  <a:lnTo>
                    <a:pt x="1282" y="4"/>
                  </a:lnTo>
                  <a:lnTo>
                    <a:pt x="13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
            <p:cNvSpPr>
              <a:spLocks/>
            </p:cNvSpPr>
            <p:nvPr/>
          </p:nvSpPr>
          <p:spPr bwMode="auto">
            <a:xfrm>
              <a:off x="272" y="2765"/>
              <a:ext cx="57" cy="67"/>
            </a:xfrm>
            <a:custGeom>
              <a:avLst/>
              <a:gdLst>
                <a:gd name="T0" fmla="*/ 443 w 511"/>
                <a:gd name="T1" fmla="*/ 0 h 595"/>
                <a:gd name="T2" fmla="*/ 458 w 511"/>
                <a:gd name="T3" fmla="*/ 1 h 595"/>
                <a:gd name="T4" fmla="*/ 474 w 511"/>
                <a:gd name="T5" fmla="*/ 5 h 595"/>
                <a:gd name="T6" fmla="*/ 488 w 511"/>
                <a:gd name="T7" fmla="*/ 13 h 595"/>
                <a:gd name="T8" fmla="*/ 499 w 511"/>
                <a:gd name="T9" fmla="*/ 25 h 595"/>
                <a:gd name="T10" fmla="*/ 506 w 511"/>
                <a:gd name="T11" fmla="*/ 40 h 595"/>
                <a:gd name="T12" fmla="*/ 511 w 511"/>
                <a:gd name="T13" fmla="*/ 58 h 595"/>
                <a:gd name="T14" fmla="*/ 511 w 511"/>
                <a:gd name="T15" fmla="*/ 74 h 595"/>
                <a:gd name="T16" fmla="*/ 505 w 511"/>
                <a:gd name="T17" fmla="*/ 90 h 595"/>
                <a:gd name="T18" fmla="*/ 497 w 511"/>
                <a:gd name="T19" fmla="*/ 104 h 595"/>
                <a:gd name="T20" fmla="*/ 485 w 511"/>
                <a:gd name="T21" fmla="*/ 114 h 595"/>
                <a:gd name="T22" fmla="*/ 471 w 511"/>
                <a:gd name="T23" fmla="*/ 123 h 595"/>
                <a:gd name="T24" fmla="*/ 454 w 511"/>
                <a:gd name="T25" fmla="*/ 126 h 595"/>
                <a:gd name="T26" fmla="*/ 413 w 511"/>
                <a:gd name="T27" fmla="*/ 132 h 595"/>
                <a:gd name="T28" fmla="*/ 374 w 511"/>
                <a:gd name="T29" fmla="*/ 143 h 595"/>
                <a:gd name="T30" fmla="*/ 337 w 511"/>
                <a:gd name="T31" fmla="*/ 159 h 595"/>
                <a:gd name="T32" fmla="*/ 301 w 511"/>
                <a:gd name="T33" fmla="*/ 178 h 595"/>
                <a:gd name="T34" fmla="*/ 268 w 511"/>
                <a:gd name="T35" fmla="*/ 201 h 595"/>
                <a:gd name="T36" fmla="*/ 237 w 511"/>
                <a:gd name="T37" fmla="*/ 227 h 595"/>
                <a:gd name="T38" fmla="*/ 209 w 511"/>
                <a:gd name="T39" fmla="*/ 258 h 595"/>
                <a:gd name="T40" fmla="*/ 185 w 511"/>
                <a:gd name="T41" fmla="*/ 291 h 595"/>
                <a:gd name="T42" fmla="*/ 164 w 511"/>
                <a:gd name="T43" fmla="*/ 327 h 595"/>
                <a:gd name="T44" fmla="*/ 148 w 511"/>
                <a:gd name="T45" fmla="*/ 364 h 595"/>
                <a:gd name="T46" fmla="*/ 137 w 511"/>
                <a:gd name="T47" fmla="*/ 403 h 595"/>
                <a:gd name="T48" fmla="*/ 129 w 511"/>
                <a:gd name="T49" fmla="*/ 443 h 595"/>
                <a:gd name="T50" fmla="*/ 126 w 511"/>
                <a:gd name="T51" fmla="*/ 484 h 595"/>
                <a:gd name="T52" fmla="*/ 128 w 511"/>
                <a:gd name="T53" fmla="*/ 525 h 595"/>
                <a:gd name="T54" fmla="*/ 127 w 511"/>
                <a:gd name="T55" fmla="*/ 542 h 595"/>
                <a:gd name="T56" fmla="*/ 123 w 511"/>
                <a:gd name="T57" fmla="*/ 558 h 595"/>
                <a:gd name="T58" fmla="*/ 114 w 511"/>
                <a:gd name="T59" fmla="*/ 572 h 595"/>
                <a:gd name="T60" fmla="*/ 102 w 511"/>
                <a:gd name="T61" fmla="*/ 583 h 595"/>
                <a:gd name="T62" fmla="*/ 88 w 511"/>
                <a:gd name="T63" fmla="*/ 591 h 595"/>
                <a:gd name="T64" fmla="*/ 71 w 511"/>
                <a:gd name="T65" fmla="*/ 595 h 595"/>
                <a:gd name="T66" fmla="*/ 54 w 511"/>
                <a:gd name="T67" fmla="*/ 594 h 595"/>
                <a:gd name="T68" fmla="*/ 39 w 511"/>
                <a:gd name="T69" fmla="*/ 588 h 595"/>
                <a:gd name="T70" fmla="*/ 25 w 511"/>
                <a:gd name="T71" fmla="*/ 580 h 595"/>
                <a:gd name="T72" fmla="*/ 14 w 511"/>
                <a:gd name="T73" fmla="*/ 568 h 595"/>
                <a:gd name="T74" fmla="*/ 6 w 511"/>
                <a:gd name="T75" fmla="*/ 554 h 595"/>
                <a:gd name="T76" fmla="*/ 2 w 511"/>
                <a:gd name="T77" fmla="*/ 537 h 595"/>
                <a:gd name="T78" fmla="*/ 0 w 511"/>
                <a:gd name="T79" fmla="*/ 484 h 595"/>
                <a:gd name="T80" fmla="*/ 3 w 511"/>
                <a:gd name="T81" fmla="*/ 431 h 595"/>
                <a:gd name="T82" fmla="*/ 12 w 511"/>
                <a:gd name="T83" fmla="*/ 380 h 595"/>
                <a:gd name="T84" fmla="*/ 26 w 511"/>
                <a:gd name="T85" fmla="*/ 331 h 595"/>
                <a:gd name="T86" fmla="*/ 45 w 511"/>
                <a:gd name="T87" fmla="*/ 284 h 595"/>
                <a:gd name="T88" fmla="*/ 69 w 511"/>
                <a:gd name="T89" fmla="*/ 239 h 595"/>
                <a:gd name="T90" fmla="*/ 96 w 511"/>
                <a:gd name="T91" fmla="*/ 197 h 595"/>
                <a:gd name="T92" fmla="*/ 128 w 511"/>
                <a:gd name="T93" fmla="*/ 158 h 595"/>
                <a:gd name="T94" fmla="*/ 164 w 511"/>
                <a:gd name="T95" fmla="*/ 123 h 595"/>
                <a:gd name="T96" fmla="*/ 203 w 511"/>
                <a:gd name="T97" fmla="*/ 91 h 595"/>
                <a:gd name="T98" fmla="*/ 246 w 511"/>
                <a:gd name="T99" fmla="*/ 63 h 595"/>
                <a:gd name="T100" fmla="*/ 291 w 511"/>
                <a:gd name="T101" fmla="*/ 40 h 595"/>
                <a:gd name="T102" fmla="*/ 339 w 511"/>
                <a:gd name="T103" fmla="*/ 22 h 595"/>
                <a:gd name="T104" fmla="*/ 389 w 511"/>
                <a:gd name="T105" fmla="*/ 8 h 595"/>
                <a:gd name="T106" fmla="*/ 443 w 511"/>
                <a:gd name="T10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595">
                  <a:moveTo>
                    <a:pt x="443" y="0"/>
                  </a:moveTo>
                  <a:lnTo>
                    <a:pt x="458" y="1"/>
                  </a:lnTo>
                  <a:lnTo>
                    <a:pt x="474" y="5"/>
                  </a:lnTo>
                  <a:lnTo>
                    <a:pt x="488" y="13"/>
                  </a:lnTo>
                  <a:lnTo>
                    <a:pt x="499" y="25"/>
                  </a:lnTo>
                  <a:lnTo>
                    <a:pt x="506" y="40"/>
                  </a:lnTo>
                  <a:lnTo>
                    <a:pt x="511" y="58"/>
                  </a:lnTo>
                  <a:lnTo>
                    <a:pt x="511" y="74"/>
                  </a:lnTo>
                  <a:lnTo>
                    <a:pt x="505" y="90"/>
                  </a:lnTo>
                  <a:lnTo>
                    <a:pt x="497" y="104"/>
                  </a:lnTo>
                  <a:lnTo>
                    <a:pt x="485" y="114"/>
                  </a:lnTo>
                  <a:lnTo>
                    <a:pt x="471" y="123"/>
                  </a:lnTo>
                  <a:lnTo>
                    <a:pt x="454" y="126"/>
                  </a:lnTo>
                  <a:lnTo>
                    <a:pt x="413" y="132"/>
                  </a:lnTo>
                  <a:lnTo>
                    <a:pt x="374" y="143"/>
                  </a:lnTo>
                  <a:lnTo>
                    <a:pt x="337" y="159"/>
                  </a:lnTo>
                  <a:lnTo>
                    <a:pt x="301" y="178"/>
                  </a:lnTo>
                  <a:lnTo>
                    <a:pt x="268" y="201"/>
                  </a:lnTo>
                  <a:lnTo>
                    <a:pt x="237" y="227"/>
                  </a:lnTo>
                  <a:lnTo>
                    <a:pt x="209" y="258"/>
                  </a:lnTo>
                  <a:lnTo>
                    <a:pt x="185" y="291"/>
                  </a:lnTo>
                  <a:lnTo>
                    <a:pt x="164" y="327"/>
                  </a:lnTo>
                  <a:lnTo>
                    <a:pt x="148" y="364"/>
                  </a:lnTo>
                  <a:lnTo>
                    <a:pt x="137" y="403"/>
                  </a:lnTo>
                  <a:lnTo>
                    <a:pt x="129" y="443"/>
                  </a:lnTo>
                  <a:lnTo>
                    <a:pt x="126" y="484"/>
                  </a:lnTo>
                  <a:lnTo>
                    <a:pt x="128" y="525"/>
                  </a:lnTo>
                  <a:lnTo>
                    <a:pt x="127" y="542"/>
                  </a:lnTo>
                  <a:lnTo>
                    <a:pt x="123" y="558"/>
                  </a:lnTo>
                  <a:lnTo>
                    <a:pt x="114" y="572"/>
                  </a:lnTo>
                  <a:lnTo>
                    <a:pt x="102" y="583"/>
                  </a:lnTo>
                  <a:lnTo>
                    <a:pt x="88" y="591"/>
                  </a:lnTo>
                  <a:lnTo>
                    <a:pt x="71" y="595"/>
                  </a:lnTo>
                  <a:lnTo>
                    <a:pt x="54" y="594"/>
                  </a:lnTo>
                  <a:lnTo>
                    <a:pt x="39" y="588"/>
                  </a:lnTo>
                  <a:lnTo>
                    <a:pt x="25" y="580"/>
                  </a:lnTo>
                  <a:lnTo>
                    <a:pt x="14" y="568"/>
                  </a:lnTo>
                  <a:lnTo>
                    <a:pt x="6" y="554"/>
                  </a:lnTo>
                  <a:lnTo>
                    <a:pt x="2" y="537"/>
                  </a:lnTo>
                  <a:lnTo>
                    <a:pt x="0" y="484"/>
                  </a:lnTo>
                  <a:lnTo>
                    <a:pt x="3" y="431"/>
                  </a:lnTo>
                  <a:lnTo>
                    <a:pt x="12" y="380"/>
                  </a:lnTo>
                  <a:lnTo>
                    <a:pt x="26" y="331"/>
                  </a:lnTo>
                  <a:lnTo>
                    <a:pt x="45" y="284"/>
                  </a:lnTo>
                  <a:lnTo>
                    <a:pt x="69" y="239"/>
                  </a:lnTo>
                  <a:lnTo>
                    <a:pt x="96" y="197"/>
                  </a:lnTo>
                  <a:lnTo>
                    <a:pt x="128" y="158"/>
                  </a:lnTo>
                  <a:lnTo>
                    <a:pt x="164" y="123"/>
                  </a:lnTo>
                  <a:lnTo>
                    <a:pt x="203" y="91"/>
                  </a:lnTo>
                  <a:lnTo>
                    <a:pt x="246" y="63"/>
                  </a:lnTo>
                  <a:lnTo>
                    <a:pt x="291" y="40"/>
                  </a:lnTo>
                  <a:lnTo>
                    <a:pt x="339" y="22"/>
                  </a:lnTo>
                  <a:lnTo>
                    <a:pt x="389" y="8"/>
                  </a:lnTo>
                  <a:lnTo>
                    <a:pt x="4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7"/>
            <p:cNvSpPr>
              <a:spLocks/>
            </p:cNvSpPr>
            <p:nvPr/>
          </p:nvSpPr>
          <p:spPr bwMode="auto">
            <a:xfrm>
              <a:off x="244" y="2738"/>
              <a:ext cx="81" cy="95"/>
            </a:xfrm>
            <a:custGeom>
              <a:avLst/>
              <a:gdLst>
                <a:gd name="T0" fmla="*/ 661 w 730"/>
                <a:gd name="T1" fmla="*/ 0 h 861"/>
                <a:gd name="T2" fmla="*/ 678 w 730"/>
                <a:gd name="T3" fmla="*/ 1 h 861"/>
                <a:gd name="T4" fmla="*/ 692 w 730"/>
                <a:gd name="T5" fmla="*/ 5 h 861"/>
                <a:gd name="T6" fmla="*/ 706 w 730"/>
                <a:gd name="T7" fmla="*/ 14 h 861"/>
                <a:gd name="T8" fmla="*/ 717 w 730"/>
                <a:gd name="T9" fmla="*/ 25 h 861"/>
                <a:gd name="T10" fmla="*/ 726 w 730"/>
                <a:gd name="T11" fmla="*/ 40 h 861"/>
                <a:gd name="T12" fmla="*/ 728 w 730"/>
                <a:gd name="T13" fmla="*/ 48 h 861"/>
                <a:gd name="T14" fmla="*/ 730 w 730"/>
                <a:gd name="T15" fmla="*/ 58 h 861"/>
                <a:gd name="T16" fmla="*/ 729 w 730"/>
                <a:gd name="T17" fmla="*/ 75 h 861"/>
                <a:gd name="T18" fmla="*/ 724 w 730"/>
                <a:gd name="T19" fmla="*/ 91 h 861"/>
                <a:gd name="T20" fmla="*/ 715 w 730"/>
                <a:gd name="T21" fmla="*/ 104 h 861"/>
                <a:gd name="T22" fmla="*/ 704 w 730"/>
                <a:gd name="T23" fmla="*/ 115 h 861"/>
                <a:gd name="T24" fmla="*/ 689 w 730"/>
                <a:gd name="T25" fmla="*/ 123 h 861"/>
                <a:gd name="T26" fmla="*/ 673 w 730"/>
                <a:gd name="T27" fmla="*/ 126 h 861"/>
                <a:gd name="T28" fmla="*/ 612 w 730"/>
                <a:gd name="T29" fmla="*/ 136 h 861"/>
                <a:gd name="T30" fmla="*/ 553 w 730"/>
                <a:gd name="T31" fmla="*/ 151 h 861"/>
                <a:gd name="T32" fmla="*/ 496 w 730"/>
                <a:gd name="T33" fmla="*/ 172 h 861"/>
                <a:gd name="T34" fmla="*/ 443 w 730"/>
                <a:gd name="T35" fmla="*/ 197 h 861"/>
                <a:gd name="T36" fmla="*/ 393 w 730"/>
                <a:gd name="T37" fmla="*/ 229 h 861"/>
                <a:gd name="T38" fmla="*/ 347 w 730"/>
                <a:gd name="T39" fmla="*/ 263 h 861"/>
                <a:gd name="T40" fmla="*/ 304 w 730"/>
                <a:gd name="T41" fmla="*/ 302 h 861"/>
                <a:gd name="T42" fmla="*/ 265 w 730"/>
                <a:gd name="T43" fmla="*/ 345 h 861"/>
                <a:gd name="T44" fmla="*/ 229 w 730"/>
                <a:gd name="T45" fmla="*/ 393 h 861"/>
                <a:gd name="T46" fmla="*/ 200 w 730"/>
                <a:gd name="T47" fmla="*/ 442 h 861"/>
                <a:gd name="T48" fmla="*/ 174 w 730"/>
                <a:gd name="T49" fmla="*/ 496 h 861"/>
                <a:gd name="T50" fmla="*/ 154 w 730"/>
                <a:gd name="T51" fmla="*/ 551 h 861"/>
                <a:gd name="T52" fmla="*/ 139 w 730"/>
                <a:gd name="T53" fmla="*/ 609 h 861"/>
                <a:gd name="T54" fmla="*/ 130 w 730"/>
                <a:gd name="T55" fmla="*/ 668 h 861"/>
                <a:gd name="T56" fmla="*/ 127 w 730"/>
                <a:gd name="T57" fmla="*/ 729 h 861"/>
                <a:gd name="T58" fmla="*/ 129 w 730"/>
                <a:gd name="T59" fmla="*/ 791 h 861"/>
                <a:gd name="T60" fmla="*/ 129 w 730"/>
                <a:gd name="T61" fmla="*/ 808 h 861"/>
                <a:gd name="T62" fmla="*/ 124 w 730"/>
                <a:gd name="T63" fmla="*/ 824 h 861"/>
                <a:gd name="T64" fmla="*/ 115 w 730"/>
                <a:gd name="T65" fmla="*/ 838 h 861"/>
                <a:gd name="T66" fmla="*/ 103 w 730"/>
                <a:gd name="T67" fmla="*/ 849 h 861"/>
                <a:gd name="T68" fmla="*/ 88 w 730"/>
                <a:gd name="T69" fmla="*/ 857 h 861"/>
                <a:gd name="T70" fmla="*/ 72 w 730"/>
                <a:gd name="T71" fmla="*/ 861 h 861"/>
                <a:gd name="T72" fmla="*/ 56 w 730"/>
                <a:gd name="T73" fmla="*/ 859 h 861"/>
                <a:gd name="T74" fmla="*/ 41 w 730"/>
                <a:gd name="T75" fmla="*/ 855 h 861"/>
                <a:gd name="T76" fmla="*/ 26 w 730"/>
                <a:gd name="T77" fmla="*/ 846 h 861"/>
                <a:gd name="T78" fmla="*/ 16 w 730"/>
                <a:gd name="T79" fmla="*/ 834 h 861"/>
                <a:gd name="T80" fmla="*/ 7 w 730"/>
                <a:gd name="T81" fmla="*/ 820 h 861"/>
                <a:gd name="T82" fmla="*/ 3 w 730"/>
                <a:gd name="T83" fmla="*/ 804 h 861"/>
                <a:gd name="T84" fmla="*/ 0 w 730"/>
                <a:gd name="T85" fmla="*/ 740 h 861"/>
                <a:gd name="T86" fmla="*/ 0 w 730"/>
                <a:gd name="T87" fmla="*/ 737 h 861"/>
                <a:gd name="T88" fmla="*/ 2 w 730"/>
                <a:gd name="T89" fmla="*/ 674 h 861"/>
                <a:gd name="T90" fmla="*/ 9 w 730"/>
                <a:gd name="T91" fmla="*/ 611 h 861"/>
                <a:gd name="T92" fmla="*/ 23 w 730"/>
                <a:gd name="T93" fmla="*/ 549 h 861"/>
                <a:gd name="T94" fmla="*/ 42 w 730"/>
                <a:gd name="T95" fmla="*/ 488 h 861"/>
                <a:gd name="T96" fmla="*/ 65 w 730"/>
                <a:gd name="T97" fmla="*/ 429 h 861"/>
                <a:gd name="T98" fmla="*/ 94 w 730"/>
                <a:gd name="T99" fmla="*/ 372 h 861"/>
                <a:gd name="T100" fmla="*/ 128 w 730"/>
                <a:gd name="T101" fmla="*/ 317 h 861"/>
                <a:gd name="T102" fmla="*/ 167 w 730"/>
                <a:gd name="T103" fmla="*/ 265 h 861"/>
                <a:gd name="T104" fmla="*/ 211 w 730"/>
                <a:gd name="T105" fmla="*/ 217 h 861"/>
                <a:gd name="T106" fmla="*/ 258 w 730"/>
                <a:gd name="T107" fmla="*/ 173 h 861"/>
                <a:gd name="T108" fmla="*/ 307 w 730"/>
                <a:gd name="T109" fmla="*/ 134 h 861"/>
                <a:gd name="T110" fmla="*/ 360 w 730"/>
                <a:gd name="T111" fmla="*/ 99 h 861"/>
                <a:gd name="T112" fmla="*/ 416 w 730"/>
                <a:gd name="T113" fmla="*/ 68 h 861"/>
                <a:gd name="T114" fmla="*/ 474 w 730"/>
                <a:gd name="T115" fmla="*/ 44 h 861"/>
                <a:gd name="T116" fmla="*/ 534 w 730"/>
                <a:gd name="T117" fmla="*/ 24 h 861"/>
                <a:gd name="T118" fmla="*/ 597 w 730"/>
                <a:gd name="T119" fmla="*/ 10 h 861"/>
                <a:gd name="T120" fmla="*/ 661 w 730"/>
                <a:gd name="T121"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0" h="861">
                  <a:moveTo>
                    <a:pt x="661" y="0"/>
                  </a:moveTo>
                  <a:lnTo>
                    <a:pt x="678" y="1"/>
                  </a:lnTo>
                  <a:lnTo>
                    <a:pt x="692" y="5"/>
                  </a:lnTo>
                  <a:lnTo>
                    <a:pt x="706" y="14"/>
                  </a:lnTo>
                  <a:lnTo>
                    <a:pt x="717" y="25"/>
                  </a:lnTo>
                  <a:lnTo>
                    <a:pt x="726" y="40"/>
                  </a:lnTo>
                  <a:lnTo>
                    <a:pt x="728" y="48"/>
                  </a:lnTo>
                  <a:lnTo>
                    <a:pt x="730" y="58"/>
                  </a:lnTo>
                  <a:lnTo>
                    <a:pt x="729" y="75"/>
                  </a:lnTo>
                  <a:lnTo>
                    <a:pt x="724" y="91"/>
                  </a:lnTo>
                  <a:lnTo>
                    <a:pt x="715" y="104"/>
                  </a:lnTo>
                  <a:lnTo>
                    <a:pt x="704" y="115"/>
                  </a:lnTo>
                  <a:lnTo>
                    <a:pt x="689" y="123"/>
                  </a:lnTo>
                  <a:lnTo>
                    <a:pt x="673" y="126"/>
                  </a:lnTo>
                  <a:lnTo>
                    <a:pt x="612" y="136"/>
                  </a:lnTo>
                  <a:lnTo>
                    <a:pt x="553" y="151"/>
                  </a:lnTo>
                  <a:lnTo>
                    <a:pt x="496" y="172"/>
                  </a:lnTo>
                  <a:lnTo>
                    <a:pt x="443" y="197"/>
                  </a:lnTo>
                  <a:lnTo>
                    <a:pt x="393" y="229"/>
                  </a:lnTo>
                  <a:lnTo>
                    <a:pt x="347" y="263"/>
                  </a:lnTo>
                  <a:lnTo>
                    <a:pt x="304" y="302"/>
                  </a:lnTo>
                  <a:lnTo>
                    <a:pt x="265" y="345"/>
                  </a:lnTo>
                  <a:lnTo>
                    <a:pt x="229" y="393"/>
                  </a:lnTo>
                  <a:lnTo>
                    <a:pt x="200" y="442"/>
                  </a:lnTo>
                  <a:lnTo>
                    <a:pt x="174" y="496"/>
                  </a:lnTo>
                  <a:lnTo>
                    <a:pt x="154" y="551"/>
                  </a:lnTo>
                  <a:lnTo>
                    <a:pt x="139" y="609"/>
                  </a:lnTo>
                  <a:lnTo>
                    <a:pt x="130" y="668"/>
                  </a:lnTo>
                  <a:lnTo>
                    <a:pt x="127" y="729"/>
                  </a:lnTo>
                  <a:lnTo>
                    <a:pt x="129" y="791"/>
                  </a:lnTo>
                  <a:lnTo>
                    <a:pt x="129" y="808"/>
                  </a:lnTo>
                  <a:lnTo>
                    <a:pt x="124" y="824"/>
                  </a:lnTo>
                  <a:lnTo>
                    <a:pt x="115" y="838"/>
                  </a:lnTo>
                  <a:lnTo>
                    <a:pt x="103" y="849"/>
                  </a:lnTo>
                  <a:lnTo>
                    <a:pt x="88" y="857"/>
                  </a:lnTo>
                  <a:lnTo>
                    <a:pt x="72" y="861"/>
                  </a:lnTo>
                  <a:lnTo>
                    <a:pt x="56" y="859"/>
                  </a:lnTo>
                  <a:lnTo>
                    <a:pt x="41" y="855"/>
                  </a:lnTo>
                  <a:lnTo>
                    <a:pt x="26" y="846"/>
                  </a:lnTo>
                  <a:lnTo>
                    <a:pt x="16" y="834"/>
                  </a:lnTo>
                  <a:lnTo>
                    <a:pt x="7" y="820"/>
                  </a:lnTo>
                  <a:lnTo>
                    <a:pt x="3" y="804"/>
                  </a:lnTo>
                  <a:lnTo>
                    <a:pt x="0" y="740"/>
                  </a:lnTo>
                  <a:lnTo>
                    <a:pt x="0" y="737"/>
                  </a:lnTo>
                  <a:lnTo>
                    <a:pt x="2" y="674"/>
                  </a:lnTo>
                  <a:lnTo>
                    <a:pt x="9" y="611"/>
                  </a:lnTo>
                  <a:lnTo>
                    <a:pt x="23" y="549"/>
                  </a:lnTo>
                  <a:lnTo>
                    <a:pt x="42" y="488"/>
                  </a:lnTo>
                  <a:lnTo>
                    <a:pt x="65" y="429"/>
                  </a:lnTo>
                  <a:lnTo>
                    <a:pt x="94" y="372"/>
                  </a:lnTo>
                  <a:lnTo>
                    <a:pt x="128" y="317"/>
                  </a:lnTo>
                  <a:lnTo>
                    <a:pt x="167" y="265"/>
                  </a:lnTo>
                  <a:lnTo>
                    <a:pt x="211" y="217"/>
                  </a:lnTo>
                  <a:lnTo>
                    <a:pt x="258" y="173"/>
                  </a:lnTo>
                  <a:lnTo>
                    <a:pt x="307" y="134"/>
                  </a:lnTo>
                  <a:lnTo>
                    <a:pt x="360" y="99"/>
                  </a:lnTo>
                  <a:lnTo>
                    <a:pt x="416" y="68"/>
                  </a:lnTo>
                  <a:lnTo>
                    <a:pt x="474" y="44"/>
                  </a:lnTo>
                  <a:lnTo>
                    <a:pt x="534" y="24"/>
                  </a:lnTo>
                  <a:lnTo>
                    <a:pt x="597" y="10"/>
                  </a:lnTo>
                  <a:lnTo>
                    <a:pt x="6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8"/>
            <p:cNvSpPr>
              <a:spLocks/>
            </p:cNvSpPr>
            <p:nvPr/>
          </p:nvSpPr>
          <p:spPr bwMode="auto">
            <a:xfrm>
              <a:off x="545" y="2978"/>
              <a:ext cx="50" cy="72"/>
            </a:xfrm>
            <a:custGeom>
              <a:avLst/>
              <a:gdLst>
                <a:gd name="T0" fmla="*/ 377 w 452"/>
                <a:gd name="T1" fmla="*/ 0 h 646"/>
                <a:gd name="T2" fmla="*/ 394 w 452"/>
                <a:gd name="T3" fmla="*/ 4 h 646"/>
                <a:gd name="T4" fmla="*/ 409 w 452"/>
                <a:gd name="T5" fmla="*/ 10 h 646"/>
                <a:gd name="T6" fmla="*/ 421 w 452"/>
                <a:gd name="T7" fmla="*/ 20 h 646"/>
                <a:gd name="T8" fmla="*/ 431 w 452"/>
                <a:gd name="T9" fmla="*/ 33 h 646"/>
                <a:gd name="T10" fmla="*/ 437 w 452"/>
                <a:gd name="T11" fmla="*/ 49 h 646"/>
                <a:gd name="T12" fmla="*/ 447 w 452"/>
                <a:gd name="T13" fmla="*/ 102 h 646"/>
                <a:gd name="T14" fmla="*/ 452 w 452"/>
                <a:gd name="T15" fmla="*/ 154 h 646"/>
                <a:gd name="T16" fmla="*/ 450 w 452"/>
                <a:gd name="T17" fmla="*/ 206 h 646"/>
                <a:gd name="T18" fmla="*/ 443 w 452"/>
                <a:gd name="T19" fmla="*/ 256 h 646"/>
                <a:gd name="T20" fmla="*/ 432 w 452"/>
                <a:gd name="T21" fmla="*/ 306 h 646"/>
                <a:gd name="T22" fmla="*/ 415 w 452"/>
                <a:gd name="T23" fmla="*/ 354 h 646"/>
                <a:gd name="T24" fmla="*/ 393 w 452"/>
                <a:gd name="T25" fmla="*/ 400 h 646"/>
                <a:gd name="T26" fmla="*/ 367 w 452"/>
                <a:gd name="T27" fmla="*/ 443 h 646"/>
                <a:gd name="T28" fmla="*/ 338 w 452"/>
                <a:gd name="T29" fmla="*/ 483 h 646"/>
                <a:gd name="T30" fmla="*/ 303 w 452"/>
                <a:gd name="T31" fmla="*/ 520 h 646"/>
                <a:gd name="T32" fmla="*/ 265 w 452"/>
                <a:gd name="T33" fmla="*/ 553 h 646"/>
                <a:gd name="T34" fmla="*/ 223 w 452"/>
                <a:gd name="T35" fmla="*/ 583 h 646"/>
                <a:gd name="T36" fmla="*/ 178 w 452"/>
                <a:gd name="T37" fmla="*/ 608 h 646"/>
                <a:gd name="T38" fmla="*/ 130 w 452"/>
                <a:gd name="T39" fmla="*/ 629 h 646"/>
                <a:gd name="T40" fmla="*/ 79 w 452"/>
                <a:gd name="T41" fmla="*/ 645 h 646"/>
                <a:gd name="T42" fmla="*/ 63 w 452"/>
                <a:gd name="T43" fmla="*/ 646 h 646"/>
                <a:gd name="T44" fmla="*/ 46 w 452"/>
                <a:gd name="T45" fmla="*/ 644 h 646"/>
                <a:gd name="T46" fmla="*/ 32 w 452"/>
                <a:gd name="T47" fmla="*/ 638 h 646"/>
                <a:gd name="T48" fmla="*/ 19 w 452"/>
                <a:gd name="T49" fmla="*/ 628 h 646"/>
                <a:gd name="T50" fmla="*/ 10 w 452"/>
                <a:gd name="T51" fmla="*/ 616 h 646"/>
                <a:gd name="T52" fmla="*/ 6 w 452"/>
                <a:gd name="T53" fmla="*/ 607 h 646"/>
                <a:gd name="T54" fmla="*/ 2 w 452"/>
                <a:gd name="T55" fmla="*/ 599 h 646"/>
                <a:gd name="T56" fmla="*/ 0 w 452"/>
                <a:gd name="T57" fmla="*/ 582 h 646"/>
                <a:gd name="T58" fmla="*/ 3 w 452"/>
                <a:gd name="T59" fmla="*/ 565 h 646"/>
                <a:gd name="T60" fmla="*/ 10 w 452"/>
                <a:gd name="T61" fmla="*/ 550 h 646"/>
                <a:gd name="T62" fmla="*/ 20 w 452"/>
                <a:gd name="T63" fmla="*/ 538 h 646"/>
                <a:gd name="T64" fmla="*/ 33 w 452"/>
                <a:gd name="T65" fmla="*/ 528 h 646"/>
                <a:gd name="T66" fmla="*/ 48 w 452"/>
                <a:gd name="T67" fmla="*/ 522 h 646"/>
                <a:gd name="T68" fmla="*/ 88 w 452"/>
                <a:gd name="T69" fmla="*/ 509 h 646"/>
                <a:gd name="T70" fmla="*/ 126 w 452"/>
                <a:gd name="T71" fmla="*/ 493 h 646"/>
                <a:gd name="T72" fmla="*/ 161 w 452"/>
                <a:gd name="T73" fmla="*/ 472 h 646"/>
                <a:gd name="T74" fmla="*/ 193 w 452"/>
                <a:gd name="T75" fmla="*/ 449 h 646"/>
                <a:gd name="T76" fmla="*/ 223 w 452"/>
                <a:gd name="T77" fmla="*/ 421 h 646"/>
                <a:gd name="T78" fmla="*/ 250 w 452"/>
                <a:gd name="T79" fmla="*/ 390 h 646"/>
                <a:gd name="T80" fmla="*/ 273 w 452"/>
                <a:gd name="T81" fmla="*/ 355 h 646"/>
                <a:gd name="T82" fmla="*/ 292 w 452"/>
                <a:gd name="T83" fmla="*/ 319 h 646"/>
                <a:gd name="T84" fmla="*/ 307 w 452"/>
                <a:gd name="T85" fmla="*/ 281 h 646"/>
                <a:gd name="T86" fmla="*/ 318 w 452"/>
                <a:gd name="T87" fmla="*/ 242 h 646"/>
                <a:gd name="T88" fmla="*/ 324 w 452"/>
                <a:gd name="T89" fmla="*/ 202 h 646"/>
                <a:gd name="T90" fmla="*/ 325 w 452"/>
                <a:gd name="T91" fmla="*/ 161 h 646"/>
                <a:gd name="T92" fmla="*/ 322 w 452"/>
                <a:gd name="T93" fmla="*/ 121 h 646"/>
                <a:gd name="T94" fmla="*/ 314 w 452"/>
                <a:gd name="T95" fmla="*/ 79 h 646"/>
                <a:gd name="T96" fmla="*/ 312 w 452"/>
                <a:gd name="T97" fmla="*/ 63 h 646"/>
                <a:gd name="T98" fmla="*/ 316 w 452"/>
                <a:gd name="T99" fmla="*/ 47 h 646"/>
                <a:gd name="T100" fmla="*/ 322 w 452"/>
                <a:gd name="T101" fmla="*/ 31 h 646"/>
                <a:gd name="T102" fmla="*/ 332 w 452"/>
                <a:gd name="T103" fmla="*/ 18 h 646"/>
                <a:gd name="T104" fmla="*/ 346 w 452"/>
                <a:gd name="T105" fmla="*/ 9 h 646"/>
                <a:gd name="T106" fmla="*/ 361 w 452"/>
                <a:gd name="T107" fmla="*/ 3 h 646"/>
                <a:gd name="T108" fmla="*/ 377 w 452"/>
                <a:gd name="T109"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646">
                  <a:moveTo>
                    <a:pt x="377" y="0"/>
                  </a:moveTo>
                  <a:lnTo>
                    <a:pt x="394" y="4"/>
                  </a:lnTo>
                  <a:lnTo>
                    <a:pt x="409" y="10"/>
                  </a:lnTo>
                  <a:lnTo>
                    <a:pt x="421" y="20"/>
                  </a:lnTo>
                  <a:lnTo>
                    <a:pt x="431" y="33"/>
                  </a:lnTo>
                  <a:lnTo>
                    <a:pt x="437" y="49"/>
                  </a:lnTo>
                  <a:lnTo>
                    <a:pt x="447" y="102"/>
                  </a:lnTo>
                  <a:lnTo>
                    <a:pt x="452" y="154"/>
                  </a:lnTo>
                  <a:lnTo>
                    <a:pt x="450" y="206"/>
                  </a:lnTo>
                  <a:lnTo>
                    <a:pt x="443" y="256"/>
                  </a:lnTo>
                  <a:lnTo>
                    <a:pt x="432" y="306"/>
                  </a:lnTo>
                  <a:lnTo>
                    <a:pt x="415" y="354"/>
                  </a:lnTo>
                  <a:lnTo>
                    <a:pt x="393" y="400"/>
                  </a:lnTo>
                  <a:lnTo>
                    <a:pt x="367" y="443"/>
                  </a:lnTo>
                  <a:lnTo>
                    <a:pt x="338" y="483"/>
                  </a:lnTo>
                  <a:lnTo>
                    <a:pt x="303" y="520"/>
                  </a:lnTo>
                  <a:lnTo>
                    <a:pt x="265" y="553"/>
                  </a:lnTo>
                  <a:lnTo>
                    <a:pt x="223" y="583"/>
                  </a:lnTo>
                  <a:lnTo>
                    <a:pt x="178" y="608"/>
                  </a:lnTo>
                  <a:lnTo>
                    <a:pt x="130" y="629"/>
                  </a:lnTo>
                  <a:lnTo>
                    <a:pt x="79" y="645"/>
                  </a:lnTo>
                  <a:lnTo>
                    <a:pt x="63" y="646"/>
                  </a:lnTo>
                  <a:lnTo>
                    <a:pt x="46" y="644"/>
                  </a:lnTo>
                  <a:lnTo>
                    <a:pt x="32" y="638"/>
                  </a:lnTo>
                  <a:lnTo>
                    <a:pt x="19" y="628"/>
                  </a:lnTo>
                  <a:lnTo>
                    <a:pt x="10" y="616"/>
                  </a:lnTo>
                  <a:lnTo>
                    <a:pt x="6" y="607"/>
                  </a:lnTo>
                  <a:lnTo>
                    <a:pt x="2" y="599"/>
                  </a:lnTo>
                  <a:lnTo>
                    <a:pt x="0" y="582"/>
                  </a:lnTo>
                  <a:lnTo>
                    <a:pt x="3" y="565"/>
                  </a:lnTo>
                  <a:lnTo>
                    <a:pt x="10" y="550"/>
                  </a:lnTo>
                  <a:lnTo>
                    <a:pt x="20" y="538"/>
                  </a:lnTo>
                  <a:lnTo>
                    <a:pt x="33" y="528"/>
                  </a:lnTo>
                  <a:lnTo>
                    <a:pt x="48" y="522"/>
                  </a:lnTo>
                  <a:lnTo>
                    <a:pt x="88" y="509"/>
                  </a:lnTo>
                  <a:lnTo>
                    <a:pt x="126" y="493"/>
                  </a:lnTo>
                  <a:lnTo>
                    <a:pt x="161" y="472"/>
                  </a:lnTo>
                  <a:lnTo>
                    <a:pt x="193" y="449"/>
                  </a:lnTo>
                  <a:lnTo>
                    <a:pt x="223" y="421"/>
                  </a:lnTo>
                  <a:lnTo>
                    <a:pt x="250" y="390"/>
                  </a:lnTo>
                  <a:lnTo>
                    <a:pt x="273" y="355"/>
                  </a:lnTo>
                  <a:lnTo>
                    <a:pt x="292" y="319"/>
                  </a:lnTo>
                  <a:lnTo>
                    <a:pt x="307" y="281"/>
                  </a:lnTo>
                  <a:lnTo>
                    <a:pt x="318" y="242"/>
                  </a:lnTo>
                  <a:lnTo>
                    <a:pt x="324" y="202"/>
                  </a:lnTo>
                  <a:lnTo>
                    <a:pt x="325" y="161"/>
                  </a:lnTo>
                  <a:lnTo>
                    <a:pt x="322" y="121"/>
                  </a:lnTo>
                  <a:lnTo>
                    <a:pt x="314" y="79"/>
                  </a:lnTo>
                  <a:lnTo>
                    <a:pt x="312" y="63"/>
                  </a:lnTo>
                  <a:lnTo>
                    <a:pt x="316" y="47"/>
                  </a:lnTo>
                  <a:lnTo>
                    <a:pt x="322" y="31"/>
                  </a:lnTo>
                  <a:lnTo>
                    <a:pt x="332" y="18"/>
                  </a:lnTo>
                  <a:lnTo>
                    <a:pt x="346" y="9"/>
                  </a:lnTo>
                  <a:lnTo>
                    <a:pt x="361" y="3"/>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9"/>
            <p:cNvSpPr>
              <a:spLocks/>
            </p:cNvSpPr>
            <p:nvPr/>
          </p:nvSpPr>
          <p:spPr bwMode="auto">
            <a:xfrm>
              <a:off x="553" y="2972"/>
              <a:ext cx="71" cy="105"/>
            </a:xfrm>
            <a:custGeom>
              <a:avLst/>
              <a:gdLst>
                <a:gd name="T0" fmla="*/ 553 w 634"/>
                <a:gd name="T1" fmla="*/ 0 h 940"/>
                <a:gd name="T2" fmla="*/ 569 w 634"/>
                <a:gd name="T3" fmla="*/ 3 h 940"/>
                <a:gd name="T4" fmla="*/ 584 w 634"/>
                <a:gd name="T5" fmla="*/ 9 h 940"/>
                <a:gd name="T6" fmla="*/ 597 w 634"/>
                <a:gd name="T7" fmla="*/ 20 h 940"/>
                <a:gd name="T8" fmla="*/ 607 w 634"/>
                <a:gd name="T9" fmla="*/ 32 h 940"/>
                <a:gd name="T10" fmla="*/ 613 w 634"/>
                <a:gd name="T11" fmla="*/ 48 h 940"/>
                <a:gd name="T12" fmla="*/ 626 w 634"/>
                <a:gd name="T13" fmla="*/ 111 h 940"/>
                <a:gd name="T14" fmla="*/ 632 w 634"/>
                <a:gd name="T15" fmla="*/ 176 h 940"/>
                <a:gd name="T16" fmla="*/ 634 w 634"/>
                <a:gd name="T17" fmla="*/ 240 h 940"/>
                <a:gd name="T18" fmla="*/ 630 w 634"/>
                <a:gd name="T19" fmla="*/ 303 h 940"/>
                <a:gd name="T20" fmla="*/ 621 w 634"/>
                <a:gd name="T21" fmla="*/ 366 h 940"/>
                <a:gd name="T22" fmla="*/ 606 w 634"/>
                <a:gd name="T23" fmla="*/ 427 h 940"/>
                <a:gd name="T24" fmla="*/ 585 w 634"/>
                <a:gd name="T25" fmla="*/ 488 h 940"/>
                <a:gd name="T26" fmla="*/ 560 w 634"/>
                <a:gd name="T27" fmla="*/ 547 h 940"/>
                <a:gd name="T28" fmla="*/ 528 w 634"/>
                <a:gd name="T29" fmla="*/ 604 h 940"/>
                <a:gd name="T30" fmla="*/ 493 w 634"/>
                <a:gd name="T31" fmla="*/ 659 h 940"/>
                <a:gd name="T32" fmla="*/ 452 w 634"/>
                <a:gd name="T33" fmla="*/ 710 h 940"/>
                <a:gd name="T34" fmla="*/ 409 w 634"/>
                <a:gd name="T35" fmla="*/ 756 h 940"/>
                <a:gd name="T36" fmla="*/ 361 w 634"/>
                <a:gd name="T37" fmla="*/ 797 h 940"/>
                <a:gd name="T38" fmla="*/ 311 w 634"/>
                <a:gd name="T39" fmla="*/ 835 h 940"/>
                <a:gd name="T40" fmla="*/ 256 w 634"/>
                <a:gd name="T41" fmla="*/ 869 h 940"/>
                <a:gd name="T42" fmla="*/ 200 w 634"/>
                <a:gd name="T43" fmla="*/ 897 h 940"/>
                <a:gd name="T44" fmla="*/ 140 w 634"/>
                <a:gd name="T45" fmla="*/ 920 h 940"/>
                <a:gd name="T46" fmla="*/ 78 w 634"/>
                <a:gd name="T47" fmla="*/ 938 h 940"/>
                <a:gd name="T48" fmla="*/ 61 w 634"/>
                <a:gd name="T49" fmla="*/ 940 h 940"/>
                <a:gd name="T50" fmla="*/ 46 w 634"/>
                <a:gd name="T51" fmla="*/ 938 h 940"/>
                <a:gd name="T52" fmla="*/ 31 w 634"/>
                <a:gd name="T53" fmla="*/ 932 h 940"/>
                <a:gd name="T54" fmla="*/ 17 w 634"/>
                <a:gd name="T55" fmla="*/ 921 h 940"/>
                <a:gd name="T56" fmla="*/ 8 w 634"/>
                <a:gd name="T57" fmla="*/ 909 h 940"/>
                <a:gd name="T58" fmla="*/ 4 w 634"/>
                <a:gd name="T59" fmla="*/ 900 h 940"/>
                <a:gd name="T60" fmla="*/ 2 w 634"/>
                <a:gd name="T61" fmla="*/ 892 h 940"/>
                <a:gd name="T62" fmla="*/ 0 w 634"/>
                <a:gd name="T63" fmla="*/ 875 h 940"/>
                <a:gd name="T64" fmla="*/ 3 w 634"/>
                <a:gd name="T65" fmla="*/ 858 h 940"/>
                <a:gd name="T66" fmla="*/ 9 w 634"/>
                <a:gd name="T67" fmla="*/ 843 h 940"/>
                <a:gd name="T68" fmla="*/ 18 w 634"/>
                <a:gd name="T69" fmla="*/ 831 h 940"/>
                <a:gd name="T70" fmla="*/ 32 w 634"/>
                <a:gd name="T71" fmla="*/ 821 h 940"/>
                <a:gd name="T72" fmla="*/ 48 w 634"/>
                <a:gd name="T73" fmla="*/ 815 h 940"/>
                <a:gd name="T74" fmla="*/ 103 w 634"/>
                <a:gd name="T75" fmla="*/ 798 h 940"/>
                <a:gd name="T76" fmla="*/ 157 w 634"/>
                <a:gd name="T77" fmla="*/ 777 h 940"/>
                <a:gd name="T78" fmla="*/ 206 w 634"/>
                <a:gd name="T79" fmla="*/ 751 h 940"/>
                <a:gd name="T80" fmla="*/ 253 w 634"/>
                <a:gd name="T81" fmla="*/ 720 h 940"/>
                <a:gd name="T82" fmla="*/ 297 w 634"/>
                <a:gd name="T83" fmla="*/ 685 h 940"/>
                <a:gd name="T84" fmla="*/ 337 w 634"/>
                <a:gd name="T85" fmla="*/ 648 h 940"/>
                <a:gd name="T86" fmla="*/ 373 w 634"/>
                <a:gd name="T87" fmla="*/ 606 h 940"/>
                <a:gd name="T88" fmla="*/ 406 w 634"/>
                <a:gd name="T89" fmla="*/ 562 h 940"/>
                <a:gd name="T90" fmla="*/ 434 w 634"/>
                <a:gd name="T91" fmla="*/ 515 h 940"/>
                <a:gd name="T92" fmla="*/ 458 w 634"/>
                <a:gd name="T93" fmla="*/ 465 h 940"/>
                <a:gd name="T94" fmla="*/ 477 w 634"/>
                <a:gd name="T95" fmla="*/ 414 h 940"/>
                <a:gd name="T96" fmla="*/ 492 w 634"/>
                <a:gd name="T97" fmla="*/ 361 h 940"/>
                <a:gd name="T98" fmla="*/ 502 w 634"/>
                <a:gd name="T99" fmla="*/ 306 h 940"/>
                <a:gd name="T100" fmla="*/ 508 w 634"/>
                <a:gd name="T101" fmla="*/ 250 h 940"/>
                <a:gd name="T102" fmla="*/ 508 w 634"/>
                <a:gd name="T103" fmla="*/ 194 h 940"/>
                <a:gd name="T104" fmla="*/ 501 w 634"/>
                <a:gd name="T105" fmla="*/ 136 h 940"/>
                <a:gd name="T106" fmla="*/ 490 w 634"/>
                <a:gd name="T107" fmla="*/ 79 h 940"/>
                <a:gd name="T108" fmla="*/ 489 w 634"/>
                <a:gd name="T109" fmla="*/ 62 h 940"/>
                <a:gd name="T110" fmla="*/ 491 w 634"/>
                <a:gd name="T111" fmla="*/ 46 h 940"/>
                <a:gd name="T112" fmla="*/ 497 w 634"/>
                <a:gd name="T113" fmla="*/ 30 h 940"/>
                <a:gd name="T114" fmla="*/ 508 w 634"/>
                <a:gd name="T115" fmla="*/ 18 h 940"/>
                <a:gd name="T116" fmla="*/ 521 w 634"/>
                <a:gd name="T117" fmla="*/ 8 h 940"/>
                <a:gd name="T118" fmla="*/ 537 w 634"/>
                <a:gd name="T119" fmla="*/ 2 h 940"/>
                <a:gd name="T120" fmla="*/ 553 w 634"/>
                <a:gd name="T121" fmla="*/ 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4" h="940">
                  <a:moveTo>
                    <a:pt x="553" y="0"/>
                  </a:moveTo>
                  <a:lnTo>
                    <a:pt x="569" y="3"/>
                  </a:lnTo>
                  <a:lnTo>
                    <a:pt x="584" y="9"/>
                  </a:lnTo>
                  <a:lnTo>
                    <a:pt x="597" y="20"/>
                  </a:lnTo>
                  <a:lnTo>
                    <a:pt x="607" y="32"/>
                  </a:lnTo>
                  <a:lnTo>
                    <a:pt x="613" y="48"/>
                  </a:lnTo>
                  <a:lnTo>
                    <a:pt x="626" y="111"/>
                  </a:lnTo>
                  <a:lnTo>
                    <a:pt x="632" y="176"/>
                  </a:lnTo>
                  <a:lnTo>
                    <a:pt x="634" y="240"/>
                  </a:lnTo>
                  <a:lnTo>
                    <a:pt x="630" y="303"/>
                  </a:lnTo>
                  <a:lnTo>
                    <a:pt x="621" y="366"/>
                  </a:lnTo>
                  <a:lnTo>
                    <a:pt x="606" y="427"/>
                  </a:lnTo>
                  <a:lnTo>
                    <a:pt x="585" y="488"/>
                  </a:lnTo>
                  <a:lnTo>
                    <a:pt x="560" y="547"/>
                  </a:lnTo>
                  <a:lnTo>
                    <a:pt x="528" y="604"/>
                  </a:lnTo>
                  <a:lnTo>
                    <a:pt x="493" y="659"/>
                  </a:lnTo>
                  <a:lnTo>
                    <a:pt x="452" y="710"/>
                  </a:lnTo>
                  <a:lnTo>
                    <a:pt x="409" y="756"/>
                  </a:lnTo>
                  <a:lnTo>
                    <a:pt x="361" y="797"/>
                  </a:lnTo>
                  <a:lnTo>
                    <a:pt x="311" y="835"/>
                  </a:lnTo>
                  <a:lnTo>
                    <a:pt x="256" y="869"/>
                  </a:lnTo>
                  <a:lnTo>
                    <a:pt x="200" y="897"/>
                  </a:lnTo>
                  <a:lnTo>
                    <a:pt x="140" y="920"/>
                  </a:lnTo>
                  <a:lnTo>
                    <a:pt x="78" y="938"/>
                  </a:lnTo>
                  <a:lnTo>
                    <a:pt x="61" y="940"/>
                  </a:lnTo>
                  <a:lnTo>
                    <a:pt x="46" y="938"/>
                  </a:lnTo>
                  <a:lnTo>
                    <a:pt x="31" y="932"/>
                  </a:lnTo>
                  <a:lnTo>
                    <a:pt x="17" y="921"/>
                  </a:lnTo>
                  <a:lnTo>
                    <a:pt x="8" y="909"/>
                  </a:lnTo>
                  <a:lnTo>
                    <a:pt x="4" y="900"/>
                  </a:lnTo>
                  <a:lnTo>
                    <a:pt x="2" y="892"/>
                  </a:lnTo>
                  <a:lnTo>
                    <a:pt x="0" y="875"/>
                  </a:lnTo>
                  <a:lnTo>
                    <a:pt x="3" y="858"/>
                  </a:lnTo>
                  <a:lnTo>
                    <a:pt x="9" y="843"/>
                  </a:lnTo>
                  <a:lnTo>
                    <a:pt x="18" y="831"/>
                  </a:lnTo>
                  <a:lnTo>
                    <a:pt x="32" y="821"/>
                  </a:lnTo>
                  <a:lnTo>
                    <a:pt x="48" y="815"/>
                  </a:lnTo>
                  <a:lnTo>
                    <a:pt x="103" y="798"/>
                  </a:lnTo>
                  <a:lnTo>
                    <a:pt x="157" y="777"/>
                  </a:lnTo>
                  <a:lnTo>
                    <a:pt x="206" y="751"/>
                  </a:lnTo>
                  <a:lnTo>
                    <a:pt x="253" y="720"/>
                  </a:lnTo>
                  <a:lnTo>
                    <a:pt x="297" y="685"/>
                  </a:lnTo>
                  <a:lnTo>
                    <a:pt x="337" y="648"/>
                  </a:lnTo>
                  <a:lnTo>
                    <a:pt x="373" y="606"/>
                  </a:lnTo>
                  <a:lnTo>
                    <a:pt x="406" y="562"/>
                  </a:lnTo>
                  <a:lnTo>
                    <a:pt x="434" y="515"/>
                  </a:lnTo>
                  <a:lnTo>
                    <a:pt x="458" y="465"/>
                  </a:lnTo>
                  <a:lnTo>
                    <a:pt x="477" y="414"/>
                  </a:lnTo>
                  <a:lnTo>
                    <a:pt x="492" y="361"/>
                  </a:lnTo>
                  <a:lnTo>
                    <a:pt x="502" y="306"/>
                  </a:lnTo>
                  <a:lnTo>
                    <a:pt x="508" y="250"/>
                  </a:lnTo>
                  <a:lnTo>
                    <a:pt x="508" y="194"/>
                  </a:lnTo>
                  <a:lnTo>
                    <a:pt x="501" y="136"/>
                  </a:lnTo>
                  <a:lnTo>
                    <a:pt x="490" y="79"/>
                  </a:lnTo>
                  <a:lnTo>
                    <a:pt x="489" y="62"/>
                  </a:lnTo>
                  <a:lnTo>
                    <a:pt x="491" y="46"/>
                  </a:lnTo>
                  <a:lnTo>
                    <a:pt x="497" y="30"/>
                  </a:lnTo>
                  <a:lnTo>
                    <a:pt x="508" y="18"/>
                  </a:lnTo>
                  <a:lnTo>
                    <a:pt x="521" y="8"/>
                  </a:lnTo>
                  <a:lnTo>
                    <a:pt x="537" y="2"/>
                  </a:lnTo>
                  <a:lnTo>
                    <a:pt x="5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5544071" y="5126225"/>
            <a:ext cx="565111" cy="391230"/>
            <a:chOff x="2337085" y="5295301"/>
            <a:chExt cx="624069" cy="432048"/>
          </a:xfrm>
          <a:noFill/>
        </p:grpSpPr>
        <p:grpSp>
          <p:nvGrpSpPr>
            <p:cNvPr id="182" name="Group 15"/>
            <p:cNvGrpSpPr/>
            <p:nvPr/>
          </p:nvGrpSpPr>
          <p:grpSpPr>
            <a:xfrm>
              <a:off x="2565110" y="5367309"/>
              <a:ext cx="204023" cy="360040"/>
              <a:chOff x="701675" y="1987550"/>
              <a:chExt cx="446088" cy="762001"/>
            </a:xfrm>
            <a:grpFill/>
          </p:grpSpPr>
          <p:sp>
            <p:nvSpPr>
              <p:cNvPr id="184" name="Freeform 10"/>
              <p:cNvSpPr>
                <a:spLocks/>
              </p:cNvSpPr>
              <p:nvPr/>
            </p:nvSpPr>
            <p:spPr bwMode="auto">
              <a:xfrm>
                <a:off x="701675" y="1987550"/>
                <a:ext cx="446088" cy="762000"/>
              </a:xfrm>
              <a:custGeom>
                <a:avLst/>
                <a:gdLst/>
                <a:ahLst/>
                <a:cxnLst>
                  <a:cxn ang="0">
                    <a:pos x="134" y="295"/>
                  </a:cxn>
                  <a:cxn ang="0">
                    <a:pos x="31" y="295"/>
                  </a:cxn>
                  <a:cxn ang="0">
                    <a:pos x="0" y="267"/>
                  </a:cxn>
                  <a:cxn ang="0">
                    <a:pos x="0" y="28"/>
                  </a:cxn>
                  <a:cxn ang="0">
                    <a:pos x="30" y="0"/>
                  </a:cxn>
                  <a:cxn ang="0">
                    <a:pos x="142" y="0"/>
                  </a:cxn>
                  <a:cxn ang="0">
                    <a:pos x="173" y="28"/>
                  </a:cxn>
                  <a:cxn ang="0">
                    <a:pos x="173" y="294"/>
                  </a:cxn>
                </a:cxnLst>
                <a:rect l="0" t="0" r="r" b="b"/>
                <a:pathLst>
                  <a:path w="173" h="295">
                    <a:moveTo>
                      <a:pt x="134" y="295"/>
                    </a:moveTo>
                    <a:cubicBezTo>
                      <a:pt x="31" y="295"/>
                      <a:pt x="31" y="295"/>
                      <a:pt x="31" y="295"/>
                    </a:cubicBezTo>
                    <a:cubicBezTo>
                      <a:pt x="10" y="295"/>
                      <a:pt x="0" y="287"/>
                      <a:pt x="0" y="267"/>
                    </a:cubicBezTo>
                    <a:cubicBezTo>
                      <a:pt x="0" y="28"/>
                      <a:pt x="0" y="28"/>
                      <a:pt x="0" y="28"/>
                    </a:cubicBezTo>
                    <a:cubicBezTo>
                      <a:pt x="0" y="8"/>
                      <a:pt x="8" y="0"/>
                      <a:pt x="30" y="0"/>
                    </a:cubicBezTo>
                    <a:cubicBezTo>
                      <a:pt x="142" y="0"/>
                      <a:pt x="142" y="0"/>
                      <a:pt x="142" y="0"/>
                    </a:cubicBezTo>
                    <a:cubicBezTo>
                      <a:pt x="164" y="0"/>
                      <a:pt x="173" y="8"/>
                      <a:pt x="173" y="28"/>
                    </a:cubicBezTo>
                    <a:cubicBezTo>
                      <a:pt x="173" y="294"/>
                      <a:pt x="173" y="294"/>
                      <a:pt x="173" y="294"/>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85" name="Freeform 11"/>
              <p:cNvSpPr>
                <a:spLocks/>
              </p:cNvSpPr>
              <p:nvPr/>
            </p:nvSpPr>
            <p:spPr bwMode="auto">
              <a:xfrm>
                <a:off x="769938" y="2049463"/>
                <a:ext cx="311150" cy="700088"/>
              </a:xfrm>
              <a:custGeom>
                <a:avLst/>
                <a:gdLst/>
                <a:ahLst/>
                <a:cxnLst>
                  <a:cxn ang="0">
                    <a:pos x="64" y="207"/>
                  </a:cxn>
                  <a:cxn ang="0">
                    <a:pos x="12" y="207"/>
                  </a:cxn>
                  <a:cxn ang="0">
                    <a:pos x="0" y="195"/>
                  </a:cxn>
                  <a:cxn ang="0">
                    <a:pos x="0" y="12"/>
                  </a:cxn>
                  <a:cxn ang="0">
                    <a:pos x="12" y="0"/>
                  </a:cxn>
                  <a:cxn ang="0">
                    <a:pos x="107" y="0"/>
                  </a:cxn>
                  <a:cxn ang="0">
                    <a:pos x="120" y="12"/>
                  </a:cxn>
                  <a:cxn ang="0">
                    <a:pos x="120" y="259"/>
                  </a:cxn>
                  <a:cxn ang="0">
                    <a:pos x="107" y="271"/>
                  </a:cxn>
                </a:cxnLst>
                <a:rect l="0" t="0" r="r" b="b"/>
                <a:pathLst>
                  <a:path w="120" h="271">
                    <a:moveTo>
                      <a:pt x="64" y="207"/>
                    </a:moveTo>
                    <a:cubicBezTo>
                      <a:pt x="12" y="207"/>
                      <a:pt x="12" y="207"/>
                      <a:pt x="12" y="207"/>
                    </a:cubicBezTo>
                    <a:cubicBezTo>
                      <a:pt x="5" y="207"/>
                      <a:pt x="0" y="202"/>
                      <a:pt x="0" y="195"/>
                    </a:cubicBezTo>
                    <a:cubicBezTo>
                      <a:pt x="0" y="12"/>
                      <a:pt x="0" y="12"/>
                      <a:pt x="0" y="12"/>
                    </a:cubicBezTo>
                    <a:cubicBezTo>
                      <a:pt x="0" y="5"/>
                      <a:pt x="5" y="0"/>
                      <a:pt x="12" y="0"/>
                    </a:cubicBezTo>
                    <a:cubicBezTo>
                      <a:pt x="107" y="0"/>
                      <a:pt x="107" y="0"/>
                      <a:pt x="107" y="0"/>
                    </a:cubicBezTo>
                    <a:cubicBezTo>
                      <a:pt x="114" y="0"/>
                      <a:pt x="120" y="5"/>
                      <a:pt x="120" y="12"/>
                    </a:cubicBezTo>
                    <a:cubicBezTo>
                      <a:pt x="120" y="259"/>
                      <a:pt x="120" y="259"/>
                      <a:pt x="120" y="259"/>
                    </a:cubicBezTo>
                    <a:cubicBezTo>
                      <a:pt x="120" y="266"/>
                      <a:pt x="114" y="271"/>
                      <a:pt x="107" y="271"/>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86" name="Freeform 12"/>
              <p:cNvSpPr>
                <a:spLocks/>
              </p:cNvSpPr>
              <p:nvPr/>
            </p:nvSpPr>
            <p:spPr bwMode="auto">
              <a:xfrm>
                <a:off x="868363" y="2584450"/>
                <a:ext cx="114300" cy="74613"/>
              </a:xfrm>
              <a:custGeom>
                <a:avLst/>
                <a:gdLst/>
                <a:ahLst/>
                <a:cxnLst>
                  <a:cxn ang="0">
                    <a:pos x="24" y="0"/>
                  </a:cxn>
                  <a:cxn ang="0">
                    <a:pos x="35" y="0"/>
                  </a:cxn>
                  <a:cxn ang="0">
                    <a:pos x="44" y="8"/>
                  </a:cxn>
                  <a:cxn ang="0">
                    <a:pos x="44" y="21"/>
                  </a:cxn>
                  <a:cxn ang="0">
                    <a:pos x="35" y="29"/>
                  </a:cxn>
                  <a:cxn ang="0">
                    <a:pos x="8" y="29"/>
                  </a:cxn>
                  <a:cxn ang="0">
                    <a:pos x="0" y="21"/>
                  </a:cxn>
                </a:cxnLst>
                <a:rect l="0" t="0" r="r" b="b"/>
                <a:pathLst>
                  <a:path w="44" h="29">
                    <a:moveTo>
                      <a:pt x="24" y="0"/>
                    </a:moveTo>
                    <a:cubicBezTo>
                      <a:pt x="35" y="0"/>
                      <a:pt x="35" y="0"/>
                      <a:pt x="35" y="0"/>
                    </a:cubicBezTo>
                    <a:cubicBezTo>
                      <a:pt x="40" y="0"/>
                      <a:pt x="44" y="4"/>
                      <a:pt x="44" y="8"/>
                    </a:cubicBezTo>
                    <a:cubicBezTo>
                      <a:pt x="44" y="21"/>
                      <a:pt x="44" y="21"/>
                      <a:pt x="44" y="21"/>
                    </a:cubicBezTo>
                    <a:cubicBezTo>
                      <a:pt x="44" y="26"/>
                      <a:pt x="40" y="29"/>
                      <a:pt x="35" y="29"/>
                    </a:cubicBezTo>
                    <a:cubicBezTo>
                      <a:pt x="8" y="29"/>
                      <a:pt x="8" y="29"/>
                      <a:pt x="8" y="29"/>
                    </a:cubicBezTo>
                    <a:cubicBezTo>
                      <a:pt x="4" y="29"/>
                      <a:pt x="0" y="26"/>
                      <a:pt x="0" y="21"/>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sp>
            <p:nvSpPr>
              <p:cNvPr id="187" name="Freeform 13"/>
              <p:cNvSpPr>
                <a:spLocks/>
              </p:cNvSpPr>
              <p:nvPr/>
            </p:nvSpPr>
            <p:spPr bwMode="auto">
              <a:xfrm>
                <a:off x="846138" y="2184400"/>
                <a:ext cx="153988" cy="288925"/>
              </a:xfrm>
              <a:custGeom>
                <a:avLst/>
                <a:gdLst/>
                <a:ahLst/>
                <a:cxnLst>
                  <a:cxn ang="0">
                    <a:pos x="57" y="99"/>
                  </a:cxn>
                  <a:cxn ang="0">
                    <a:pos x="57" y="88"/>
                  </a:cxn>
                  <a:cxn ang="0">
                    <a:pos x="44" y="66"/>
                  </a:cxn>
                  <a:cxn ang="0">
                    <a:pos x="43" y="65"/>
                  </a:cxn>
                  <a:cxn ang="0">
                    <a:pos x="33" y="48"/>
                  </a:cxn>
                  <a:cxn ang="0">
                    <a:pos x="33" y="47"/>
                  </a:cxn>
                  <a:cxn ang="0">
                    <a:pos x="34" y="47"/>
                  </a:cxn>
                  <a:cxn ang="0">
                    <a:pos x="36" y="47"/>
                  </a:cxn>
                  <a:cxn ang="0">
                    <a:pos x="37" y="47"/>
                  </a:cxn>
                  <a:cxn ang="0">
                    <a:pos x="38" y="47"/>
                  </a:cxn>
                  <a:cxn ang="0">
                    <a:pos x="41" y="50"/>
                  </a:cxn>
                  <a:cxn ang="0">
                    <a:pos x="48" y="55"/>
                  </a:cxn>
                  <a:cxn ang="0">
                    <a:pos x="52" y="53"/>
                  </a:cxn>
                  <a:cxn ang="0">
                    <a:pos x="56" y="40"/>
                  </a:cxn>
                  <a:cxn ang="0">
                    <a:pos x="48" y="28"/>
                  </a:cxn>
                  <a:cxn ang="0">
                    <a:pos x="39" y="17"/>
                  </a:cxn>
                  <a:cxn ang="0">
                    <a:pos x="28" y="10"/>
                  </a:cxn>
                  <a:cxn ang="0">
                    <a:pos x="23" y="4"/>
                  </a:cxn>
                  <a:cxn ang="0">
                    <a:pos x="21" y="3"/>
                  </a:cxn>
                  <a:cxn ang="0">
                    <a:pos x="19" y="1"/>
                  </a:cxn>
                  <a:cxn ang="0">
                    <a:pos x="16" y="0"/>
                  </a:cxn>
                  <a:cxn ang="0">
                    <a:pos x="14" y="1"/>
                  </a:cxn>
                  <a:cxn ang="0">
                    <a:pos x="14" y="6"/>
                  </a:cxn>
                  <a:cxn ang="0">
                    <a:pos x="14" y="9"/>
                  </a:cxn>
                  <a:cxn ang="0">
                    <a:pos x="14" y="11"/>
                  </a:cxn>
                  <a:cxn ang="0">
                    <a:pos x="9" y="17"/>
                  </a:cxn>
                  <a:cxn ang="0">
                    <a:pos x="1" y="39"/>
                  </a:cxn>
                  <a:cxn ang="0">
                    <a:pos x="2" y="62"/>
                  </a:cxn>
                  <a:cxn ang="0">
                    <a:pos x="5" y="73"/>
                  </a:cxn>
                  <a:cxn ang="0">
                    <a:pos x="8" y="85"/>
                  </a:cxn>
                  <a:cxn ang="0">
                    <a:pos x="8" y="96"/>
                  </a:cxn>
                  <a:cxn ang="0">
                    <a:pos x="8" y="99"/>
                  </a:cxn>
                  <a:cxn ang="0">
                    <a:pos x="4" y="105"/>
                  </a:cxn>
                  <a:cxn ang="0">
                    <a:pos x="9" y="112"/>
                  </a:cxn>
                  <a:cxn ang="0">
                    <a:pos x="56" y="112"/>
                  </a:cxn>
                  <a:cxn ang="0">
                    <a:pos x="60" y="105"/>
                  </a:cxn>
                  <a:cxn ang="0">
                    <a:pos x="57" y="99"/>
                  </a:cxn>
                </a:cxnLst>
                <a:rect l="0" t="0" r="r" b="b"/>
                <a:pathLst>
                  <a:path w="60" h="112">
                    <a:moveTo>
                      <a:pt x="57" y="99"/>
                    </a:moveTo>
                    <a:cubicBezTo>
                      <a:pt x="57" y="96"/>
                      <a:pt x="57" y="92"/>
                      <a:pt x="57" y="88"/>
                    </a:cubicBezTo>
                    <a:cubicBezTo>
                      <a:pt x="55" y="78"/>
                      <a:pt x="49" y="71"/>
                      <a:pt x="44" y="66"/>
                    </a:cubicBezTo>
                    <a:cubicBezTo>
                      <a:pt x="44" y="66"/>
                      <a:pt x="44" y="65"/>
                      <a:pt x="43" y="65"/>
                    </a:cubicBezTo>
                    <a:cubicBezTo>
                      <a:pt x="39" y="60"/>
                      <a:pt x="34" y="55"/>
                      <a:pt x="33" y="48"/>
                    </a:cubicBezTo>
                    <a:cubicBezTo>
                      <a:pt x="33" y="48"/>
                      <a:pt x="33" y="48"/>
                      <a:pt x="33" y="47"/>
                    </a:cubicBezTo>
                    <a:cubicBezTo>
                      <a:pt x="34" y="47"/>
                      <a:pt x="34" y="47"/>
                      <a:pt x="34" y="47"/>
                    </a:cubicBezTo>
                    <a:cubicBezTo>
                      <a:pt x="35" y="47"/>
                      <a:pt x="35" y="47"/>
                      <a:pt x="36" y="47"/>
                    </a:cubicBezTo>
                    <a:cubicBezTo>
                      <a:pt x="36" y="47"/>
                      <a:pt x="37" y="47"/>
                      <a:pt x="37" y="47"/>
                    </a:cubicBezTo>
                    <a:cubicBezTo>
                      <a:pt x="38" y="47"/>
                      <a:pt x="38" y="47"/>
                      <a:pt x="38" y="47"/>
                    </a:cubicBezTo>
                    <a:cubicBezTo>
                      <a:pt x="39" y="47"/>
                      <a:pt x="40" y="48"/>
                      <a:pt x="41" y="50"/>
                    </a:cubicBezTo>
                    <a:cubicBezTo>
                      <a:pt x="43" y="53"/>
                      <a:pt x="46" y="55"/>
                      <a:pt x="48" y="55"/>
                    </a:cubicBezTo>
                    <a:cubicBezTo>
                      <a:pt x="50" y="55"/>
                      <a:pt x="51" y="54"/>
                      <a:pt x="52" y="53"/>
                    </a:cubicBezTo>
                    <a:cubicBezTo>
                      <a:pt x="54" y="51"/>
                      <a:pt x="58" y="44"/>
                      <a:pt x="56" y="40"/>
                    </a:cubicBezTo>
                    <a:cubicBezTo>
                      <a:pt x="55" y="37"/>
                      <a:pt x="52" y="32"/>
                      <a:pt x="48" y="28"/>
                    </a:cubicBezTo>
                    <a:cubicBezTo>
                      <a:pt x="47" y="26"/>
                      <a:pt x="43" y="21"/>
                      <a:pt x="39" y="17"/>
                    </a:cubicBezTo>
                    <a:cubicBezTo>
                      <a:pt x="36" y="14"/>
                      <a:pt x="32" y="11"/>
                      <a:pt x="28" y="10"/>
                    </a:cubicBezTo>
                    <a:cubicBezTo>
                      <a:pt x="26" y="7"/>
                      <a:pt x="25" y="6"/>
                      <a:pt x="23" y="4"/>
                    </a:cubicBezTo>
                    <a:cubicBezTo>
                      <a:pt x="22" y="4"/>
                      <a:pt x="22" y="3"/>
                      <a:pt x="21" y="3"/>
                    </a:cubicBezTo>
                    <a:cubicBezTo>
                      <a:pt x="20" y="2"/>
                      <a:pt x="20" y="2"/>
                      <a:pt x="19" y="1"/>
                    </a:cubicBezTo>
                    <a:cubicBezTo>
                      <a:pt x="18" y="0"/>
                      <a:pt x="17" y="0"/>
                      <a:pt x="16" y="0"/>
                    </a:cubicBezTo>
                    <a:cubicBezTo>
                      <a:pt x="16" y="0"/>
                      <a:pt x="15" y="0"/>
                      <a:pt x="14" y="1"/>
                    </a:cubicBezTo>
                    <a:cubicBezTo>
                      <a:pt x="13" y="3"/>
                      <a:pt x="14" y="5"/>
                      <a:pt x="14" y="6"/>
                    </a:cubicBezTo>
                    <a:cubicBezTo>
                      <a:pt x="14" y="7"/>
                      <a:pt x="14" y="8"/>
                      <a:pt x="14" y="9"/>
                    </a:cubicBezTo>
                    <a:cubicBezTo>
                      <a:pt x="14" y="11"/>
                      <a:pt x="14" y="11"/>
                      <a:pt x="14" y="11"/>
                    </a:cubicBezTo>
                    <a:cubicBezTo>
                      <a:pt x="12" y="12"/>
                      <a:pt x="11" y="14"/>
                      <a:pt x="9" y="17"/>
                    </a:cubicBezTo>
                    <a:cubicBezTo>
                      <a:pt x="5" y="23"/>
                      <a:pt x="2" y="30"/>
                      <a:pt x="1" y="39"/>
                    </a:cubicBezTo>
                    <a:cubicBezTo>
                      <a:pt x="0" y="48"/>
                      <a:pt x="1" y="57"/>
                      <a:pt x="2" y="62"/>
                    </a:cubicBezTo>
                    <a:cubicBezTo>
                      <a:pt x="3" y="66"/>
                      <a:pt x="4" y="70"/>
                      <a:pt x="5" y="73"/>
                    </a:cubicBezTo>
                    <a:cubicBezTo>
                      <a:pt x="6" y="77"/>
                      <a:pt x="7" y="81"/>
                      <a:pt x="8" y="85"/>
                    </a:cubicBezTo>
                    <a:cubicBezTo>
                      <a:pt x="8" y="89"/>
                      <a:pt x="8" y="92"/>
                      <a:pt x="8" y="96"/>
                    </a:cubicBezTo>
                    <a:cubicBezTo>
                      <a:pt x="8" y="97"/>
                      <a:pt x="8" y="98"/>
                      <a:pt x="8" y="99"/>
                    </a:cubicBezTo>
                    <a:cubicBezTo>
                      <a:pt x="6" y="100"/>
                      <a:pt x="4" y="102"/>
                      <a:pt x="4" y="105"/>
                    </a:cubicBezTo>
                    <a:cubicBezTo>
                      <a:pt x="4" y="109"/>
                      <a:pt x="6" y="112"/>
                      <a:pt x="9" y="112"/>
                    </a:cubicBezTo>
                    <a:cubicBezTo>
                      <a:pt x="56" y="112"/>
                      <a:pt x="56" y="112"/>
                      <a:pt x="56" y="112"/>
                    </a:cubicBezTo>
                    <a:cubicBezTo>
                      <a:pt x="58" y="112"/>
                      <a:pt x="60" y="109"/>
                      <a:pt x="60" y="105"/>
                    </a:cubicBezTo>
                    <a:cubicBezTo>
                      <a:pt x="60" y="102"/>
                      <a:pt x="59" y="100"/>
                      <a:pt x="57" y="99"/>
                    </a:cubicBezTo>
                    <a:close/>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grpSp>
        <p:sp>
          <p:nvSpPr>
            <p:cNvPr id="183" name="Freeform 38"/>
            <p:cNvSpPr>
              <a:spLocks/>
            </p:cNvSpPr>
            <p:nvPr/>
          </p:nvSpPr>
          <p:spPr bwMode="auto">
            <a:xfrm>
              <a:off x="2337085" y="5295301"/>
              <a:ext cx="624069" cy="360040"/>
            </a:xfrm>
            <a:custGeom>
              <a:avLst/>
              <a:gdLst/>
              <a:ahLst/>
              <a:cxnLst>
                <a:cxn ang="0">
                  <a:pos x="242" y="178"/>
                </a:cxn>
                <a:cxn ang="0">
                  <a:pos x="289" y="131"/>
                </a:cxn>
                <a:cxn ang="0">
                  <a:pos x="242" y="83"/>
                </a:cxn>
                <a:cxn ang="0">
                  <a:pos x="241" y="83"/>
                </a:cxn>
                <a:cxn ang="0">
                  <a:pos x="241" y="81"/>
                </a:cxn>
                <a:cxn ang="0">
                  <a:pos x="160" y="0"/>
                </a:cxn>
                <a:cxn ang="0">
                  <a:pos x="84" y="53"/>
                </a:cxn>
                <a:cxn ang="0">
                  <a:pos x="64" y="50"/>
                </a:cxn>
                <a:cxn ang="0">
                  <a:pos x="0" y="114"/>
                </a:cxn>
                <a:cxn ang="0">
                  <a:pos x="64" y="178"/>
                </a:cxn>
                <a:cxn ang="0">
                  <a:pos x="100" y="178"/>
                </a:cxn>
              </a:cxnLst>
              <a:rect l="0" t="0" r="r" b="b"/>
              <a:pathLst>
                <a:path w="289" h="178">
                  <a:moveTo>
                    <a:pt x="242" y="178"/>
                  </a:moveTo>
                  <a:cubicBezTo>
                    <a:pt x="268" y="178"/>
                    <a:pt x="289" y="157"/>
                    <a:pt x="289" y="131"/>
                  </a:cubicBezTo>
                  <a:cubicBezTo>
                    <a:pt x="289" y="104"/>
                    <a:pt x="268" y="83"/>
                    <a:pt x="242" y="83"/>
                  </a:cubicBezTo>
                  <a:cubicBezTo>
                    <a:pt x="242" y="83"/>
                    <a:pt x="241" y="83"/>
                    <a:pt x="241" y="83"/>
                  </a:cubicBezTo>
                  <a:cubicBezTo>
                    <a:pt x="241" y="83"/>
                    <a:pt x="241" y="82"/>
                    <a:pt x="241" y="81"/>
                  </a:cubicBezTo>
                  <a:cubicBezTo>
                    <a:pt x="241" y="36"/>
                    <a:pt x="205" y="0"/>
                    <a:pt x="160" y="0"/>
                  </a:cubicBezTo>
                  <a:cubicBezTo>
                    <a:pt x="125" y="0"/>
                    <a:pt x="95" y="22"/>
                    <a:pt x="84" y="53"/>
                  </a:cubicBezTo>
                  <a:cubicBezTo>
                    <a:pt x="78" y="51"/>
                    <a:pt x="71" y="50"/>
                    <a:pt x="64" y="50"/>
                  </a:cubicBezTo>
                  <a:cubicBezTo>
                    <a:pt x="28" y="50"/>
                    <a:pt x="0" y="78"/>
                    <a:pt x="0" y="114"/>
                  </a:cubicBezTo>
                  <a:cubicBezTo>
                    <a:pt x="0" y="149"/>
                    <a:pt x="28" y="178"/>
                    <a:pt x="64" y="178"/>
                  </a:cubicBezTo>
                  <a:cubicBezTo>
                    <a:pt x="100" y="178"/>
                    <a:pt x="100" y="178"/>
                    <a:pt x="100" y="178"/>
                  </a:cubicBezTo>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cs typeface="Arial" pitchFamily="34" charset="0"/>
              </a:endParaRPr>
            </a:p>
          </p:txBody>
        </p:sp>
      </p:grpSp>
      <p:grpSp>
        <p:nvGrpSpPr>
          <p:cNvPr id="189" name="Groupe 383"/>
          <p:cNvGrpSpPr/>
          <p:nvPr/>
        </p:nvGrpSpPr>
        <p:grpSpPr>
          <a:xfrm>
            <a:off x="2384800" y="1555494"/>
            <a:ext cx="431400" cy="621821"/>
            <a:chOff x="3732213" y="3430588"/>
            <a:chExt cx="223838" cy="336550"/>
          </a:xfrm>
          <a:noFill/>
        </p:grpSpPr>
        <p:sp>
          <p:nvSpPr>
            <p:cNvPr id="190" name="Freeform 447"/>
            <p:cNvSpPr>
              <a:spLocks/>
            </p:cNvSpPr>
            <p:nvPr/>
          </p:nvSpPr>
          <p:spPr bwMode="auto">
            <a:xfrm>
              <a:off x="3732213" y="3430588"/>
              <a:ext cx="223838" cy="336550"/>
            </a:xfrm>
            <a:custGeom>
              <a:avLst/>
              <a:gdLst/>
              <a:ahLst/>
              <a:cxnLst>
                <a:cxn ang="0">
                  <a:pos x="92" y="127"/>
                </a:cxn>
                <a:cxn ang="0">
                  <a:pos x="62" y="79"/>
                </a:cxn>
                <a:cxn ang="0">
                  <a:pos x="62" y="69"/>
                </a:cxn>
                <a:cxn ang="0">
                  <a:pos x="89" y="11"/>
                </a:cxn>
                <a:cxn ang="0">
                  <a:pos x="97" y="11"/>
                </a:cxn>
                <a:cxn ang="0">
                  <a:pos x="97" y="0"/>
                </a:cxn>
                <a:cxn ang="0">
                  <a:pos x="2" y="1"/>
                </a:cxn>
                <a:cxn ang="0">
                  <a:pos x="2" y="12"/>
                </a:cxn>
                <a:cxn ang="0">
                  <a:pos x="10" y="12"/>
                </a:cxn>
                <a:cxn ang="0">
                  <a:pos x="39" y="70"/>
                </a:cxn>
                <a:cxn ang="0">
                  <a:pos x="39" y="79"/>
                </a:cxn>
                <a:cxn ang="0">
                  <a:pos x="11" y="138"/>
                </a:cxn>
                <a:cxn ang="0">
                  <a:pos x="3" y="138"/>
                </a:cxn>
                <a:cxn ang="0">
                  <a:pos x="3" y="149"/>
                </a:cxn>
                <a:cxn ang="0">
                  <a:pos x="98" y="148"/>
                </a:cxn>
                <a:cxn ang="0">
                  <a:pos x="98" y="137"/>
                </a:cxn>
                <a:cxn ang="0">
                  <a:pos x="18" y="138"/>
                </a:cxn>
                <a:cxn ang="0">
                  <a:pos x="51" y="78"/>
                </a:cxn>
                <a:cxn ang="0">
                  <a:pos x="84" y="137"/>
                </a:cxn>
              </a:cxnLst>
              <a:rect l="0" t="0" r="r" b="b"/>
              <a:pathLst>
                <a:path w="99" h="149">
                  <a:moveTo>
                    <a:pt x="92" y="127"/>
                  </a:moveTo>
                  <a:cubicBezTo>
                    <a:pt x="94" y="111"/>
                    <a:pt x="85" y="95"/>
                    <a:pt x="62" y="79"/>
                  </a:cubicBezTo>
                  <a:cubicBezTo>
                    <a:pt x="56" y="75"/>
                    <a:pt x="56" y="74"/>
                    <a:pt x="62" y="69"/>
                  </a:cubicBezTo>
                  <a:cubicBezTo>
                    <a:pt x="75" y="60"/>
                    <a:pt x="99" y="41"/>
                    <a:pt x="89" y="11"/>
                  </a:cubicBezTo>
                  <a:cubicBezTo>
                    <a:pt x="97" y="11"/>
                    <a:pt x="97" y="11"/>
                    <a:pt x="97" y="11"/>
                  </a:cubicBezTo>
                  <a:cubicBezTo>
                    <a:pt x="97" y="0"/>
                    <a:pt x="97" y="0"/>
                    <a:pt x="97" y="0"/>
                  </a:cubicBezTo>
                  <a:cubicBezTo>
                    <a:pt x="2" y="1"/>
                    <a:pt x="2" y="1"/>
                    <a:pt x="2" y="1"/>
                  </a:cubicBezTo>
                  <a:cubicBezTo>
                    <a:pt x="2" y="12"/>
                    <a:pt x="2" y="12"/>
                    <a:pt x="2" y="12"/>
                  </a:cubicBezTo>
                  <a:cubicBezTo>
                    <a:pt x="10" y="12"/>
                    <a:pt x="10" y="12"/>
                    <a:pt x="10" y="12"/>
                  </a:cubicBezTo>
                  <a:cubicBezTo>
                    <a:pt x="0" y="46"/>
                    <a:pt x="28" y="62"/>
                    <a:pt x="39" y="70"/>
                  </a:cubicBezTo>
                  <a:cubicBezTo>
                    <a:pt x="43" y="74"/>
                    <a:pt x="43" y="75"/>
                    <a:pt x="39" y="79"/>
                  </a:cubicBezTo>
                  <a:cubicBezTo>
                    <a:pt x="11" y="103"/>
                    <a:pt x="4" y="111"/>
                    <a:pt x="11" y="138"/>
                  </a:cubicBezTo>
                  <a:cubicBezTo>
                    <a:pt x="3" y="138"/>
                    <a:pt x="3" y="138"/>
                    <a:pt x="3" y="138"/>
                  </a:cubicBezTo>
                  <a:cubicBezTo>
                    <a:pt x="3" y="149"/>
                    <a:pt x="3" y="149"/>
                    <a:pt x="3" y="149"/>
                  </a:cubicBezTo>
                  <a:cubicBezTo>
                    <a:pt x="98" y="148"/>
                    <a:pt x="98" y="148"/>
                    <a:pt x="98" y="148"/>
                  </a:cubicBezTo>
                  <a:cubicBezTo>
                    <a:pt x="98" y="137"/>
                    <a:pt x="98" y="137"/>
                    <a:pt x="98" y="137"/>
                  </a:cubicBezTo>
                  <a:cubicBezTo>
                    <a:pt x="18" y="138"/>
                    <a:pt x="18" y="138"/>
                    <a:pt x="18" y="138"/>
                  </a:cubicBezTo>
                  <a:cubicBezTo>
                    <a:pt x="15" y="113"/>
                    <a:pt x="51" y="103"/>
                    <a:pt x="51" y="78"/>
                  </a:cubicBezTo>
                  <a:cubicBezTo>
                    <a:pt x="52" y="103"/>
                    <a:pt x="86" y="112"/>
                    <a:pt x="84" y="137"/>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pitchFamily="34" charset="0"/>
                <a:cs typeface="Arial" pitchFamily="34" charset="0"/>
              </a:endParaRPr>
            </a:p>
          </p:txBody>
        </p:sp>
        <p:sp>
          <p:nvSpPr>
            <p:cNvPr id="191" name="Freeform 448"/>
            <p:cNvSpPr>
              <a:spLocks/>
            </p:cNvSpPr>
            <p:nvPr/>
          </p:nvSpPr>
          <p:spPr bwMode="auto">
            <a:xfrm>
              <a:off x="3773488" y="3509963"/>
              <a:ext cx="141288" cy="82550"/>
            </a:xfrm>
            <a:custGeom>
              <a:avLst/>
              <a:gdLst/>
              <a:ahLst/>
              <a:cxnLst>
                <a:cxn ang="0">
                  <a:pos x="34" y="37"/>
                </a:cxn>
                <a:cxn ang="0">
                  <a:pos x="0" y="0"/>
                </a:cxn>
                <a:cxn ang="0">
                  <a:pos x="35" y="3"/>
                </a:cxn>
                <a:cxn ang="0">
                  <a:pos x="63" y="5"/>
                </a:cxn>
                <a:cxn ang="0">
                  <a:pos x="34" y="37"/>
                </a:cxn>
              </a:cxnLst>
              <a:rect l="0" t="0" r="r" b="b"/>
              <a:pathLst>
                <a:path w="63" h="37">
                  <a:moveTo>
                    <a:pt x="34" y="37"/>
                  </a:moveTo>
                  <a:cubicBezTo>
                    <a:pt x="28" y="24"/>
                    <a:pt x="13" y="23"/>
                    <a:pt x="0" y="0"/>
                  </a:cubicBezTo>
                  <a:cubicBezTo>
                    <a:pt x="19" y="0"/>
                    <a:pt x="28" y="0"/>
                    <a:pt x="35" y="3"/>
                  </a:cubicBezTo>
                  <a:cubicBezTo>
                    <a:pt x="42" y="6"/>
                    <a:pt x="53" y="4"/>
                    <a:pt x="63" y="5"/>
                  </a:cubicBezTo>
                  <a:cubicBezTo>
                    <a:pt x="54" y="21"/>
                    <a:pt x="39" y="24"/>
                    <a:pt x="34" y="37"/>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pitchFamily="34" charset="0"/>
                <a:cs typeface="Arial" pitchFamily="34" charset="0"/>
              </a:endParaRPr>
            </a:p>
          </p:txBody>
        </p:sp>
        <p:sp>
          <p:nvSpPr>
            <p:cNvPr id="192" name="Line 449"/>
            <p:cNvSpPr>
              <a:spLocks noChangeShapeType="1"/>
            </p:cNvSpPr>
            <p:nvPr/>
          </p:nvSpPr>
          <p:spPr bwMode="auto">
            <a:xfrm flipV="1">
              <a:off x="3754438" y="3457575"/>
              <a:ext cx="161925"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278634602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Oval 20">
            <a:extLst>
              <a:ext uri="{FF2B5EF4-FFF2-40B4-BE49-F238E27FC236}">
                <a16:creationId xmlns:a16="http://schemas.microsoft.com/office/drawing/2014/main" id="{9C2AC58A-2394-426D-A233-0B9295F3F228}"/>
              </a:ext>
            </a:extLst>
          </p:cNvPr>
          <p:cNvSpPr/>
          <p:nvPr/>
        </p:nvSpPr>
        <p:spPr>
          <a:xfrm>
            <a:off x="5716248" y="4405567"/>
            <a:ext cx="741301" cy="79310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0" name="Oval 20">
            <a:extLst>
              <a:ext uri="{FF2B5EF4-FFF2-40B4-BE49-F238E27FC236}">
                <a16:creationId xmlns:a16="http://schemas.microsoft.com/office/drawing/2014/main" id="{F3563972-1F7D-4427-9433-11F1254764EE}"/>
              </a:ext>
            </a:extLst>
          </p:cNvPr>
          <p:cNvSpPr/>
          <p:nvPr/>
        </p:nvSpPr>
        <p:spPr>
          <a:xfrm>
            <a:off x="3488902" y="4892397"/>
            <a:ext cx="741301" cy="79310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8" name="Oval 20">
            <a:extLst>
              <a:ext uri="{FF2B5EF4-FFF2-40B4-BE49-F238E27FC236}">
                <a16:creationId xmlns:a16="http://schemas.microsoft.com/office/drawing/2014/main" id="{331917D7-16B4-48FE-914B-04D2E8E7E40D}"/>
              </a:ext>
            </a:extLst>
          </p:cNvPr>
          <p:cNvSpPr/>
          <p:nvPr/>
        </p:nvSpPr>
        <p:spPr>
          <a:xfrm>
            <a:off x="3508885" y="3908304"/>
            <a:ext cx="741301" cy="79310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7" name="Oval 20">
            <a:extLst>
              <a:ext uri="{FF2B5EF4-FFF2-40B4-BE49-F238E27FC236}">
                <a16:creationId xmlns:a16="http://schemas.microsoft.com/office/drawing/2014/main" id="{EF7F6020-4F8C-4312-8936-33C8559FBC82}"/>
              </a:ext>
            </a:extLst>
          </p:cNvPr>
          <p:cNvSpPr/>
          <p:nvPr/>
        </p:nvSpPr>
        <p:spPr>
          <a:xfrm>
            <a:off x="5722601" y="3491895"/>
            <a:ext cx="741301" cy="79310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9" name="Oval 20">
            <a:extLst>
              <a:ext uri="{FF2B5EF4-FFF2-40B4-BE49-F238E27FC236}">
                <a16:creationId xmlns:a16="http://schemas.microsoft.com/office/drawing/2014/main" id="{4B8C90F0-86B7-483D-8A2D-0E8AB056871C}"/>
              </a:ext>
            </a:extLst>
          </p:cNvPr>
          <p:cNvSpPr/>
          <p:nvPr/>
        </p:nvSpPr>
        <p:spPr>
          <a:xfrm>
            <a:off x="5719569" y="2608186"/>
            <a:ext cx="741301" cy="79310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8" name="Oval 20">
            <a:extLst>
              <a:ext uri="{FF2B5EF4-FFF2-40B4-BE49-F238E27FC236}">
                <a16:creationId xmlns:a16="http://schemas.microsoft.com/office/drawing/2014/main" id="{497DD3EE-423D-4A68-949A-51570211321D}"/>
              </a:ext>
            </a:extLst>
          </p:cNvPr>
          <p:cNvSpPr/>
          <p:nvPr/>
        </p:nvSpPr>
        <p:spPr>
          <a:xfrm>
            <a:off x="3526039" y="3046456"/>
            <a:ext cx="687278" cy="7532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BA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7" name="Oval 20">
            <a:extLst>
              <a:ext uri="{FF2B5EF4-FFF2-40B4-BE49-F238E27FC236}">
                <a16:creationId xmlns:a16="http://schemas.microsoft.com/office/drawing/2014/main" id="{04DE8226-3FF2-40C1-8C98-A038729C9EF2}"/>
              </a:ext>
            </a:extLst>
          </p:cNvPr>
          <p:cNvSpPr/>
          <p:nvPr/>
        </p:nvSpPr>
        <p:spPr>
          <a:xfrm>
            <a:off x="3451227" y="1999153"/>
            <a:ext cx="732538" cy="81147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6" name="Oval 20">
            <a:extLst>
              <a:ext uri="{FF2B5EF4-FFF2-40B4-BE49-F238E27FC236}">
                <a16:creationId xmlns:a16="http://schemas.microsoft.com/office/drawing/2014/main" id="{AACEB5F6-1E94-4519-AB3B-21CF8E39A2FE}"/>
              </a:ext>
            </a:extLst>
          </p:cNvPr>
          <p:cNvSpPr/>
          <p:nvPr/>
        </p:nvSpPr>
        <p:spPr>
          <a:xfrm>
            <a:off x="5715609" y="1613034"/>
            <a:ext cx="677734" cy="65950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9730" name="Rectangle 2"/>
          <p:cNvSpPr>
            <a:spLocks noGrp="1" noChangeArrowheads="1"/>
          </p:cNvSpPr>
          <p:nvPr>
            <p:ph type="title"/>
          </p:nvPr>
        </p:nvSpPr>
        <p:spPr>
          <a:xfrm>
            <a:off x="331490" y="404813"/>
            <a:ext cx="8892484" cy="865054"/>
          </a:xfrm>
        </p:spPr>
        <p:txBody>
          <a:bodyPr/>
          <a:lstStyle/>
          <a:p>
            <a:pPr lvl="0" defTabSz="914400">
              <a:defRPr/>
            </a:pPr>
            <a:r>
              <a:rPr sz="2100" b="1">
                <a:latin typeface="Verdana"/>
                <a:ea typeface="Verdana"/>
                <a:cs typeface="Verdana"/>
              </a:rPr>
              <a:t>Your Career Story in </a:t>
            </a:r>
            <a:r>
              <a:rPr lang="en-US" sz="3200" b="1" kern="0">
                <a:latin typeface="Arial"/>
                <a:ea typeface="Calibri" pitchFamily="34" charset="0"/>
                <a:cs typeface="Arial"/>
              </a:rPr>
              <a:t>Capgemini</a:t>
            </a:r>
          </a:p>
        </p:txBody>
      </p:sp>
      <p:sp>
        <p:nvSpPr>
          <p:cNvPr id="110" name="Rounded Rectangle 109"/>
          <p:cNvSpPr/>
          <p:nvPr/>
        </p:nvSpPr>
        <p:spPr>
          <a:xfrm>
            <a:off x="6378775" y="1654084"/>
            <a:ext cx="3154680" cy="581893"/>
          </a:xfrm>
          <a:prstGeom prst="roundRect">
            <a:avLst/>
          </a:prstGeom>
          <a:noFill/>
          <a:ln w="9525" cap="flat" cmpd="sng" algn="ctr">
            <a:solidFill>
              <a:schemeClr val="bg1">
                <a:lumMod val="85000"/>
              </a:schemeClr>
            </a:solidFill>
            <a:prstDash val="solid"/>
          </a:ln>
          <a:effectLst/>
        </p:spPr>
        <p:txBody>
          <a:bodyPr lIns="0" tIns="0" rIns="274320" bIns="0" rtlCol="0" anchor="ctr"/>
          <a:lstStyle/>
          <a:p>
            <a:pPr algn="ctr" defTabSz="914400">
              <a:defRPr/>
            </a:pPr>
            <a:r>
              <a:rPr lang="en-US" sz="1300" b="1" kern="0">
                <a:latin typeface="Arial"/>
                <a:ea typeface="Calibri" pitchFamily="34" charset="0"/>
                <a:cs typeface="Arial"/>
              </a:rPr>
              <a:t>Career Framework</a:t>
            </a:r>
            <a:endParaRPr lang="en-US" sz="1300" kern="0">
              <a:latin typeface="Arial"/>
              <a:ea typeface="Calibri" pitchFamily="34" charset="0"/>
              <a:cs typeface="Arial"/>
            </a:endParaRPr>
          </a:p>
        </p:txBody>
      </p:sp>
      <p:sp>
        <p:nvSpPr>
          <p:cNvPr id="111" name="Rounded Rectangle 110"/>
          <p:cNvSpPr/>
          <p:nvPr/>
        </p:nvSpPr>
        <p:spPr>
          <a:xfrm>
            <a:off x="344487" y="3249198"/>
            <a:ext cx="3154680" cy="534848"/>
          </a:xfrm>
          <a:prstGeom prst="roundRect">
            <a:avLst/>
          </a:prstGeom>
          <a:noFill/>
          <a:ln w="9525" cap="flat" cmpd="sng" algn="ctr">
            <a:solidFill>
              <a:schemeClr val="bg1">
                <a:lumMod val="85000"/>
              </a:schemeClr>
            </a:solidFill>
            <a:prstDash val="solid"/>
          </a:ln>
          <a:effectLst/>
        </p:spPr>
        <p:txBody>
          <a:bodyPr lIns="0" tIns="0" rIns="274320" bIns="0" rtlCol="0" anchor="ctr"/>
          <a:lstStyle/>
          <a:p>
            <a:pPr algn="ctr" defTabSz="914400">
              <a:defRPr/>
            </a:pPr>
            <a:r>
              <a:rPr lang="en-US" sz="1300" b="1" kern="0">
                <a:latin typeface="Arial"/>
                <a:ea typeface="Calibri" pitchFamily="34" charset="0"/>
                <a:cs typeface="Arial"/>
              </a:rPr>
              <a:t>Meet your Partners</a:t>
            </a:r>
            <a:endParaRPr lang="en-US" sz="1300" kern="0">
              <a:latin typeface="Arial"/>
              <a:ea typeface="Calibri" pitchFamily="34" charset="0"/>
              <a:cs typeface="Arial"/>
            </a:endParaRPr>
          </a:p>
        </p:txBody>
      </p:sp>
      <p:sp>
        <p:nvSpPr>
          <p:cNvPr id="112" name="Rounded Rectangle 111"/>
          <p:cNvSpPr/>
          <p:nvPr/>
        </p:nvSpPr>
        <p:spPr>
          <a:xfrm>
            <a:off x="344487" y="4122993"/>
            <a:ext cx="3154680" cy="365760"/>
          </a:xfrm>
          <a:prstGeom prst="roundRect">
            <a:avLst/>
          </a:prstGeom>
          <a:noFill/>
          <a:ln w="9525" cap="flat" cmpd="sng" algn="ctr">
            <a:solidFill>
              <a:schemeClr val="bg1">
                <a:lumMod val="85000"/>
              </a:schemeClr>
            </a:solidFill>
            <a:prstDash val="solid"/>
          </a:ln>
          <a:effectLst/>
        </p:spPr>
        <p:txBody>
          <a:bodyPr lIns="0" tIns="0" rIns="274320" bIns="0" rtlCol="0" anchor="ctr"/>
          <a:lstStyle/>
          <a:p>
            <a:pPr algn="ctr" defTabSz="914400">
              <a:defRPr/>
            </a:pPr>
            <a:endParaRPr lang="en-US" sz="1300" b="1" kern="0">
              <a:solidFill>
                <a:schemeClr val="bg1"/>
              </a:solidFill>
              <a:latin typeface="Arial" pitchFamily="34" charset="0"/>
              <a:ea typeface="Calibri" pitchFamily="34" charset="0"/>
              <a:cs typeface="Arial" pitchFamily="34" charset="0"/>
            </a:endParaRPr>
          </a:p>
          <a:p>
            <a:pPr algn="ctr" defTabSz="914400">
              <a:defRPr/>
            </a:pPr>
            <a:r>
              <a:rPr lang="en-US" sz="1300" b="1" kern="0">
                <a:latin typeface="Arial"/>
                <a:ea typeface="Calibri" pitchFamily="34" charset="0"/>
                <a:cs typeface="Arial"/>
              </a:rPr>
              <a:t>Learning &amp; Development</a:t>
            </a:r>
            <a:endParaRPr lang="en-US" sz="1100" kern="0">
              <a:latin typeface="Arial"/>
              <a:ea typeface="Calibri" pitchFamily="34" charset="0"/>
              <a:cs typeface="Arial"/>
            </a:endParaRPr>
          </a:p>
          <a:p>
            <a:pPr algn="ctr" defTabSz="914400">
              <a:defRPr/>
            </a:pPr>
            <a:endParaRPr lang="en-US" sz="1100" kern="0">
              <a:solidFill>
                <a:schemeClr val="bg1"/>
              </a:solidFill>
              <a:latin typeface="Arial" pitchFamily="34" charset="0"/>
              <a:ea typeface="Calibri" pitchFamily="34" charset="0"/>
              <a:cs typeface="Arial" pitchFamily="34" charset="0"/>
            </a:endParaRPr>
          </a:p>
        </p:txBody>
      </p:sp>
      <p:sp>
        <p:nvSpPr>
          <p:cNvPr id="113" name="Rounded Rectangle 112"/>
          <p:cNvSpPr/>
          <p:nvPr/>
        </p:nvSpPr>
        <p:spPr>
          <a:xfrm>
            <a:off x="344487" y="5069681"/>
            <a:ext cx="3154680" cy="365760"/>
          </a:xfrm>
          <a:prstGeom prst="roundRect">
            <a:avLst/>
          </a:prstGeom>
          <a:noFill/>
          <a:ln w="9525" cap="flat" cmpd="sng" algn="ctr">
            <a:solidFill>
              <a:schemeClr val="bg1">
                <a:lumMod val="85000"/>
              </a:schemeClr>
            </a:solidFill>
            <a:prstDash val="solid"/>
          </a:ln>
          <a:effectLst/>
        </p:spPr>
        <p:txBody>
          <a:bodyPr lIns="0" tIns="0" rIns="274320" bIns="0" rtlCol="0" anchor="ctr"/>
          <a:lstStyle/>
          <a:p>
            <a:pPr algn="ctr" defTabSz="914400">
              <a:defRPr/>
            </a:pPr>
            <a:r>
              <a:rPr lang="en-US" sz="1300" b="1" kern="0">
                <a:latin typeface="Arial"/>
                <a:ea typeface="Calibri" pitchFamily="34" charset="0"/>
                <a:cs typeface="Arial"/>
              </a:rPr>
              <a:t>For you to</a:t>
            </a:r>
            <a:r>
              <a:rPr lang="en-US" sz="1300" kern="0">
                <a:latin typeface="Arial"/>
                <a:ea typeface="Calibri" pitchFamily="34" charset="0"/>
                <a:cs typeface="Arial"/>
              </a:rPr>
              <a:t> </a:t>
            </a:r>
            <a:r>
              <a:rPr lang="en-US" sz="1300" b="1" kern="0">
                <a:latin typeface="Arial"/>
                <a:ea typeface="Calibri" pitchFamily="34" charset="0"/>
                <a:cs typeface="Arial"/>
              </a:rPr>
              <a:t>use &amp; Appendix</a:t>
            </a:r>
          </a:p>
        </p:txBody>
      </p:sp>
      <p:sp>
        <p:nvSpPr>
          <p:cNvPr id="114" name="Rounded Rectangle 113"/>
          <p:cNvSpPr/>
          <p:nvPr/>
        </p:nvSpPr>
        <p:spPr>
          <a:xfrm>
            <a:off x="292833" y="2213271"/>
            <a:ext cx="3154680" cy="365760"/>
          </a:xfrm>
          <a:prstGeom prst="roundRect">
            <a:avLst/>
          </a:prstGeom>
          <a:noFill/>
          <a:ln w="9525" cap="flat" cmpd="sng" algn="ctr">
            <a:solidFill>
              <a:schemeClr val="bg1">
                <a:lumMod val="85000"/>
              </a:schemeClr>
            </a:solidFill>
            <a:prstDash val="solid"/>
          </a:ln>
          <a:effectLst/>
        </p:spPr>
        <p:txBody>
          <a:bodyPr lIns="274320" tIns="0" rIns="0" bIns="0" rtlCol="0" anchor="ctr"/>
          <a:lstStyle/>
          <a:p>
            <a:pPr lvl="0" defTabSz="914400">
              <a:defRPr/>
            </a:pPr>
            <a:r>
              <a:rPr lang="en-US" sz="1300" b="1" kern="0">
                <a:latin typeface="Arial"/>
                <a:ea typeface="Calibri" pitchFamily="34" charset="0"/>
                <a:cs typeface="Arial"/>
              </a:rPr>
              <a:t>Growing @ Capgemini</a:t>
            </a:r>
          </a:p>
        </p:txBody>
      </p:sp>
      <p:sp>
        <p:nvSpPr>
          <p:cNvPr id="115" name="Rounded Rectangle 114"/>
          <p:cNvSpPr/>
          <p:nvPr/>
        </p:nvSpPr>
        <p:spPr>
          <a:xfrm>
            <a:off x="6523920" y="2714960"/>
            <a:ext cx="3154680" cy="365760"/>
          </a:xfrm>
          <a:prstGeom prst="roundRect">
            <a:avLst/>
          </a:prstGeom>
          <a:noFill/>
          <a:ln w="9525" cap="flat" cmpd="sng" algn="ctr">
            <a:solidFill>
              <a:schemeClr val="bg1">
                <a:lumMod val="85000"/>
              </a:schemeClr>
            </a:solidFill>
            <a:prstDash val="solid"/>
          </a:ln>
          <a:effectLst/>
        </p:spPr>
        <p:txBody>
          <a:bodyPr lIns="274320" tIns="0" rIns="0" bIns="0" rtlCol="0" anchor="ctr"/>
          <a:lstStyle/>
          <a:p>
            <a:pPr defTabSz="914400">
              <a:defRPr/>
            </a:pPr>
            <a:r>
              <a:rPr lang="en-US" sz="1300" b="1" kern="0">
                <a:latin typeface="Arial" pitchFamily="34" charset="0"/>
                <a:ea typeface="Calibri" pitchFamily="34" charset="0"/>
                <a:cs typeface="Arial" pitchFamily="34" charset="0"/>
              </a:rPr>
              <a:t>Performance Management</a:t>
            </a:r>
            <a:endParaRPr lang="en-US" sz="1300" kern="0">
              <a:latin typeface="Arial" pitchFamily="34" charset="0"/>
              <a:ea typeface="Calibri" pitchFamily="34" charset="0"/>
              <a:cs typeface="Arial" pitchFamily="34" charset="0"/>
            </a:endParaRPr>
          </a:p>
        </p:txBody>
      </p:sp>
      <p:sp>
        <p:nvSpPr>
          <p:cNvPr id="116" name="Rounded Rectangle 115"/>
          <p:cNvSpPr/>
          <p:nvPr/>
        </p:nvSpPr>
        <p:spPr>
          <a:xfrm>
            <a:off x="6523920" y="3681246"/>
            <a:ext cx="3154680" cy="365760"/>
          </a:xfrm>
          <a:prstGeom prst="roundRect">
            <a:avLst/>
          </a:prstGeom>
          <a:noFill/>
          <a:ln w="9525" cap="flat" cmpd="sng" algn="ctr">
            <a:solidFill>
              <a:schemeClr val="bg1">
                <a:lumMod val="85000"/>
              </a:schemeClr>
            </a:solidFill>
            <a:prstDash val="solid"/>
          </a:ln>
          <a:effectLst/>
        </p:spPr>
        <p:txBody>
          <a:bodyPr lIns="274320" tIns="0" rIns="0" bIns="0" rtlCol="0" anchor="ctr"/>
          <a:lstStyle/>
          <a:p>
            <a:pPr defTabSz="914400">
              <a:defRPr/>
            </a:pPr>
            <a:r>
              <a:rPr lang="en-US" sz="1300" b="1" kern="0">
                <a:solidFill>
                  <a:schemeClr val="tx1">
                    <a:lumMod val="75000"/>
                  </a:schemeClr>
                </a:solidFill>
                <a:latin typeface="Arial" pitchFamily="34" charset="0"/>
                <a:ea typeface="Calibri" pitchFamily="34" charset="0"/>
                <a:cs typeface="Arial" pitchFamily="34" charset="0"/>
              </a:rPr>
              <a:t>Talent Management</a:t>
            </a:r>
            <a:endParaRPr lang="en-US" sz="1300" kern="0">
              <a:solidFill>
                <a:schemeClr val="tx1">
                  <a:lumMod val="75000"/>
                </a:schemeClr>
              </a:solidFill>
              <a:latin typeface="Arial" pitchFamily="34" charset="0"/>
              <a:ea typeface="Calibri" pitchFamily="34" charset="0"/>
              <a:cs typeface="Arial" pitchFamily="34" charset="0"/>
            </a:endParaRPr>
          </a:p>
        </p:txBody>
      </p:sp>
      <p:sp>
        <p:nvSpPr>
          <p:cNvPr id="117" name="Rounded Rectangle 116"/>
          <p:cNvSpPr/>
          <p:nvPr/>
        </p:nvSpPr>
        <p:spPr>
          <a:xfrm>
            <a:off x="6409799" y="4434198"/>
            <a:ext cx="3227258" cy="638022"/>
          </a:xfrm>
          <a:prstGeom prst="roundRect">
            <a:avLst/>
          </a:prstGeom>
          <a:noFill/>
          <a:ln w="9525" cap="flat" cmpd="sng" algn="ctr">
            <a:solidFill>
              <a:schemeClr val="bg1">
                <a:lumMod val="85000"/>
              </a:schemeClr>
            </a:solidFill>
            <a:prstDash val="solid"/>
          </a:ln>
          <a:effectLst/>
        </p:spPr>
        <p:txBody>
          <a:bodyPr lIns="274320" tIns="0" rIns="0" bIns="0" rtlCol="0" anchor="ctr"/>
          <a:lstStyle/>
          <a:p>
            <a:pPr algn="ctr" defTabSz="914400">
              <a:defRPr/>
            </a:pPr>
            <a:r>
              <a:rPr lang="en-US" sz="1300" kern="0">
                <a:latin typeface="Arial" pitchFamily="34" charset="0"/>
                <a:ea typeface="Calibri" pitchFamily="34" charset="0"/>
                <a:cs typeface="Arial" pitchFamily="34" charset="0"/>
              </a:rPr>
              <a:t>Our</a:t>
            </a:r>
            <a:r>
              <a:rPr lang="en-US" sz="1300" b="1" kern="0">
                <a:latin typeface="Arial" pitchFamily="34" charset="0"/>
                <a:ea typeface="Calibri" pitchFamily="34" charset="0"/>
                <a:cs typeface="Arial" pitchFamily="34" charset="0"/>
              </a:rPr>
              <a:t> Six Dimensions of Leadership</a:t>
            </a:r>
            <a:endParaRPr lang="en-US" sz="1300" kern="0">
              <a:latin typeface="Arial" pitchFamily="34" charset="0"/>
              <a:ea typeface="Calibri" pitchFamily="34" charset="0"/>
              <a:cs typeface="Arial" pitchFamily="34" charset="0"/>
            </a:endParaRPr>
          </a:p>
        </p:txBody>
      </p:sp>
      <p:cxnSp>
        <p:nvCxnSpPr>
          <p:cNvPr id="119" name="Straight Connector 118"/>
          <p:cNvCxnSpPr/>
          <p:nvPr/>
        </p:nvCxnSpPr>
        <p:spPr>
          <a:xfrm>
            <a:off x="4989134" y="1537221"/>
            <a:ext cx="0" cy="4286250"/>
          </a:xfrm>
          <a:prstGeom prst="line">
            <a:avLst/>
          </a:prstGeom>
          <a:noFill/>
          <a:ln w="25400" cap="flat" cmpd="sng" algn="ctr">
            <a:solidFill>
              <a:srgbClr val="FFFFFE">
                <a:lumMod val="10000"/>
              </a:srgbClr>
            </a:solidFill>
            <a:prstDash val="solid"/>
            <a:headEnd type="oval" w="med" len="med"/>
            <a:tailEnd type="oval" w="med" len="med"/>
          </a:ln>
          <a:effectLst/>
        </p:spPr>
      </p:cxnSp>
      <p:sp>
        <p:nvSpPr>
          <p:cNvPr id="120" name="Oval 119"/>
          <p:cNvSpPr/>
          <p:nvPr/>
        </p:nvSpPr>
        <p:spPr>
          <a:xfrm>
            <a:off x="4899083" y="2325785"/>
            <a:ext cx="180974" cy="180974"/>
          </a:xfrm>
          <a:prstGeom prst="ellipse">
            <a:avLst/>
          </a:prstGeom>
          <a:solidFill>
            <a:schemeClr val="accent1">
              <a:lumMod val="75000"/>
            </a:schemeClr>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21" name="Shape 179"/>
          <p:cNvCxnSpPr>
            <a:cxnSpLocks/>
          </p:cNvCxnSpPr>
          <p:nvPr/>
        </p:nvCxnSpPr>
        <p:spPr>
          <a:xfrm flipV="1">
            <a:off x="4191419" y="2416286"/>
            <a:ext cx="707662" cy="1865"/>
          </a:xfrm>
          <a:prstGeom prst="straightConnector1">
            <a:avLst/>
          </a:prstGeom>
          <a:noFill/>
          <a:ln w="6350" cap="flat" cmpd="sng" algn="ctr">
            <a:solidFill>
              <a:schemeClr val="accent1">
                <a:lumMod val="75000"/>
              </a:schemeClr>
            </a:solidFill>
            <a:prstDash val="dash"/>
            <a:headEnd type="triangle" w="med" len="med"/>
            <a:tailEnd type="none" w="med" len="med"/>
          </a:ln>
          <a:effectLst/>
        </p:spPr>
      </p:cxnSp>
      <p:sp>
        <p:nvSpPr>
          <p:cNvPr id="122" name="Oval 121"/>
          <p:cNvSpPr/>
          <p:nvPr/>
        </p:nvSpPr>
        <p:spPr>
          <a:xfrm>
            <a:off x="4927658" y="2354360"/>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23" name="Oval 122"/>
          <p:cNvSpPr/>
          <p:nvPr/>
        </p:nvSpPr>
        <p:spPr>
          <a:xfrm>
            <a:off x="4899083" y="3271616"/>
            <a:ext cx="180974" cy="180974"/>
          </a:xfrm>
          <a:prstGeom prst="ellipse">
            <a:avLst/>
          </a:prstGeom>
          <a:solidFill>
            <a:schemeClr val="tx2">
              <a:lumMod val="50000"/>
              <a:lumOff val="50000"/>
            </a:schemeClr>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24" name="Shape 179"/>
          <p:cNvCxnSpPr>
            <a:cxnSpLocks/>
          </p:cNvCxnSpPr>
          <p:nvPr/>
        </p:nvCxnSpPr>
        <p:spPr>
          <a:xfrm flipV="1">
            <a:off x="4191419" y="3362103"/>
            <a:ext cx="707662" cy="842"/>
          </a:xfrm>
          <a:prstGeom prst="straightConnector1">
            <a:avLst/>
          </a:prstGeom>
          <a:noFill/>
          <a:ln w="6350" cap="flat" cmpd="sng" algn="ctr">
            <a:solidFill>
              <a:schemeClr val="tx2">
                <a:lumMod val="50000"/>
                <a:lumOff val="50000"/>
              </a:schemeClr>
            </a:solidFill>
            <a:prstDash val="dash"/>
            <a:headEnd type="triangle" w="med" len="med"/>
            <a:tailEnd type="none" w="med" len="med"/>
          </a:ln>
          <a:effectLst/>
        </p:spPr>
      </p:cxnSp>
      <p:sp>
        <p:nvSpPr>
          <p:cNvPr id="125" name="Oval 124"/>
          <p:cNvSpPr/>
          <p:nvPr/>
        </p:nvSpPr>
        <p:spPr>
          <a:xfrm>
            <a:off x="4927658" y="3300191"/>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26" name="Oval 125"/>
          <p:cNvSpPr/>
          <p:nvPr/>
        </p:nvSpPr>
        <p:spPr>
          <a:xfrm>
            <a:off x="4899083" y="4220152"/>
            <a:ext cx="180974" cy="180974"/>
          </a:xfrm>
          <a:prstGeom prst="ellipse">
            <a:avLst/>
          </a:prstGeom>
          <a:solidFill>
            <a:srgbClr val="F26531">
              <a:lumMod val="75000"/>
            </a:srgbClr>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27" name="Shape 179"/>
          <p:cNvCxnSpPr>
            <a:cxnSpLocks/>
          </p:cNvCxnSpPr>
          <p:nvPr/>
        </p:nvCxnSpPr>
        <p:spPr>
          <a:xfrm>
            <a:off x="4191419" y="4307753"/>
            <a:ext cx="707662" cy="2886"/>
          </a:xfrm>
          <a:prstGeom prst="straightConnector1">
            <a:avLst/>
          </a:prstGeom>
          <a:noFill/>
          <a:ln w="6350" cap="flat" cmpd="sng" algn="ctr">
            <a:solidFill>
              <a:srgbClr val="F26531">
                <a:lumMod val="75000"/>
              </a:srgbClr>
            </a:solidFill>
            <a:prstDash val="dash"/>
            <a:headEnd type="triangle" w="med" len="med"/>
            <a:tailEnd type="none" w="med" len="med"/>
          </a:ln>
          <a:effectLst/>
        </p:spPr>
      </p:cxnSp>
      <p:sp>
        <p:nvSpPr>
          <p:cNvPr id="128" name="Oval 127"/>
          <p:cNvSpPr/>
          <p:nvPr/>
        </p:nvSpPr>
        <p:spPr>
          <a:xfrm>
            <a:off x="4927658" y="4248727"/>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29" name="Oval 128"/>
          <p:cNvSpPr/>
          <p:nvPr/>
        </p:nvSpPr>
        <p:spPr>
          <a:xfrm>
            <a:off x="4899083" y="5178948"/>
            <a:ext cx="180974" cy="180974"/>
          </a:xfrm>
          <a:prstGeom prst="ellipse">
            <a:avLst/>
          </a:prstGeom>
          <a:solidFill>
            <a:schemeClr val="accent5"/>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30" name="Shape 179"/>
          <p:cNvCxnSpPr>
            <a:cxnSpLocks/>
          </p:cNvCxnSpPr>
          <p:nvPr/>
        </p:nvCxnSpPr>
        <p:spPr>
          <a:xfrm>
            <a:off x="4191419" y="5252561"/>
            <a:ext cx="707662" cy="16874"/>
          </a:xfrm>
          <a:prstGeom prst="straightConnector1">
            <a:avLst/>
          </a:prstGeom>
          <a:noFill/>
          <a:ln w="6350" cap="flat" cmpd="sng" algn="ctr">
            <a:solidFill>
              <a:schemeClr val="accent5"/>
            </a:solidFill>
            <a:prstDash val="dash"/>
            <a:headEnd type="triangle" w="med" len="med"/>
            <a:tailEnd type="none" w="med" len="med"/>
          </a:ln>
          <a:effectLst/>
        </p:spPr>
      </p:cxnSp>
      <p:sp>
        <p:nvSpPr>
          <p:cNvPr id="131" name="Oval 130"/>
          <p:cNvSpPr/>
          <p:nvPr/>
        </p:nvSpPr>
        <p:spPr>
          <a:xfrm>
            <a:off x="4927658" y="5207523"/>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32" name="Oval 131"/>
          <p:cNvSpPr/>
          <p:nvPr/>
        </p:nvSpPr>
        <p:spPr>
          <a:xfrm flipH="1">
            <a:off x="4892730" y="1855092"/>
            <a:ext cx="180974" cy="180974"/>
          </a:xfrm>
          <a:prstGeom prst="ellipse">
            <a:avLst/>
          </a:prstGeom>
          <a:solidFill>
            <a:schemeClr val="accent5"/>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33" name="Shape 179"/>
          <p:cNvCxnSpPr>
            <a:cxnSpLocks/>
          </p:cNvCxnSpPr>
          <p:nvPr/>
        </p:nvCxnSpPr>
        <p:spPr>
          <a:xfrm flipH="1">
            <a:off x="5073704" y="1942828"/>
            <a:ext cx="636154" cy="2753"/>
          </a:xfrm>
          <a:prstGeom prst="straightConnector1">
            <a:avLst/>
          </a:prstGeom>
          <a:noFill/>
          <a:ln w="6350" cap="flat" cmpd="sng" algn="ctr">
            <a:solidFill>
              <a:schemeClr val="accent5"/>
            </a:solidFill>
            <a:prstDash val="dash"/>
            <a:headEnd type="triangle" w="med" len="med"/>
            <a:tailEnd type="none" w="med" len="med"/>
          </a:ln>
          <a:effectLst/>
        </p:spPr>
      </p:cxnSp>
      <p:sp>
        <p:nvSpPr>
          <p:cNvPr id="134" name="Oval 133"/>
          <p:cNvSpPr/>
          <p:nvPr/>
        </p:nvSpPr>
        <p:spPr>
          <a:xfrm flipH="1">
            <a:off x="4921305" y="1883667"/>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35" name="Oval 134"/>
          <p:cNvSpPr/>
          <p:nvPr/>
        </p:nvSpPr>
        <p:spPr>
          <a:xfrm flipH="1">
            <a:off x="4892730" y="2808386"/>
            <a:ext cx="180974" cy="180974"/>
          </a:xfrm>
          <a:prstGeom prst="ellipse">
            <a:avLst/>
          </a:prstGeom>
          <a:solidFill>
            <a:schemeClr val="accent2"/>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36" name="Shape 179"/>
          <p:cNvCxnSpPr>
            <a:cxnSpLocks/>
          </p:cNvCxnSpPr>
          <p:nvPr/>
        </p:nvCxnSpPr>
        <p:spPr>
          <a:xfrm flipH="1">
            <a:off x="5073704" y="2897854"/>
            <a:ext cx="636154" cy="1033"/>
          </a:xfrm>
          <a:prstGeom prst="straightConnector1">
            <a:avLst/>
          </a:prstGeom>
          <a:noFill/>
          <a:ln w="6350" cap="flat" cmpd="sng" algn="ctr">
            <a:solidFill>
              <a:schemeClr val="accent2"/>
            </a:solidFill>
            <a:prstDash val="dash"/>
            <a:headEnd type="triangle" w="med" len="med"/>
            <a:tailEnd type="none" w="med" len="med"/>
          </a:ln>
          <a:effectLst/>
        </p:spPr>
      </p:cxnSp>
      <p:sp>
        <p:nvSpPr>
          <p:cNvPr id="137" name="Oval 136"/>
          <p:cNvSpPr/>
          <p:nvPr/>
        </p:nvSpPr>
        <p:spPr>
          <a:xfrm flipH="1">
            <a:off x="4921305" y="2836961"/>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38" name="Oval 137"/>
          <p:cNvSpPr/>
          <p:nvPr/>
        </p:nvSpPr>
        <p:spPr>
          <a:xfrm flipH="1">
            <a:off x="4892730" y="3757712"/>
            <a:ext cx="180974" cy="180974"/>
          </a:xfrm>
          <a:prstGeom prst="ellipse">
            <a:avLst/>
          </a:prstGeom>
          <a:solidFill>
            <a:schemeClr val="accent4"/>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39" name="Shape 179"/>
          <p:cNvCxnSpPr>
            <a:cxnSpLocks/>
          </p:cNvCxnSpPr>
          <p:nvPr/>
        </p:nvCxnSpPr>
        <p:spPr>
          <a:xfrm flipH="1">
            <a:off x="5073704" y="3844000"/>
            <a:ext cx="636154" cy="4205"/>
          </a:xfrm>
          <a:prstGeom prst="straightConnector1">
            <a:avLst/>
          </a:prstGeom>
          <a:noFill/>
          <a:ln w="6350" cap="flat" cmpd="sng" algn="ctr">
            <a:solidFill>
              <a:schemeClr val="accent4"/>
            </a:solidFill>
            <a:prstDash val="dash"/>
            <a:headEnd type="triangle" w="med" len="med"/>
            <a:tailEnd type="none" w="med" len="med"/>
          </a:ln>
          <a:effectLst/>
        </p:spPr>
      </p:cxnSp>
      <p:sp>
        <p:nvSpPr>
          <p:cNvPr id="140" name="Oval 139"/>
          <p:cNvSpPr/>
          <p:nvPr/>
        </p:nvSpPr>
        <p:spPr>
          <a:xfrm flipH="1">
            <a:off x="4921305" y="3786287"/>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sp>
        <p:nvSpPr>
          <p:cNvPr id="141" name="Oval 140"/>
          <p:cNvSpPr/>
          <p:nvPr/>
        </p:nvSpPr>
        <p:spPr>
          <a:xfrm flipH="1">
            <a:off x="4892730" y="4700678"/>
            <a:ext cx="180974" cy="180974"/>
          </a:xfrm>
          <a:prstGeom prst="ellipse">
            <a:avLst/>
          </a:prstGeom>
          <a:solidFill>
            <a:schemeClr val="accent3">
              <a:lumMod val="75000"/>
            </a:schemeClr>
          </a:solid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cxnSp>
        <p:nvCxnSpPr>
          <p:cNvPr id="142" name="Shape 179"/>
          <p:cNvCxnSpPr>
            <a:cxnSpLocks/>
          </p:cNvCxnSpPr>
          <p:nvPr/>
        </p:nvCxnSpPr>
        <p:spPr>
          <a:xfrm flipH="1">
            <a:off x="5073704" y="4790162"/>
            <a:ext cx="636154" cy="1017"/>
          </a:xfrm>
          <a:prstGeom prst="straightConnector1">
            <a:avLst/>
          </a:prstGeom>
          <a:noFill/>
          <a:ln w="6350" cap="flat" cmpd="sng" algn="ctr">
            <a:solidFill>
              <a:schemeClr val="accent3">
                <a:lumMod val="75000"/>
              </a:schemeClr>
            </a:solidFill>
            <a:prstDash val="dash"/>
            <a:headEnd type="triangle" w="med" len="med"/>
            <a:tailEnd type="none" w="med" len="med"/>
          </a:ln>
          <a:effectLst/>
        </p:spPr>
      </p:cxnSp>
      <p:sp>
        <p:nvSpPr>
          <p:cNvPr id="143" name="Oval 142"/>
          <p:cNvSpPr/>
          <p:nvPr/>
        </p:nvSpPr>
        <p:spPr>
          <a:xfrm flipH="1">
            <a:off x="4921305" y="4729253"/>
            <a:ext cx="123824" cy="123824"/>
          </a:xfrm>
          <a:prstGeom prst="ellipse">
            <a:avLst/>
          </a:prstGeom>
          <a:solidFill>
            <a:srgbClr val="FFFFFE"/>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E"/>
              </a:solidFill>
              <a:effectLst/>
              <a:uLnTx/>
              <a:uFillTx/>
              <a:latin typeface="Calibri"/>
              <a:ea typeface="+mn-ea"/>
              <a:cs typeface="+mn-cs"/>
            </a:endParaRPr>
          </a:p>
        </p:txBody>
      </p:sp>
      <p:grpSp>
        <p:nvGrpSpPr>
          <p:cNvPr id="159" name="Group 158"/>
          <p:cNvGrpSpPr/>
          <p:nvPr/>
        </p:nvGrpSpPr>
        <p:grpSpPr>
          <a:xfrm>
            <a:off x="5809807" y="1677510"/>
            <a:ext cx="396875" cy="407988"/>
            <a:chOff x="1147763" y="2705100"/>
            <a:chExt cx="396875" cy="407988"/>
          </a:xfrm>
        </p:grpSpPr>
        <p:sp>
          <p:nvSpPr>
            <p:cNvPr id="160" name="Freeform 30"/>
            <p:cNvSpPr>
              <a:spLocks/>
            </p:cNvSpPr>
            <p:nvPr/>
          </p:nvSpPr>
          <p:spPr bwMode="auto">
            <a:xfrm>
              <a:off x="1147763" y="2705100"/>
              <a:ext cx="396875" cy="407988"/>
            </a:xfrm>
            <a:custGeom>
              <a:avLst/>
              <a:gdLst/>
              <a:ahLst/>
              <a:cxnLst>
                <a:cxn ang="0">
                  <a:pos x="10" y="109"/>
                </a:cxn>
                <a:cxn ang="0">
                  <a:pos x="32" y="86"/>
                </a:cxn>
                <a:cxn ang="0">
                  <a:pos x="40" y="86"/>
                </a:cxn>
                <a:cxn ang="0">
                  <a:pos x="55" y="71"/>
                </a:cxn>
                <a:cxn ang="0">
                  <a:pos x="92" y="63"/>
                </a:cxn>
                <a:cxn ang="0">
                  <a:pos x="92" y="14"/>
                </a:cxn>
                <a:cxn ang="0">
                  <a:pos x="43" y="14"/>
                </a:cxn>
                <a:cxn ang="0">
                  <a:pos x="36" y="53"/>
                </a:cxn>
                <a:cxn ang="0">
                  <a:pos x="22" y="67"/>
                </a:cxn>
                <a:cxn ang="0">
                  <a:pos x="22" y="81"/>
                </a:cxn>
                <a:cxn ang="0">
                  <a:pos x="10" y="81"/>
                </a:cxn>
                <a:cxn ang="0">
                  <a:pos x="10" y="94"/>
                </a:cxn>
                <a:cxn ang="0">
                  <a:pos x="0" y="94"/>
                </a:cxn>
                <a:cxn ang="0">
                  <a:pos x="0" y="109"/>
                </a:cxn>
              </a:cxnLst>
              <a:rect l="0" t="0" r="r" b="b"/>
              <a:pathLst>
                <a:path w="106" h="109">
                  <a:moveTo>
                    <a:pt x="10" y="109"/>
                  </a:moveTo>
                  <a:cubicBezTo>
                    <a:pt x="32" y="86"/>
                    <a:pt x="32" y="86"/>
                    <a:pt x="32" y="86"/>
                  </a:cubicBezTo>
                  <a:cubicBezTo>
                    <a:pt x="40" y="86"/>
                    <a:pt x="40" y="86"/>
                    <a:pt x="40" y="86"/>
                  </a:cubicBezTo>
                  <a:cubicBezTo>
                    <a:pt x="55" y="71"/>
                    <a:pt x="55" y="71"/>
                    <a:pt x="55" y="71"/>
                  </a:cubicBezTo>
                  <a:cubicBezTo>
                    <a:pt x="68" y="76"/>
                    <a:pt x="82" y="73"/>
                    <a:pt x="92" y="63"/>
                  </a:cubicBezTo>
                  <a:cubicBezTo>
                    <a:pt x="106" y="49"/>
                    <a:pt x="106" y="27"/>
                    <a:pt x="92" y="14"/>
                  </a:cubicBezTo>
                  <a:cubicBezTo>
                    <a:pt x="78" y="0"/>
                    <a:pt x="56" y="0"/>
                    <a:pt x="43" y="14"/>
                  </a:cubicBezTo>
                  <a:cubicBezTo>
                    <a:pt x="32" y="24"/>
                    <a:pt x="30" y="40"/>
                    <a:pt x="36" y="53"/>
                  </a:cubicBezTo>
                  <a:cubicBezTo>
                    <a:pt x="22" y="67"/>
                    <a:pt x="22" y="67"/>
                    <a:pt x="22" y="67"/>
                  </a:cubicBezTo>
                  <a:cubicBezTo>
                    <a:pt x="22" y="81"/>
                    <a:pt x="22" y="81"/>
                    <a:pt x="22" y="81"/>
                  </a:cubicBezTo>
                  <a:cubicBezTo>
                    <a:pt x="10" y="81"/>
                    <a:pt x="10" y="81"/>
                    <a:pt x="10" y="81"/>
                  </a:cubicBezTo>
                  <a:cubicBezTo>
                    <a:pt x="10" y="94"/>
                    <a:pt x="10" y="94"/>
                    <a:pt x="10" y="94"/>
                  </a:cubicBezTo>
                  <a:cubicBezTo>
                    <a:pt x="0" y="94"/>
                    <a:pt x="0" y="94"/>
                    <a:pt x="0" y="94"/>
                  </a:cubicBezTo>
                  <a:cubicBezTo>
                    <a:pt x="0" y="109"/>
                    <a:pt x="0" y="109"/>
                    <a:pt x="0" y="109"/>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1362075" y="2768600"/>
              <a:ext cx="115888" cy="115888"/>
            </a:xfrm>
            <a:custGeom>
              <a:avLst/>
              <a:gdLst/>
              <a:ahLst/>
              <a:cxnLst>
                <a:cxn ang="0">
                  <a:pos x="25" y="26"/>
                </a:cxn>
                <a:cxn ang="0">
                  <a:pos x="5" y="26"/>
                </a:cxn>
                <a:cxn ang="0">
                  <a:pos x="5" y="6"/>
                </a:cxn>
                <a:cxn ang="0">
                  <a:pos x="25" y="6"/>
                </a:cxn>
                <a:cxn ang="0">
                  <a:pos x="25" y="26"/>
                </a:cxn>
              </a:cxnLst>
              <a:rect l="0" t="0" r="r" b="b"/>
              <a:pathLst>
                <a:path w="31" h="31">
                  <a:moveTo>
                    <a:pt x="25" y="26"/>
                  </a:moveTo>
                  <a:cubicBezTo>
                    <a:pt x="20" y="31"/>
                    <a:pt x="11" y="31"/>
                    <a:pt x="5" y="26"/>
                  </a:cubicBezTo>
                  <a:cubicBezTo>
                    <a:pt x="0" y="20"/>
                    <a:pt x="0" y="11"/>
                    <a:pt x="5" y="6"/>
                  </a:cubicBezTo>
                  <a:cubicBezTo>
                    <a:pt x="11" y="0"/>
                    <a:pt x="20" y="0"/>
                    <a:pt x="25" y="6"/>
                  </a:cubicBezTo>
                  <a:cubicBezTo>
                    <a:pt x="31" y="11"/>
                    <a:pt x="31" y="20"/>
                    <a:pt x="25" y="26"/>
                  </a:cubicBezTo>
                  <a:close/>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2" name="Group 161"/>
          <p:cNvGrpSpPr/>
          <p:nvPr/>
        </p:nvGrpSpPr>
        <p:grpSpPr>
          <a:xfrm>
            <a:off x="3629522" y="3172893"/>
            <a:ext cx="414412" cy="429096"/>
            <a:chOff x="571501" y="1055688"/>
            <a:chExt cx="1612900" cy="1670051"/>
          </a:xfrm>
        </p:grpSpPr>
        <p:sp>
          <p:nvSpPr>
            <p:cNvPr id="163" name="Freeform 5"/>
            <p:cNvSpPr>
              <a:spLocks/>
            </p:cNvSpPr>
            <p:nvPr/>
          </p:nvSpPr>
          <p:spPr bwMode="auto">
            <a:xfrm>
              <a:off x="1320801" y="1055688"/>
              <a:ext cx="863600" cy="1373188"/>
            </a:xfrm>
            <a:custGeom>
              <a:avLst/>
              <a:gdLst/>
              <a:ahLst/>
              <a:cxnLst>
                <a:cxn ang="0">
                  <a:pos x="0" y="286"/>
                </a:cxn>
                <a:cxn ang="0">
                  <a:pos x="85" y="121"/>
                </a:cxn>
                <a:cxn ang="0">
                  <a:pos x="53" y="64"/>
                </a:cxn>
                <a:cxn ang="0">
                  <a:pos x="110" y="0"/>
                </a:cxn>
                <a:cxn ang="0">
                  <a:pos x="163" y="64"/>
                </a:cxn>
                <a:cxn ang="0">
                  <a:pos x="134" y="121"/>
                </a:cxn>
                <a:cxn ang="0">
                  <a:pos x="219" y="286"/>
                </a:cxn>
                <a:cxn ang="0">
                  <a:pos x="178" y="366"/>
                </a:cxn>
              </a:cxnLst>
              <a:rect l="0" t="0" r="r" b="b"/>
              <a:pathLst>
                <a:path w="230" h="366">
                  <a:moveTo>
                    <a:pt x="0" y="286"/>
                  </a:moveTo>
                  <a:cubicBezTo>
                    <a:pt x="0" y="205"/>
                    <a:pt x="22" y="138"/>
                    <a:pt x="85" y="121"/>
                  </a:cubicBezTo>
                  <a:cubicBezTo>
                    <a:pt x="71" y="108"/>
                    <a:pt x="53" y="84"/>
                    <a:pt x="53" y="64"/>
                  </a:cubicBezTo>
                  <a:cubicBezTo>
                    <a:pt x="53" y="27"/>
                    <a:pt x="78" y="0"/>
                    <a:pt x="110" y="0"/>
                  </a:cubicBezTo>
                  <a:cubicBezTo>
                    <a:pt x="138" y="0"/>
                    <a:pt x="163" y="27"/>
                    <a:pt x="163" y="64"/>
                  </a:cubicBezTo>
                  <a:cubicBezTo>
                    <a:pt x="163" y="84"/>
                    <a:pt x="148" y="108"/>
                    <a:pt x="134" y="121"/>
                  </a:cubicBezTo>
                  <a:cubicBezTo>
                    <a:pt x="198" y="138"/>
                    <a:pt x="219" y="205"/>
                    <a:pt x="219" y="286"/>
                  </a:cubicBezTo>
                  <a:cubicBezTo>
                    <a:pt x="219" y="286"/>
                    <a:pt x="230" y="357"/>
                    <a:pt x="178" y="366"/>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6"/>
            <p:cNvSpPr>
              <a:spLocks/>
            </p:cNvSpPr>
            <p:nvPr/>
          </p:nvSpPr>
          <p:spPr bwMode="auto">
            <a:xfrm>
              <a:off x="1617663" y="1570038"/>
              <a:ext cx="225425" cy="798513"/>
            </a:xfrm>
            <a:custGeom>
              <a:avLst/>
              <a:gdLst/>
              <a:ahLst/>
              <a:cxnLst>
                <a:cxn ang="0">
                  <a:pos x="31" y="213"/>
                </a:cxn>
                <a:cxn ang="0">
                  <a:pos x="1" y="183"/>
                </a:cxn>
                <a:cxn ang="0">
                  <a:pos x="19" y="21"/>
                </a:cxn>
                <a:cxn ang="0">
                  <a:pos x="14" y="0"/>
                </a:cxn>
                <a:cxn ang="0">
                  <a:pos x="46" y="0"/>
                </a:cxn>
                <a:cxn ang="0">
                  <a:pos x="41" y="21"/>
                </a:cxn>
                <a:cxn ang="0">
                  <a:pos x="60" y="184"/>
                </a:cxn>
                <a:cxn ang="0">
                  <a:pos x="46" y="201"/>
                </a:cxn>
              </a:cxnLst>
              <a:rect l="0" t="0" r="r" b="b"/>
              <a:pathLst>
                <a:path w="60" h="213">
                  <a:moveTo>
                    <a:pt x="31" y="213"/>
                  </a:moveTo>
                  <a:cubicBezTo>
                    <a:pt x="22" y="205"/>
                    <a:pt x="15" y="199"/>
                    <a:pt x="1" y="183"/>
                  </a:cubicBezTo>
                  <a:cubicBezTo>
                    <a:pt x="0" y="151"/>
                    <a:pt x="17" y="47"/>
                    <a:pt x="19" y="21"/>
                  </a:cubicBezTo>
                  <a:cubicBezTo>
                    <a:pt x="16" y="14"/>
                    <a:pt x="13" y="11"/>
                    <a:pt x="14" y="0"/>
                  </a:cubicBezTo>
                  <a:cubicBezTo>
                    <a:pt x="27" y="4"/>
                    <a:pt x="34" y="4"/>
                    <a:pt x="46" y="0"/>
                  </a:cubicBezTo>
                  <a:cubicBezTo>
                    <a:pt x="48" y="9"/>
                    <a:pt x="44" y="14"/>
                    <a:pt x="41" y="21"/>
                  </a:cubicBezTo>
                  <a:cubicBezTo>
                    <a:pt x="43" y="47"/>
                    <a:pt x="60" y="154"/>
                    <a:pt x="60" y="184"/>
                  </a:cubicBezTo>
                  <a:cubicBezTo>
                    <a:pt x="56" y="191"/>
                    <a:pt x="53" y="193"/>
                    <a:pt x="46" y="201"/>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
            <p:cNvSpPr>
              <a:spLocks/>
            </p:cNvSpPr>
            <p:nvPr/>
          </p:nvSpPr>
          <p:spPr bwMode="auto">
            <a:xfrm>
              <a:off x="627063" y="1258888"/>
              <a:ext cx="687388" cy="900113"/>
            </a:xfrm>
            <a:custGeom>
              <a:avLst/>
              <a:gdLst/>
              <a:ahLst/>
              <a:cxnLst>
                <a:cxn ang="0">
                  <a:pos x="0" y="228"/>
                </a:cxn>
                <a:cxn ang="0">
                  <a:pos x="71" y="101"/>
                </a:cxn>
                <a:cxn ang="0">
                  <a:pos x="44" y="53"/>
                </a:cxn>
                <a:cxn ang="0">
                  <a:pos x="91" y="0"/>
                </a:cxn>
                <a:cxn ang="0">
                  <a:pos x="136" y="53"/>
                </a:cxn>
                <a:cxn ang="0">
                  <a:pos x="112" y="101"/>
                </a:cxn>
                <a:cxn ang="0">
                  <a:pos x="183" y="240"/>
                </a:cxn>
              </a:cxnLst>
              <a:rect l="0" t="0" r="r" b="b"/>
              <a:pathLst>
                <a:path w="183" h="240">
                  <a:moveTo>
                    <a:pt x="0" y="228"/>
                  </a:moveTo>
                  <a:cubicBezTo>
                    <a:pt x="0" y="160"/>
                    <a:pt x="18" y="115"/>
                    <a:pt x="71" y="101"/>
                  </a:cubicBezTo>
                  <a:cubicBezTo>
                    <a:pt x="59" y="90"/>
                    <a:pt x="44" y="70"/>
                    <a:pt x="44" y="53"/>
                  </a:cubicBezTo>
                  <a:cubicBezTo>
                    <a:pt x="44" y="22"/>
                    <a:pt x="65" y="0"/>
                    <a:pt x="91" y="0"/>
                  </a:cubicBezTo>
                  <a:cubicBezTo>
                    <a:pt x="115" y="0"/>
                    <a:pt x="136" y="22"/>
                    <a:pt x="136" y="53"/>
                  </a:cubicBezTo>
                  <a:cubicBezTo>
                    <a:pt x="136" y="70"/>
                    <a:pt x="124" y="90"/>
                    <a:pt x="112" y="101"/>
                  </a:cubicBezTo>
                  <a:cubicBezTo>
                    <a:pt x="165" y="115"/>
                    <a:pt x="183" y="172"/>
                    <a:pt x="183" y="24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8"/>
            <p:cNvSpPr>
              <a:spLocks/>
            </p:cNvSpPr>
            <p:nvPr/>
          </p:nvSpPr>
          <p:spPr bwMode="auto">
            <a:xfrm>
              <a:off x="571501" y="2425701"/>
              <a:ext cx="476250" cy="300038"/>
            </a:xfrm>
            <a:custGeom>
              <a:avLst/>
              <a:gdLst/>
              <a:ahLst/>
              <a:cxnLst>
                <a:cxn ang="0">
                  <a:pos x="123" y="59"/>
                </a:cxn>
                <a:cxn ang="0">
                  <a:pos x="123" y="75"/>
                </a:cxn>
                <a:cxn ang="0">
                  <a:pos x="123" y="75"/>
                </a:cxn>
                <a:cxn ang="0">
                  <a:pos x="106" y="75"/>
                </a:cxn>
                <a:cxn ang="0">
                  <a:pos x="43" y="13"/>
                </a:cxn>
                <a:cxn ang="0">
                  <a:pos x="0" y="2"/>
                </a:cxn>
              </a:cxnLst>
              <a:rect l="0" t="0" r="r" b="b"/>
              <a:pathLst>
                <a:path w="127" h="80">
                  <a:moveTo>
                    <a:pt x="123" y="59"/>
                  </a:moveTo>
                  <a:cubicBezTo>
                    <a:pt x="127" y="63"/>
                    <a:pt x="127" y="71"/>
                    <a:pt x="123" y="75"/>
                  </a:cubicBezTo>
                  <a:cubicBezTo>
                    <a:pt x="123" y="75"/>
                    <a:pt x="123" y="75"/>
                    <a:pt x="123" y="75"/>
                  </a:cubicBezTo>
                  <a:cubicBezTo>
                    <a:pt x="118" y="80"/>
                    <a:pt x="110" y="80"/>
                    <a:pt x="106" y="75"/>
                  </a:cubicBezTo>
                  <a:cubicBezTo>
                    <a:pt x="106" y="75"/>
                    <a:pt x="61" y="22"/>
                    <a:pt x="43" y="13"/>
                  </a:cubicBezTo>
                  <a:cubicBezTo>
                    <a:pt x="20" y="0"/>
                    <a:pt x="0" y="2"/>
                    <a:pt x="0" y="2"/>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9"/>
            <p:cNvSpPr>
              <a:spLocks/>
            </p:cNvSpPr>
            <p:nvPr/>
          </p:nvSpPr>
          <p:spPr bwMode="auto">
            <a:xfrm>
              <a:off x="904876" y="2454276"/>
              <a:ext cx="222250" cy="225425"/>
            </a:xfrm>
            <a:custGeom>
              <a:avLst/>
              <a:gdLst/>
              <a:ahLst/>
              <a:cxnLst>
                <a:cxn ang="0">
                  <a:pos x="16" y="0"/>
                </a:cxn>
                <a:cxn ang="0">
                  <a:pos x="55" y="38"/>
                </a:cxn>
                <a:cxn ang="0">
                  <a:pos x="55" y="55"/>
                </a:cxn>
                <a:cxn ang="0">
                  <a:pos x="55" y="55"/>
                </a:cxn>
                <a:cxn ang="0">
                  <a:pos x="38" y="55"/>
                </a:cxn>
                <a:cxn ang="0">
                  <a:pos x="0" y="17"/>
                </a:cxn>
              </a:cxnLst>
              <a:rect l="0" t="0" r="r" b="b"/>
              <a:pathLst>
                <a:path w="59" h="60">
                  <a:moveTo>
                    <a:pt x="16" y="0"/>
                  </a:moveTo>
                  <a:cubicBezTo>
                    <a:pt x="55" y="38"/>
                    <a:pt x="55" y="38"/>
                    <a:pt x="55" y="38"/>
                  </a:cubicBezTo>
                  <a:cubicBezTo>
                    <a:pt x="59" y="43"/>
                    <a:pt x="59" y="50"/>
                    <a:pt x="55" y="55"/>
                  </a:cubicBezTo>
                  <a:cubicBezTo>
                    <a:pt x="55" y="55"/>
                    <a:pt x="55" y="55"/>
                    <a:pt x="55" y="55"/>
                  </a:cubicBezTo>
                  <a:cubicBezTo>
                    <a:pt x="50" y="60"/>
                    <a:pt x="43" y="60"/>
                    <a:pt x="38" y="55"/>
                  </a:cubicBezTo>
                  <a:cubicBezTo>
                    <a:pt x="0" y="17"/>
                    <a:pt x="0" y="17"/>
                    <a:pt x="0" y="17"/>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0"/>
            <p:cNvSpPr>
              <a:spLocks/>
            </p:cNvSpPr>
            <p:nvPr/>
          </p:nvSpPr>
          <p:spPr bwMode="auto">
            <a:xfrm>
              <a:off x="1028701" y="2316163"/>
              <a:ext cx="285750" cy="300038"/>
            </a:xfrm>
            <a:custGeom>
              <a:avLst/>
              <a:gdLst/>
              <a:ahLst/>
              <a:cxnLst>
                <a:cxn ang="0">
                  <a:pos x="25" y="0"/>
                </a:cxn>
                <a:cxn ang="0">
                  <a:pos x="71" y="58"/>
                </a:cxn>
                <a:cxn ang="0">
                  <a:pos x="71" y="75"/>
                </a:cxn>
                <a:cxn ang="0">
                  <a:pos x="71" y="75"/>
                </a:cxn>
                <a:cxn ang="0">
                  <a:pos x="55" y="75"/>
                </a:cxn>
                <a:cxn ang="0">
                  <a:pos x="0" y="20"/>
                </a:cxn>
              </a:cxnLst>
              <a:rect l="0" t="0" r="r" b="b"/>
              <a:pathLst>
                <a:path w="76" h="80">
                  <a:moveTo>
                    <a:pt x="25" y="0"/>
                  </a:moveTo>
                  <a:cubicBezTo>
                    <a:pt x="71" y="58"/>
                    <a:pt x="71" y="58"/>
                    <a:pt x="71" y="58"/>
                  </a:cubicBezTo>
                  <a:cubicBezTo>
                    <a:pt x="76" y="63"/>
                    <a:pt x="76" y="70"/>
                    <a:pt x="71" y="75"/>
                  </a:cubicBezTo>
                  <a:cubicBezTo>
                    <a:pt x="71" y="75"/>
                    <a:pt x="71" y="75"/>
                    <a:pt x="71" y="75"/>
                  </a:cubicBezTo>
                  <a:cubicBezTo>
                    <a:pt x="67" y="80"/>
                    <a:pt x="59" y="80"/>
                    <a:pt x="55" y="75"/>
                  </a:cubicBezTo>
                  <a:cubicBezTo>
                    <a:pt x="0" y="20"/>
                    <a:pt x="0" y="20"/>
                    <a:pt x="0" y="2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1"/>
            <p:cNvSpPr>
              <a:spLocks/>
            </p:cNvSpPr>
            <p:nvPr/>
          </p:nvSpPr>
          <p:spPr bwMode="auto">
            <a:xfrm>
              <a:off x="803276" y="2125663"/>
              <a:ext cx="723900" cy="246063"/>
            </a:xfrm>
            <a:custGeom>
              <a:avLst/>
              <a:gdLst/>
              <a:ahLst/>
              <a:cxnLst>
                <a:cxn ang="0">
                  <a:pos x="193" y="11"/>
                </a:cxn>
                <a:cxn ang="0">
                  <a:pos x="149" y="27"/>
                </a:cxn>
                <a:cxn ang="0">
                  <a:pos x="80" y="1"/>
                </a:cxn>
                <a:cxn ang="0">
                  <a:pos x="9" y="31"/>
                </a:cxn>
                <a:cxn ang="0">
                  <a:pos x="2" y="46"/>
                </a:cxn>
                <a:cxn ang="0">
                  <a:pos x="2" y="46"/>
                </a:cxn>
                <a:cxn ang="0">
                  <a:pos x="18" y="53"/>
                </a:cxn>
                <a:cxn ang="0">
                  <a:pos x="66" y="33"/>
                </a:cxn>
                <a:cxn ang="0">
                  <a:pos x="109" y="63"/>
                </a:cxn>
                <a:cxn ang="0">
                  <a:pos x="135" y="62"/>
                </a:cxn>
              </a:cxnLst>
              <a:rect l="0" t="0" r="r" b="b"/>
              <a:pathLst>
                <a:path w="193" h="66">
                  <a:moveTo>
                    <a:pt x="193" y="11"/>
                  </a:moveTo>
                  <a:cubicBezTo>
                    <a:pt x="193" y="11"/>
                    <a:pt x="163" y="28"/>
                    <a:pt x="149" y="27"/>
                  </a:cubicBezTo>
                  <a:cubicBezTo>
                    <a:pt x="130" y="26"/>
                    <a:pt x="100" y="2"/>
                    <a:pt x="80" y="1"/>
                  </a:cubicBezTo>
                  <a:cubicBezTo>
                    <a:pt x="68" y="0"/>
                    <a:pt x="9" y="31"/>
                    <a:pt x="9" y="31"/>
                  </a:cubicBezTo>
                  <a:cubicBezTo>
                    <a:pt x="3" y="33"/>
                    <a:pt x="0" y="40"/>
                    <a:pt x="2" y="46"/>
                  </a:cubicBezTo>
                  <a:cubicBezTo>
                    <a:pt x="2" y="46"/>
                    <a:pt x="2" y="46"/>
                    <a:pt x="2" y="46"/>
                  </a:cubicBezTo>
                  <a:cubicBezTo>
                    <a:pt x="5" y="52"/>
                    <a:pt x="12" y="55"/>
                    <a:pt x="18" y="53"/>
                  </a:cubicBezTo>
                  <a:cubicBezTo>
                    <a:pt x="66" y="33"/>
                    <a:pt x="66" y="33"/>
                    <a:pt x="66" y="33"/>
                  </a:cubicBezTo>
                  <a:cubicBezTo>
                    <a:pt x="66" y="33"/>
                    <a:pt x="89" y="59"/>
                    <a:pt x="109" y="63"/>
                  </a:cubicBezTo>
                  <a:cubicBezTo>
                    <a:pt x="125" y="66"/>
                    <a:pt x="135" y="62"/>
                    <a:pt x="135" y="62"/>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2"/>
            <p:cNvSpPr>
              <a:spLocks/>
            </p:cNvSpPr>
            <p:nvPr/>
          </p:nvSpPr>
          <p:spPr bwMode="auto">
            <a:xfrm>
              <a:off x="1122363" y="2549526"/>
              <a:ext cx="79375" cy="77788"/>
            </a:xfrm>
            <a:custGeom>
              <a:avLst/>
              <a:gdLst/>
              <a:ahLst/>
              <a:cxnLst>
                <a:cxn ang="0">
                  <a:pos x="17" y="0"/>
                </a:cxn>
                <a:cxn ang="0">
                  <a:pos x="17" y="17"/>
                </a:cxn>
                <a:cxn ang="0">
                  <a:pos x="17" y="17"/>
                </a:cxn>
                <a:cxn ang="0">
                  <a:pos x="0" y="17"/>
                </a:cxn>
              </a:cxnLst>
              <a:rect l="0" t="0" r="r" b="b"/>
              <a:pathLst>
                <a:path w="21" h="21">
                  <a:moveTo>
                    <a:pt x="17" y="0"/>
                  </a:moveTo>
                  <a:cubicBezTo>
                    <a:pt x="21" y="5"/>
                    <a:pt x="21" y="12"/>
                    <a:pt x="17" y="17"/>
                  </a:cubicBezTo>
                  <a:cubicBezTo>
                    <a:pt x="17" y="17"/>
                    <a:pt x="17" y="17"/>
                    <a:pt x="17" y="17"/>
                  </a:cubicBezTo>
                  <a:cubicBezTo>
                    <a:pt x="12" y="21"/>
                    <a:pt x="5" y="21"/>
                    <a:pt x="0" y="17"/>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3"/>
            <p:cNvSpPr>
              <a:spLocks/>
            </p:cNvSpPr>
            <p:nvPr/>
          </p:nvSpPr>
          <p:spPr bwMode="auto">
            <a:xfrm>
              <a:off x="1287463" y="2428876"/>
              <a:ext cx="701675" cy="82550"/>
            </a:xfrm>
            <a:custGeom>
              <a:avLst/>
              <a:gdLst/>
              <a:ahLst/>
              <a:cxnLst>
                <a:cxn ang="0">
                  <a:pos x="0" y="22"/>
                </a:cxn>
                <a:cxn ang="0">
                  <a:pos x="187" y="0"/>
                </a:cxn>
              </a:cxnLst>
              <a:rect l="0" t="0" r="r" b="b"/>
              <a:pathLst>
                <a:path w="187" h="22">
                  <a:moveTo>
                    <a:pt x="0" y="22"/>
                  </a:moveTo>
                  <a:cubicBezTo>
                    <a:pt x="0" y="22"/>
                    <a:pt x="173" y="19"/>
                    <a:pt x="187" y="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4"/>
            <p:cNvSpPr>
              <a:spLocks/>
            </p:cNvSpPr>
            <p:nvPr/>
          </p:nvSpPr>
          <p:spPr bwMode="auto">
            <a:xfrm>
              <a:off x="615951" y="2112963"/>
              <a:ext cx="390525" cy="95250"/>
            </a:xfrm>
            <a:custGeom>
              <a:avLst/>
              <a:gdLst/>
              <a:ahLst/>
              <a:cxnLst>
                <a:cxn ang="0">
                  <a:pos x="0" y="0"/>
                </a:cxn>
                <a:cxn ang="0">
                  <a:pos x="104" y="12"/>
                </a:cxn>
              </a:cxnLst>
              <a:rect l="0" t="0" r="r" b="b"/>
              <a:pathLst>
                <a:path w="104" h="25">
                  <a:moveTo>
                    <a:pt x="0" y="0"/>
                  </a:moveTo>
                  <a:cubicBezTo>
                    <a:pt x="0" y="25"/>
                    <a:pt x="104" y="12"/>
                    <a:pt x="104" y="12"/>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73" name="Group 172"/>
          <p:cNvGrpSpPr/>
          <p:nvPr/>
        </p:nvGrpSpPr>
        <p:grpSpPr>
          <a:xfrm>
            <a:off x="5965309" y="4545808"/>
            <a:ext cx="355653" cy="423541"/>
            <a:chOff x="857250" y="2932113"/>
            <a:chExt cx="557212" cy="663575"/>
          </a:xfrm>
        </p:grpSpPr>
        <p:sp>
          <p:nvSpPr>
            <p:cNvPr id="174" name="Freeform 36"/>
            <p:cNvSpPr>
              <a:spLocks/>
            </p:cNvSpPr>
            <p:nvPr/>
          </p:nvSpPr>
          <p:spPr bwMode="auto">
            <a:xfrm>
              <a:off x="987425" y="3100388"/>
              <a:ext cx="304800" cy="495300"/>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30" y="126"/>
                </a:cxn>
                <a:cxn ang="0">
                  <a:pos x="30" y="125"/>
                </a:cxn>
                <a:cxn ang="0">
                  <a:pos x="21" y="116"/>
                </a:cxn>
                <a:cxn ang="0">
                  <a:pos x="21" y="109"/>
                </a:cxn>
              </a:cxnLst>
              <a:rect l="0" t="0" r="r" b="b"/>
              <a:pathLst>
                <a:path w="81" h="132">
                  <a:moveTo>
                    <a:pt x="60" y="76"/>
                  </a:moveTo>
                  <a:cubicBezTo>
                    <a:pt x="73" y="69"/>
                    <a:pt x="81" y="56"/>
                    <a:pt x="81" y="40"/>
                  </a:cubicBezTo>
                  <a:cubicBezTo>
                    <a:pt x="81" y="18"/>
                    <a:pt x="63" y="0"/>
                    <a:pt x="41" y="0"/>
                  </a:cubicBezTo>
                  <a:cubicBezTo>
                    <a:pt x="18" y="0"/>
                    <a:pt x="0" y="18"/>
                    <a:pt x="0" y="40"/>
                  </a:cubicBezTo>
                  <a:cubicBezTo>
                    <a:pt x="0" y="56"/>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30"/>
                    <a:pt x="47" y="132"/>
                    <a:pt x="41" y="132"/>
                  </a:cubicBezTo>
                  <a:cubicBezTo>
                    <a:pt x="35" y="132"/>
                    <a:pt x="30" y="130"/>
                    <a:pt x="30" y="126"/>
                  </a:cubicBezTo>
                  <a:cubicBezTo>
                    <a:pt x="30" y="126"/>
                    <a:pt x="30" y="126"/>
                    <a:pt x="30" y="125"/>
                  </a:cubicBezTo>
                  <a:cubicBezTo>
                    <a:pt x="25" y="123"/>
                    <a:pt x="21" y="120"/>
                    <a:pt x="21" y="116"/>
                  </a:cubicBezTo>
                  <a:cubicBezTo>
                    <a:pt x="21" y="109"/>
                    <a:pt x="21" y="109"/>
                    <a:pt x="21" y="109"/>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37"/>
            <p:cNvSpPr>
              <a:spLocks/>
            </p:cNvSpPr>
            <p:nvPr/>
          </p:nvSpPr>
          <p:spPr bwMode="auto">
            <a:xfrm>
              <a:off x="1047750" y="3152775"/>
              <a:ext cx="109537" cy="104775"/>
            </a:xfrm>
            <a:custGeom>
              <a:avLst/>
              <a:gdLst/>
              <a:ahLst/>
              <a:cxnLst>
                <a:cxn ang="0">
                  <a:pos x="0" y="28"/>
                </a:cxn>
                <a:cxn ang="0">
                  <a:pos x="29" y="0"/>
                </a:cxn>
              </a:cxnLst>
              <a:rect l="0" t="0" r="r" b="b"/>
              <a:pathLst>
                <a:path w="29" h="28">
                  <a:moveTo>
                    <a:pt x="0" y="28"/>
                  </a:moveTo>
                  <a:cubicBezTo>
                    <a:pt x="0" y="13"/>
                    <a:pt x="13" y="0"/>
                    <a:pt x="29" y="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38"/>
            <p:cNvSpPr>
              <a:spLocks noChangeShapeType="1"/>
            </p:cNvSpPr>
            <p:nvPr/>
          </p:nvSpPr>
          <p:spPr bwMode="auto">
            <a:xfrm flipV="1">
              <a:off x="1141413" y="2932113"/>
              <a:ext cx="1587" cy="112713"/>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Line 39"/>
            <p:cNvSpPr>
              <a:spLocks noChangeShapeType="1"/>
            </p:cNvSpPr>
            <p:nvPr/>
          </p:nvSpPr>
          <p:spPr bwMode="auto">
            <a:xfrm flipH="1" flipV="1">
              <a:off x="863600" y="3086100"/>
              <a:ext cx="93662" cy="55563"/>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Line 40"/>
            <p:cNvSpPr>
              <a:spLocks noChangeShapeType="1"/>
            </p:cNvSpPr>
            <p:nvPr/>
          </p:nvSpPr>
          <p:spPr bwMode="auto">
            <a:xfrm flipH="1">
              <a:off x="857250" y="3351213"/>
              <a:ext cx="96837" cy="57150"/>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Line 41"/>
            <p:cNvSpPr>
              <a:spLocks noChangeShapeType="1"/>
            </p:cNvSpPr>
            <p:nvPr/>
          </p:nvSpPr>
          <p:spPr bwMode="auto">
            <a:xfrm>
              <a:off x="1314450" y="3359150"/>
              <a:ext cx="96837" cy="55563"/>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Line 42"/>
            <p:cNvSpPr>
              <a:spLocks noChangeShapeType="1"/>
            </p:cNvSpPr>
            <p:nvPr/>
          </p:nvSpPr>
          <p:spPr bwMode="auto">
            <a:xfrm flipV="1">
              <a:off x="1317625" y="3097213"/>
              <a:ext cx="96837" cy="55563"/>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0" name="Group 189"/>
          <p:cNvGrpSpPr/>
          <p:nvPr/>
        </p:nvGrpSpPr>
        <p:grpSpPr>
          <a:xfrm>
            <a:off x="5874404" y="3622664"/>
            <a:ext cx="494901" cy="528493"/>
            <a:chOff x="1003301" y="3865563"/>
            <a:chExt cx="701675" cy="749300"/>
          </a:xfrm>
        </p:grpSpPr>
        <p:sp>
          <p:nvSpPr>
            <p:cNvPr id="191" name="Freeform 60"/>
            <p:cNvSpPr>
              <a:spLocks/>
            </p:cNvSpPr>
            <p:nvPr/>
          </p:nvSpPr>
          <p:spPr bwMode="auto">
            <a:xfrm>
              <a:off x="1258888" y="3865563"/>
              <a:ext cx="349250" cy="287338"/>
            </a:xfrm>
            <a:custGeom>
              <a:avLst/>
              <a:gdLst/>
              <a:ahLst/>
              <a:cxnLst>
                <a:cxn ang="0">
                  <a:pos x="66" y="57"/>
                </a:cxn>
                <a:cxn ang="0">
                  <a:pos x="33" y="57"/>
                </a:cxn>
                <a:cxn ang="0">
                  <a:pos x="22" y="69"/>
                </a:cxn>
                <a:cxn ang="0">
                  <a:pos x="0" y="68"/>
                </a:cxn>
                <a:cxn ang="0">
                  <a:pos x="33" y="31"/>
                </a:cxn>
                <a:cxn ang="0">
                  <a:pos x="71" y="20"/>
                </a:cxn>
                <a:cxn ang="0">
                  <a:pos x="93" y="0"/>
                </a:cxn>
              </a:cxnLst>
              <a:rect l="0" t="0" r="r" b="b"/>
              <a:pathLst>
                <a:path w="93" h="77">
                  <a:moveTo>
                    <a:pt x="66" y="57"/>
                  </a:moveTo>
                  <a:cubicBezTo>
                    <a:pt x="56" y="68"/>
                    <a:pt x="33" y="57"/>
                    <a:pt x="33" y="57"/>
                  </a:cubicBezTo>
                  <a:cubicBezTo>
                    <a:pt x="27" y="63"/>
                    <a:pt x="29" y="61"/>
                    <a:pt x="22" y="69"/>
                  </a:cubicBezTo>
                  <a:cubicBezTo>
                    <a:pt x="14" y="77"/>
                    <a:pt x="0" y="68"/>
                    <a:pt x="0" y="68"/>
                  </a:cubicBezTo>
                  <a:cubicBezTo>
                    <a:pt x="33" y="31"/>
                    <a:pt x="33" y="31"/>
                    <a:pt x="33" y="31"/>
                  </a:cubicBezTo>
                  <a:cubicBezTo>
                    <a:pt x="71" y="20"/>
                    <a:pt x="71" y="20"/>
                    <a:pt x="71" y="20"/>
                  </a:cubicBezTo>
                  <a:cubicBezTo>
                    <a:pt x="93" y="0"/>
                    <a:pt x="93" y="0"/>
                    <a:pt x="93" y="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1"/>
            <p:cNvSpPr>
              <a:spLocks/>
            </p:cNvSpPr>
            <p:nvPr/>
          </p:nvSpPr>
          <p:spPr bwMode="auto">
            <a:xfrm>
              <a:off x="1201738" y="4097338"/>
              <a:ext cx="180975" cy="214313"/>
            </a:xfrm>
            <a:custGeom>
              <a:avLst/>
              <a:gdLst/>
              <a:ahLst/>
              <a:cxnLst>
                <a:cxn ang="0">
                  <a:pos x="43" y="0"/>
                </a:cxn>
                <a:cxn ang="0">
                  <a:pos x="7" y="40"/>
                </a:cxn>
                <a:cxn ang="0">
                  <a:pos x="16" y="51"/>
                </a:cxn>
                <a:cxn ang="0">
                  <a:pos x="48" y="17"/>
                </a:cxn>
              </a:cxnLst>
              <a:rect l="0" t="0" r="r" b="b"/>
              <a:pathLst>
                <a:path w="48" h="57">
                  <a:moveTo>
                    <a:pt x="43" y="0"/>
                  </a:moveTo>
                  <a:cubicBezTo>
                    <a:pt x="43" y="0"/>
                    <a:pt x="14" y="32"/>
                    <a:pt x="7" y="40"/>
                  </a:cubicBezTo>
                  <a:cubicBezTo>
                    <a:pt x="0" y="47"/>
                    <a:pt x="11" y="57"/>
                    <a:pt x="16" y="51"/>
                  </a:cubicBezTo>
                  <a:cubicBezTo>
                    <a:pt x="22" y="45"/>
                    <a:pt x="48" y="17"/>
                    <a:pt x="48" y="17"/>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2"/>
            <p:cNvSpPr>
              <a:spLocks/>
            </p:cNvSpPr>
            <p:nvPr/>
          </p:nvSpPr>
          <p:spPr bwMode="auto">
            <a:xfrm>
              <a:off x="1201738" y="4160838"/>
              <a:ext cx="219075" cy="228600"/>
            </a:xfrm>
            <a:custGeom>
              <a:avLst/>
              <a:gdLst/>
              <a:ahLst/>
              <a:cxnLst>
                <a:cxn ang="0">
                  <a:pos x="48" y="0"/>
                </a:cxn>
                <a:cxn ang="0">
                  <a:pos x="7" y="44"/>
                </a:cxn>
                <a:cxn ang="0">
                  <a:pos x="16" y="55"/>
                </a:cxn>
                <a:cxn ang="0">
                  <a:pos x="58" y="9"/>
                </a:cxn>
              </a:cxnLst>
              <a:rect l="0" t="0" r="r" b="b"/>
              <a:pathLst>
                <a:path w="58" h="61">
                  <a:moveTo>
                    <a:pt x="48" y="0"/>
                  </a:moveTo>
                  <a:cubicBezTo>
                    <a:pt x="48" y="0"/>
                    <a:pt x="14" y="37"/>
                    <a:pt x="7" y="44"/>
                  </a:cubicBezTo>
                  <a:cubicBezTo>
                    <a:pt x="0" y="52"/>
                    <a:pt x="11" y="61"/>
                    <a:pt x="16" y="55"/>
                  </a:cubicBezTo>
                  <a:cubicBezTo>
                    <a:pt x="22" y="49"/>
                    <a:pt x="58" y="9"/>
                    <a:pt x="58" y="9"/>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3"/>
            <p:cNvSpPr>
              <a:spLocks/>
            </p:cNvSpPr>
            <p:nvPr/>
          </p:nvSpPr>
          <p:spPr bwMode="auto">
            <a:xfrm>
              <a:off x="1258888" y="4194175"/>
              <a:ext cx="203200" cy="214313"/>
            </a:xfrm>
            <a:custGeom>
              <a:avLst/>
              <a:gdLst/>
              <a:ahLst/>
              <a:cxnLst>
                <a:cxn ang="0">
                  <a:pos x="43" y="0"/>
                </a:cxn>
                <a:cxn ang="0">
                  <a:pos x="7" y="40"/>
                </a:cxn>
                <a:cxn ang="0">
                  <a:pos x="16" y="51"/>
                </a:cxn>
                <a:cxn ang="0">
                  <a:pos x="54" y="10"/>
                </a:cxn>
              </a:cxnLst>
              <a:rect l="0" t="0" r="r" b="b"/>
              <a:pathLst>
                <a:path w="54" h="57">
                  <a:moveTo>
                    <a:pt x="43" y="0"/>
                  </a:moveTo>
                  <a:cubicBezTo>
                    <a:pt x="43" y="0"/>
                    <a:pt x="14" y="33"/>
                    <a:pt x="7" y="40"/>
                  </a:cubicBezTo>
                  <a:cubicBezTo>
                    <a:pt x="0" y="48"/>
                    <a:pt x="11" y="57"/>
                    <a:pt x="16" y="51"/>
                  </a:cubicBezTo>
                  <a:cubicBezTo>
                    <a:pt x="22" y="45"/>
                    <a:pt x="54" y="10"/>
                    <a:pt x="54" y="1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4"/>
            <p:cNvSpPr>
              <a:spLocks/>
            </p:cNvSpPr>
            <p:nvPr/>
          </p:nvSpPr>
          <p:spPr bwMode="auto">
            <a:xfrm>
              <a:off x="1344613" y="4041775"/>
              <a:ext cx="360363" cy="352425"/>
            </a:xfrm>
            <a:custGeom>
              <a:avLst/>
              <a:gdLst/>
              <a:ahLst/>
              <a:cxnLst>
                <a:cxn ang="0">
                  <a:pos x="31" y="51"/>
                </a:cxn>
                <a:cxn ang="0">
                  <a:pos x="7" y="78"/>
                </a:cxn>
                <a:cxn ang="0">
                  <a:pos x="16" y="89"/>
                </a:cxn>
                <a:cxn ang="0">
                  <a:pos x="86" y="12"/>
                </a:cxn>
                <a:cxn ang="0">
                  <a:pos x="96" y="0"/>
                </a:cxn>
              </a:cxnLst>
              <a:rect l="0" t="0" r="r" b="b"/>
              <a:pathLst>
                <a:path w="96" h="94">
                  <a:moveTo>
                    <a:pt x="31" y="51"/>
                  </a:moveTo>
                  <a:cubicBezTo>
                    <a:pt x="31" y="51"/>
                    <a:pt x="14" y="70"/>
                    <a:pt x="7" y="78"/>
                  </a:cubicBezTo>
                  <a:cubicBezTo>
                    <a:pt x="0" y="85"/>
                    <a:pt x="11" y="94"/>
                    <a:pt x="16" y="89"/>
                  </a:cubicBezTo>
                  <a:cubicBezTo>
                    <a:pt x="22" y="83"/>
                    <a:pt x="86" y="12"/>
                    <a:pt x="86" y="12"/>
                  </a:cubicBezTo>
                  <a:cubicBezTo>
                    <a:pt x="96" y="0"/>
                    <a:pt x="96" y="0"/>
                    <a:pt x="96" y="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5"/>
            <p:cNvSpPr>
              <a:spLocks/>
            </p:cNvSpPr>
            <p:nvPr/>
          </p:nvSpPr>
          <p:spPr bwMode="auto">
            <a:xfrm>
              <a:off x="1041401" y="4389438"/>
              <a:ext cx="138113" cy="169863"/>
            </a:xfrm>
            <a:custGeom>
              <a:avLst/>
              <a:gdLst/>
              <a:ahLst/>
              <a:cxnLst>
                <a:cxn ang="0">
                  <a:pos x="24" y="34"/>
                </a:cxn>
                <a:cxn ang="0">
                  <a:pos x="23" y="18"/>
                </a:cxn>
                <a:cxn ang="0">
                  <a:pos x="29" y="12"/>
                </a:cxn>
                <a:cxn ang="0">
                  <a:pos x="28" y="2"/>
                </a:cxn>
                <a:cxn ang="0">
                  <a:pos x="11" y="18"/>
                </a:cxn>
                <a:cxn ang="0">
                  <a:pos x="6" y="37"/>
                </a:cxn>
                <a:cxn ang="0">
                  <a:pos x="0" y="45"/>
                </a:cxn>
              </a:cxnLst>
              <a:rect l="0" t="0" r="r" b="b"/>
              <a:pathLst>
                <a:path w="37" h="45">
                  <a:moveTo>
                    <a:pt x="24" y="34"/>
                  </a:moveTo>
                  <a:cubicBezTo>
                    <a:pt x="29" y="29"/>
                    <a:pt x="23" y="18"/>
                    <a:pt x="23" y="18"/>
                  </a:cubicBezTo>
                  <a:cubicBezTo>
                    <a:pt x="26" y="15"/>
                    <a:pt x="25" y="16"/>
                    <a:pt x="29" y="12"/>
                  </a:cubicBezTo>
                  <a:cubicBezTo>
                    <a:pt x="37" y="4"/>
                    <a:pt x="30" y="0"/>
                    <a:pt x="28" y="2"/>
                  </a:cubicBezTo>
                  <a:cubicBezTo>
                    <a:pt x="25" y="5"/>
                    <a:pt x="14" y="13"/>
                    <a:pt x="11" y="18"/>
                  </a:cubicBezTo>
                  <a:cubicBezTo>
                    <a:pt x="8" y="22"/>
                    <a:pt x="6" y="37"/>
                    <a:pt x="6" y="37"/>
                  </a:cubicBezTo>
                  <a:cubicBezTo>
                    <a:pt x="0" y="45"/>
                    <a:pt x="0" y="45"/>
                    <a:pt x="0" y="45"/>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6"/>
            <p:cNvSpPr>
              <a:spLocks/>
            </p:cNvSpPr>
            <p:nvPr/>
          </p:nvSpPr>
          <p:spPr bwMode="auto">
            <a:xfrm>
              <a:off x="1138238" y="4378325"/>
              <a:ext cx="82550" cy="68263"/>
            </a:xfrm>
            <a:custGeom>
              <a:avLst/>
              <a:gdLst/>
              <a:ahLst/>
              <a:cxnLst>
                <a:cxn ang="0">
                  <a:pos x="0" y="18"/>
                </a:cxn>
                <a:cxn ang="0">
                  <a:pos x="14" y="4"/>
                </a:cxn>
                <a:cxn ang="0">
                  <a:pos x="19" y="8"/>
                </a:cxn>
                <a:cxn ang="0">
                  <a:pos x="11" y="17"/>
                </a:cxn>
              </a:cxnLst>
              <a:rect l="0" t="0" r="r" b="b"/>
              <a:pathLst>
                <a:path w="22" h="18">
                  <a:moveTo>
                    <a:pt x="0" y="18"/>
                  </a:moveTo>
                  <a:cubicBezTo>
                    <a:pt x="0" y="18"/>
                    <a:pt x="10" y="7"/>
                    <a:pt x="14" y="4"/>
                  </a:cubicBezTo>
                  <a:cubicBezTo>
                    <a:pt x="17" y="0"/>
                    <a:pt x="22" y="5"/>
                    <a:pt x="19" y="8"/>
                  </a:cubicBezTo>
                  <a:cubicBezTo>
                    <a:pt x="16" y="11"/>
                    <a:pt x="11" y="17"/>
                    <a:pt x="11" y="17"/>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7"/>
            <p:cNvSpPr>
              <a:spLocks/>
            </p:cNvSpPr>
            <p:nvPr/>
          </p:nvSpPr>
          <p:spPr bwMode="auto">
            <a:xfrm>
              <a:off x="1179513" y="4383088"/>
              <a:ext cx="74613" cy="77788"/>
            </a:xfrm>
            <a:custGeom>
              <a:avLst/>
              <a:gdLst/>
              <a:ahLst/>
              <a:cxnLst>
                <a:cxn ang="0">
                  <a:pos x="0" y="16"/>
                </a:cxn>
                <a:cxn ang="0">
                  <a:pos x="11" y="4"/>
                </a:cxn>
                <a:cxn ang="0">
                  <a:pos x="17" y="8"/>
                </a:cxn>
                <a:cxn ang="0">
                  <a:pos x="5" y="21"/>
                </a:cxn>
              </a:cxnLst>
              <a:rect l="0" t="0" r="r" b="b"/>
              <a:pathLst>
                <a:path w="20" h="21">
                  <a:moveTo>
                    <a:pt x="0" y="16"/>
                  </a:moveTo>
                  <a:cubicBezTo>
                    <a:pt x="0" y="16"/>
                    <a:pt x="8" y="8"/>
                    <a:pt x="11" y="4"/>
                  </a:cubicBezTo>
                  <a:cubicBezTo>
                    <a:pt x="15" y="0"/>
                    <a:pt x="20" y="6"/>
                    <a:pt x="17" y="8"/>
                  </a:cubicBezTo>
                  <a:cubicBezTo>
                    <a:pt x="14" y="11"/>
                    <a:pt x="5" y="21"/>
                    <a:pt x="5" y="21"/>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8"/>
            <p:cNvSpPr>
              <a:spLocks/>
            </p:cNvSpPr>
            <p:nvPr/>
          </p:nvSpPr>
          <p:spPr bwMode="auto">
            <a:xfrm>
              <a:off x="1198563" y="4411663"/>
              <a:ext cx="63500" cy="68263"/>
            </a:xfrm>
            <a:custGeom>
              <a:avLst/>
              <a:gdLst/>
              <a:ahLst/>
              <a:cxnLst>
                <a:cxn ang="0">
                  <a:pos x="0" y="13"/>
                </a:cxn>
                <a:cxn ang="0">
                  <a:pos x="9" y="3"/>
                </a:cxn>
                <a:cxn ang="0">
                  <a:pos x="15" y="8"/>
                </a:cxn>
                <a:cxn ang="0">
                  <a:pos x="5" y="18"/>
                </a:cxn>
              </a:cxnLst>
              <a:rect l="0" t="0" r="r" b="b"/>
              <a:pathLst>
                <a:path w="17" h="18">
                  <a:moveTo>
                    <a:pt x="0" y="13"/>
                  </a:moveTo>
                  <a:cubicBezTo>
                    <a:pt x="0" y="13"/>
                    <a:pt x="5" y="7"/>
                    <a:pt x="9" y="3"/>
                  </a:cubicBezTo>
                  <a:cubicBezTo>
                    <a:pt x="13" y="0"/>
                    <a:pt x="17" y="5"/>
                    <a:pt x="15" y="8"/>
                  </a:cubicBezTo>
                  <a:cubicBezTo>
                    <a:pt x="12" y="10"/>
                    <a:pt x="5" y="18"/>
                    <a:pt x="5" y="18"/>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69"/>
            <p:cNvSpPr>
              <a:spLocks/>
            </p:cNvSpPr>
            <p:nvPr/>
          </p:nvSpPr>
          <p:spPr bwMode="auto">
            <a:xfrm>
              <a:off x="1176338" y="4221163"/>
              <a:ext cx="401638" cy="368300"/>
            </a:xfrm>
            <a:custGeom>
              <a:avLst/>
              <a:gdLst/>
              <a:ahLst/>
              <a:cxnLst>
                <a:cxn ang="0">
                  <a:pos x="103" y="0"/>
                </a:cxn>
                <a:cxn ang="0">
                  <a:pos x="107" y="22"/>
                </a:cxn>
                <a:cxn ang="0">
                  <a:pos x="30" y="98"/>
                </a:cxn>
                <a:cxn ang="0">
                  <a:pos x="0" y="92"/>
                </a:cxn>
              </a:cxnLst>
              <a:rect l="0" t="0" r="r" b="b"/>
              <a:pathLst>
                <a:path w="107" h="98">
                  <a:moveTo>
                    <a:pt x="103" y="0"/>
                  </a:moveTo>
                  <a:cubicBezTo>
                    <a:pt x="106" y="7"/>
                    <a:pt x="107" y="14"/>
                    <a:pt x="107" y="22"/>
                  </a:cubicBezTo>
                  <a:cubicBezTo>
                    <a:pt x="107" y="64"/>
                    <a:pt x="72" y="98"/>
                    <a:pt x="30" y="98"/>
                  </a:cubicBezTo>
                  <a:cubicBezTo>
                    <a:pt x="20" y="98"/>
                    <a:pt x="9" y="96"/>
                    <a:pt x="0" y="92"/>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0"/>
            <p:cNvSpPr>
              <a:spLocks/>
            </p:cNvSpPr>
            <p:nvPr/>
          </p:nvSpPr>
          <p:spPr bwMode="auto">
            <a:xfrm>
              <a:off x="1003301" y="4017963"/>
              <a:ext cx="334963" cy="461963"/>
            </a:xfrm>
            <a:custGeom>
              <a:avLst/>
              <a:gdLst/>
              <a:ahLst/>
              <a:cxnLst>
                <a:cxn ang="0">
                  <a:pos x="16" y="123"/>
                </a:cxn>
                <a:cxn ang="0">
                  <a:pos x="0" y="76"/>
                </a:cxn>
                <a:cxn ang="0">
                  <a:pos x="76" y="0"/>
                </a:cxn>
                <a:cxn ang="0">
                  <a:pos x="89" y="1"/>
                </a:cxn>
              </a:cxnLst>
              <a:rect l="0" t="0" r="r" b="b"/>
              <a:pathLst>
                <a:path w="89" h="123">
                  <a:moveTo>
                    <a:pt x="16" y="123"/>
                  </a:moveTo>
                  <a:cubicBezTo>
                    <a:pt x="6" y="110"/>
                    <a:pt x="0" y="94"/>
                    <a:pt x="0" y="76"/>
                  </a:cubicBezTo>
                  <a:cubicBezTo>
                    <a:pt x="0" y="34"/>
                    <a:pt x="34" y="0"/>
                    <a:pt x="76" y="0"/>
                  </a:cubicBezTo>
                  <a:cubicBezTo>
                    <a:pt x="81" y="0"/>
                    <a:pt x="85" y="0"/>
                    <a:pt x="89" y="1"/>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1"/>
            <p:cNvSpPr>
              <a:spLocks/>
            </p:cNvSpPr>
            <p:nvPr/>
          </p:nvSpPr>
          <p:spPr bwMode="auto">
            <a:xfrm>
              <a:off x="1108076" y="4449763"/>
              <a:ext cx="150813" cy="165100"/>
            </a:xfrm>
            <a:custGeom>
              <a:avLst/>
              <a:gdLst/>
              <a:ahLst/>
              <a:cxnLst>
                <a:cxn ang="0">
                  <a:pos x="29" y="8"/>
                </a:cxn>
                <a:cxn ang="0">
                  <a:pos x="32" y="5"/>
                </a:cxn>
                <a:cxn ang="0">
                  <a:pos x="37" y="9"/>
                </a:cxn>
                <a:cxn ang="0">
                  <a:pos x="6" y="36"/>
                </a:cxn>
                <a:cxn ang="0">
                  <a:pos x="0" y="44"/>
                </a:cxn>
              </a:cxnLst>
              <a:rect l="0" t="0" r="r" b="b"/>
              <a:pathLst>
                <a:path w="40" h="44">
                  <a:moveTo>
                    <a:pt x="29" y="8"/>
                  </a:moveTo>
                  <a:cubicBezTo>
                    <a:pt x="29" y="8"/>
                    <a:pt x="32" y="5"/>
                    <a:pt x="32" y="5"/>
                  </a:cubicBezTo>
                  <a:cubicBezTo>
                    <a:pt x="36" y="0"/>
                    <a:pt x="40" y="6"/>
                    <a:pt x="37" y="9"/>
                  </a:cubicBezTo>
                  <a:cubicBezTo>
                    <a:pt x="34" y="12"/>
                    <a:pt x="30" y="27"/>
                    <a:pt x="6" y="36"/>
                  </a:cubicBezTo>
                  <a:cubicBezTo>
                    <a:pt x="0" y="44"/>
                    <a:pt x="0" y="44"/>
                    <a:pt x="0" y="44"/>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3" name="Group 202"/>
          <p:cNvGrpSpPr/>
          <p:nvPr/>
        </p:nvGrpSpPr>
        <p:grpSpPr>
          <a:xfrm>
            <a:off x="3719398" y="2091711"/>
            <a:ext cx="293680" cy="614391"/>
            <a:chOff x="923925" y="4013201"/>
            <a:chExt cx="379413" cy="793750"/>
          </a:xfrm>
        </p:grpSpPr>
        <p:sp>
          <p:nvSpPr>
            <p:cNvPr id="204" name="Freeform 76"/>
            <p:cNvSpPr>
              <a:spLocks/>
            </p:cNvSpPr>
            <p:nvPr/>
          </p:nvSpPr>
          <p:spPr bwMode="auto">
            <a:xfrm>
              <a:off x="1047750" y="4125913"/>
              <a:ext cx="150813" cy="141288"/>
            </a:xfrm>
            <a:custGeom>
              <a:avLst/>
              <a:gdLst/>
              <a:ahLst/>
              <a:cxnLst>
                <a:cxn ang="0">
                  <a:pos x="33" y="34"/>
                </a:cxn>
                <a:cxn ang="0">
                  <a:pos x="29" y="37"/>
                </a:cxn>
                <a:cxn ang="0">
                  <a:pos x="24" y="34"/>
                </a:cxn>
                <a:cxn ang="0">
                  <a:pos x="16" y="34"/>
                </a:cxn>
                <a:cxn ang="0">
                  <a:pos x="11" y="37"/>
                </a:cxn>
                <a:cxn ang="0">
                  <a:pos x="8" y="34"/>
                </a:cxn>
                <a:cxn ang="0">
                  <a:pos x="8" y="29"/>
                </a:cxn>
                <a:cxn ang="0">
                  <a:pos x="6" y="21"/>
                </a:cxn>
                <a:cxn ang="0">
                  <a:pos x="2" y="17"/>
                </a:cxn>
                <a:cxn ang="0">
                  <a:pos x="3" y="13"/>
                </a:cxn>
                <a:cxn ang="0">
                  <a:pos x="9" y="12"/>
                </a:cxn>
                <a:cxn ang="0">
                  <a:pos x="16" y="7"/>
                </a:cxn>
                <a:cxn ang="0">
                  <a:pos x="18" y="2"/>
                </a:cxn>
                <a:cxn ang="0">
                  <a:pos x="22" y="2"/>
                </a:cxn>
                <a:cxn ang="0">
                  <a:pos x="25" y="7"/>
                </a:cxn>
                <a:cxn ang="0">
                  <a:pos x="32" y="12"/>
                </a:cxn>
                <a:cxn ang="0">
                  <a:pos x="37" y="13"/>
                </a:cxn>
                <a:cxn ang="0">
                  <a:pos x="38" y="17"/>
                </a:cxn>
                <a:cxn ang="0">
                  <a:pos x="34" y="21"/>
                </a:cxn>
                <a:cxn ang="0">
                  <a:pos x="32" y="29"/>
                </a:cxn>
                <a:cxn ang="0">
                  <a:pos x="33" y="34"/>
                </a:cxn>
              </a:cxnLst>
              <a:rect l="0" t="0" r="r" b="b"/>
              <a:pathLst>
                <a:path w="40" h="38">
                  <a:moveTo>
                    <a:pt x="33" y="34"/>
                  </a:moveTo>
                  <a:cubicBezTo>
                    <a:pt x="33" y="37"/>
                    <a:pt x="32" y="38"/>
                    <a:pt x="29" y="37"/>
                  </a:cubicBezTo>
                  <a:cubicBezTo>
                    <a:pt x="24" y="34"/>
                    <a:pt x="24" y="34"/>
                    <a:pt x="24" y="34"/>
                  </a:cubicBezTo>
                  <a:cubicBezTo>
                    <a:pt x="22" y="33"/>
                    <a:pt x="18" y="33"/>
                    <a:pt x="16" y="34"/>
                  </a:cubicBezTo>
                  <a:cubicBezTo>
                    <a:pt x="11" y="37"/>
                    <a:pt x="11" y="37"/>
                    <a:pt x="11" y="37"/>
                  </a:cubicBezTo>
                  <a:cubicBezTo>
                    <a:pt x="9" y="38"/>
                    <a:pt x="7" y="37"/>
                    <a:pt x="8" y="34"/>
                  </a:cubicBezTo>
                  <a:cubicBezTo>
                    <a:pt x="8" y="29"/>
                    <a:pt x="8" y="29"/>
                    <a:pt x="8" y="29"/>
                  </a:cubicBezTo>
                  <a:cubicBezTo>
                    <a:pt x="9" y="26"/>
                    <a:pt x="8" y="23"/>
                    <a:pt x="6" y="21"/>
                  </a:cubicBezTo>
                  <a:cubicBezTo>
                    <a:pt x="2" y="17"/>
                    <a:pt x="2" y="17"/>
                    <a:pt x="2" y="17"/>
                  </a:cubicBezTo>
                  <a:cubicBezTo>
                    <a:pt x="0" y="15"/>
                    <a:pt x="1" y="13"/>
                    <a:pt x="3" y="13"/>
                  </a:cubicBezTo>
                  <a:cubicBezTo>
                    <a:pt x="9" y="12"/>
                    <a:pt x="9" y="12"/>
                    <a:pt x="9" y="12"/>
                  </a:cubicBezTo>
                  <a:cubicBezTo>
                    <a:pt x="11" y="12"/>
                    <a:pt x="14" y="9"/>
                    <a:pt x="16" y="7"/>
                  </a:cubicBezTo>
                  <a:cubicBezTo>
                    <a:pt x="18" y="2"/>
                    <a:pt x="18" y="2"/>
                    <a:pt x="18" y="2"/>
                  </a:cubicBezTo>
                  <a:cubicBezTo>
                    <a:pt x="19" y="0"/>
                    <a:pt x="21" y="0"/>
                    <a:pt x="22" y="2"/>
                  </a:cubicBezTo>
                  <a:cubicBezTo>
                    <a:pt x="25" y="7"/>
                    <a:pt x="25" y="7"/>
                    <a:pt x="25" y="7"/>
                  </a:cubicBezTo>
                  <a:cubicBezTo>
                    <a:pt x="26" y="9"/>
                    <a:pt x="29" y="12"/>
                    <a:pt x="32" y="12"/>
                  </a:cubicBezTo>
                  <a:cubicBezTo>
                    <a:pt x="37" y="13"/>
                    <a:pt x="37" y="13"/>
                    <a:pt x="37" y="13"/>
                  </a:cubicBezTo>
                  <a:cubicBezTo>
                    <a:pt x="40" y="13"/>
                    <a:pt x="40" y="15"/>
                    <a:pt x="38" y="17"/>
                  </a:cubicBezTo>
                  <a:cubicBezTo>
                    <a:pt x="34" y="21"/>
                    <a:pt x="34" y="21"/>
                    <a:pt x="34" y="21"/>
                  </a:cubicBezTo>
                  <a:cubicBezTo>
                    <a:pt x="33" y="23"/>
                    <a:pt x="31" y="26"/>
                    <a:pt x="32" y="29"/>
                  </a:cubicBezTo>
                  <a:lnTo>
                    <a:pt x="33" y="34"/>
                  </a:lnTo>
                  <a:close/>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7"/>
            <p:cNvSpPr>
              <a:spLocks/>
            </p:cNvSpPr>
            <p:nvPr/>
          </p:nvSpPr>
          <p:spPr bwMode="auto">
            <a:xfrm>
              <a:off x="1052513" y="4013201"/>
              <a:ext cx="250825" cy="236538"/>
            </a:xfrm>
            <a:custGeom>
              <a:avLst/>
              <a:gdLst/>
              <a:ahLst/>
              <a:cxnLst>
                <a:cxn ang="0">
                  <a:pos x="8" y="33"/>
                </a:cxn>
                <a:cxn ang="0">
                  <a:pos x="2" y="26"/>
                </a:cxn>
                <a:cxn ang="0">
                  <a:pos x="3" y="22"/>
                </a:cxn>
                <a:cxn ang="0">
                  <a:pos x="18" y="20"/>
                </a:cxn>
                <a:cxn ang="0">
                  <a:pos x="25" y="15"/>
                </a:cxn>
                <a:cxn ang="0">
                  <a:pos x="31" y="2"/>
                </a:cxn>
                <a:cxn ang="0">
                  <a:pos x="35" y="2"/>
                </a:cxn>
                <a:cxn ang="0">
                  <a:pos x="42" y="15"/>
                </a:cxn>
                <a:cxn ang="0">
                  <a:pos x="49" y="20"/>
                </a:cxn>
                <a:cxn ang="0">
                  <a:pos x="64" y="22"/>
                </a:cxn>
                <a:cxn ang="0">
                  <a:pos x="65" y="26"/>
                </a:cxn>
                <a:cxn ang="0">
                  <a:pos x="54" y="37"/>
                </a:cxn>
                <a:cxn ang="0">
                  <a:pos x="52" y="45"/>
                </a:cxn>
                <a:cxn ang="0">
                  <a:pos x="54" y="60"/>
                </a:cxn>
                <a:cxn ang="0">
                  <a:pos x="51" y="62"/>
                </a:cxn>
                <a:cxn ang="0">
                  <a:pos x="38" y="55"/>
                </a:cxn>
              </a:cxnLst>
              <a:rect l="0" t="0" r="r" b="b"/>
              <a:pathLst>
                <a:path w="67" h="63">
                  <a:moveTo>
                    <a:pt x="8" y="33"/>
                  </a:moveTo>
                  <a:cubicBezTo>
                    <a:pt x="2" y="26"/>
                    <a:pt x="2" y="26"/>
                    <a:pt x="2" y="26"/>
                  </a:cubicBezTo>
                  <a:cubicBezTo>
                    <a:pt x="0" y="25"/>
                    <a:pt x="0" y="23"/>
                    <a:pt x="3" y="22"/>
                  </a:cubicBezTo>
                  <a:cubicBezTo>
                    <a:pt x="18" y="20"/>
                    <a:pt x="18" y="20"/>
                    <a:pt x="18" y="20"/>
                  </a:cubicBezTo>
                  <a:cubicBezTo>
                    <a:pt x="20" y="20"/>
                    <a:pt x="23" y="18"/>
                    <a:pt x="25" y="15"/>
                  </a:cubicBezTo>
                  <a:cubicBezTo>
                    <a:pt x="31" y="2"/>
                    <a:pt x="31" y="2"/>
                    <a:pt x="31" y="2"/>
                  </a:cubicBezTo>
                  <a:cubicBezTo>
                    <a:pt x="32" y="0"/>
                    <a:pt x="34" y="0"/>
                    <a:pt x="35" y="2"/>
                  </a:cubicBezTo>
                  <a:cubicBezTo>
                    <a:pt x="42" y="15"/>
                    <a:pt x="42" y="15"/>
                    <a:pt x="42" y="15"/>
                  </a:cubicBezTo>
                  <a:cubicBezTo>
                    <a:pt x="43" y="18"/>
                    <a:pt x="46" y="20"/>
                    <a:pt x="49" y="20"/>
                  </a:cubicBezTo>
                  <a:cubicBezTo>
                    <a:pt x="64" y="22"/>
                    <a:pt x="64" y="22"/>
                    <a:pt x="64" y="22"/>
                  </a:cubicBezTo>
                  <a:cubicBezTo>
                    <a:pt x="66" y="23"/>
                    <a:pt x="67" y="25"/>
                    <a:pt x="65" y="26"/>
                  </a:cubicBezTo>
                  <a:cubicBezTo>
                    <a:pt x="54" y="37"/>
                    <a:pt x="54" y="37"/>
                    <a:pt x="54" y="37"/>
                  </a:cubicBezTo>
                  <a:cubicBezTo>
                    <a:pt x="52" y="39"/>
                    <a:pt x="51" y="42"/>
                    <a:pt x="52" y="45"/>
                  </a:cubicBezTo>
                  <a:cubicBezTo>
                    <a:pt x="54" y="60"/>
                    <a:pt x="54" y="60"/>
                    <a:pt x="54" y="60"/>
                  </a:cubicBezTo>
                  <a:cubicBezTo>
                    <a:pt x="55" y="62"/>
                    <a:pt x="53" y="63"/>
                    <a:pt x="51" y="62"/>
                  </a:cubicBezTo>
                  <a:cubicBezTo>
                    <a:pt x="38" y="55"/>
                    <a:pt x="38" y="55"/>
                    <a:pt x="38" y="55"/>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8"/>
            <p:cNvSpPr>
              <a:spLocks/>
            </p:cNvSpPr>
            <p:nvPr/>
          </p:nvSpPr>
          <p:spPr bwMode="auto">
            <a:xfrm>
              <a:off x="939800" y="4230688"/>
              <a:ext cx="228600" cy="576263"/>
            </a:xfrm>
            <a:custGeom>
              <a:avLst/>
              <a:gdLst/>
              <a:ahLst/>
              <a:cxnLst>
                <a:cxn ang="0">
                  <a:pos x="20" y="48"/>
                </a:cxn>
                <a:cxn ang="0">
                  <a:pos x="20" y="57"/>
                </a:cxn>
                <a:cxn ang="0">
                  <a:pos x="30" y="73"/>
                </a:cxn>
                <a:cxn ang="0">
                  <a:pos x="55" y="84"/>
                </a:cxn>
                <a:cxn ang="0">
                  <a:pos x="57" y="95"/>
                </a:cxn>
                <a:cxn ang="0">
                  <a:pos x="37" y="127"/>
                </a:cxn>
                <a:cxn ang="0">
                  <a:pos x="38" y="116"/>
                </a:cxn>
                <a:cxn ang="0">
                  <a:pos x="47" y="93"/>
                </a:cxn>
                <a:cxn ang="0">
                  <a:pos x="31" y="86"/>
                </a:cxn>
                <a:cxn ang="0">
                  <a:pos x="34" y="105"/>
                </a:cxn>
                <a:cxn ang="0">
                  <a:pos x="26" y="127"/>
                </a:cxn>
                <a:cxn ang="0">
                  <a:pos x="13" y="154"/>
                </a:cxn>
                <a:cxn ang="0">
                  <a:pos x="14" y="137"/>
                </a:cxn>
                <a:cxn ang="0">
                  <a:pos x="23" y="111"/>
                </a:cxn>
                <a:cxn ang="0">
                  <a:pos x="18" y="83"/>
                </a:cxn>
                <a:cxn ang="0">
                  <a:pos x="6" y="65"/>
                </a:cxn>
                <a:cxn ang="0">
                  <a:pos x="1" y="47"/>
                </a:cxn>
                <a:cxn ang="0">
                  <a:pos x="11" y="38"/>
                </a:cxn>
                <a:cxn ang="0">
                  <a:pos x="22" y="33"/>
                </a:cxn>
                <a:cxn ang="0">
                  <a:pos x="26" y="5"/>
                </a:cxn>
                <a:cxn ang="0">
                  <a:pos x="25" y="0"/>
                </a:cxn>
              </a:cxnLst>
              <a:rect l="0" t="0" r="r" b="b"/>
              <a:pathLst>
                <a:path w="61" h="154">
                  <a:moveTo>
                    <a:pt x="20" y="48"/>
                  </a:moveTo>
                  <a:cubicBezTo>
                    <a:pt x="20" y="48"/>
                    <a:pt x="19" y="51"/>
                    <a:pt x="20" y="57"/>
                  </a:cubicBezTo>
                  <a:cubicBezTo>
                    <a:pt x="22" y="63"/>
                    <a:pt x="30" y="73"/>
                    <a:pt x="30" y="73"/>
                  </a:cubicBezTo>
                  <a:cubicBezTo>
                    <a:pt x="30" y="73"/>
                    <a:pt x="48" y="80"/>
                    <a:pt x="55" y="84"/>
                  </a:cubicBezTo>
                  <a:cubicBezTo>
                    <a:pt x="61" y="87"/>
                    <a:pt x="57" y="95"/>
                    <a:pt x="57" y="95"/>
                  </a:cubicBezTo>
                  <a:cubicBezTo>
                    <a:pt x="37" y="127"/>
                    <a:pt x="37" y="127"/>
                    <a:pt x="37" y="127"/>
                  </a:cubicBezTo>
                  <a:cubicBezTo>
                    <a:pt x="38" y="116"/>
                    <a:pt x="38" y="116"/>
                    <a:pt x="38" y="116"/>
                  </a:cubicBezTo>
                  <a:cubicBezTo>
                    <a:pt x="47" y="93"/>
                    <a:pt x="47" y="93"/>
                    <a:pt x="47" y="93"/>
                  </a:cubicBezTo>
                  <a:cubicBezTo>
                    <a:pt x="31" y="86"/>
                    <a:pt x="31" y="86"/>
                    <a:pt x="31" y="86"/>
                  </a:cubicBezTo>
                  <a:cubicBezTo>
                    <a:pt x="31" y="86"/>
                    <a:pt x="34" y="100"/>
                    <a:pt x="34" y="105"/>
                  </a:cubicBezTo>
                  <a:cubicBezTo>
                    <a:pt x="34" y="110"/>
                    <a:pt x="29" y="122"/>
                    <a:pt x="26" y="127"/>
                  </a:cubicBezTo>
                  <a:cubicBezTo>
                    <a:pt x="24" y="131"/>
                    <a:pt x="13" y="154"/>
                    <a:pt x="13" y="154"/>
                  </a:cubicBezTo>
                  <a:cubicBezTo>
                    <a:pt x="14" y="137"/>
                    <a:pt x="14" y="137"/>
                    <a:pt x="14" y="137"/>
                  </a:cubicBezTo>
                  <a:cubicBezTo>
                    <a:pt x="14" y="137"/>
                    <a:pt x="23" y="112"/>
                    <a:pt x="23" y="111"/>
                  </a:cubicBezTo>
                  <a:cubicBezTo>
                    <a:pt x="23" y="111"/>
                    <a:pt x="19" y="85"/>
                    <a:pt x="18" y="83"/>
                  </a:cubicBezTo>
                  <a:cubicBezTo>
                    <a:pt x="18" y="81"/>
                    <a:pt x="11" y="71"/>
                    <a:pt x="6" y="65"/>
                  </a:cubicBezTo>
                  <a:cubicBezTo>
                    <a:pt x="2" y="59"/>
                    <a:pt x="0" y="54"/>
                    <a:pt x="1" y="47"/>
                  </a:cubicBezTo>
                  <a:cubicBezTo>
                    <a:pt x="3" y="38"/>
                    <a:pt x="11" y="38"/>
                    <a:pt x="11" y="38"/>
                  </a:cubicBezTo>
                  <a:cubicBezTo>
                    <a:pt x="11" y="38"/>
                    <a:pt x="20" y="36"/>
                    <a:pt x="22" y="33"/>
                  </a:cubicBezTo>
                  <a:cubicBezTo>
                    <a:pt x="24" y="30"/>
                    <a:pt x="26" y="5"/>
                    <a:pt x="26" y="5"/>
                  </a:cubicBezTo>
                  <a:cubicBezTo>
                    <a:pt x="26" y="5"/>
                    <a:pt x="25" y="2"/>
                    <a:pt x="25" y="0"/>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9"/>
            <p:cNvSpPr>
              <a:spLocks/>
            </p:cNvSpPr>
            <p:nvPr/>
          </p:nvSpPr>
          <p:spPr bwMode="auto">
            <a:xfrm>
              <a:off x="923925" y="4279901"/>
              <a:ext cx="71438" cy="69850"/>
            </a:xfrm>
            <a:custGeom>
              <a:avLst/>
              <a:gdLst/>
              <a:ahLst/>
              <a:cxnLst>
                <a:cxn ang="0">
                  <a:pos x="1" y="11"/>
                </a:cxn>
                <a:cxn ang="0">
                  <a:pos x="8" y="1"/>
                </a:cxn>
                <a:cxn ang="0">
                  <a:pos x="18" y="8"/>
                </a:cxn>
                <a:cxn ang="0">
                  <a:pos x="11" y="18"/>
                </a:cxn>
                <a:cxn ang="0">
                  <a:pos x="1" y="11"/>
                </a:cxn>
              </a:cxnLst>
              <a:rect l="0" t="0" r="r" b="b"/>
              <a:pathLst>
                <a:path w="19" h="19">
                  <a:moveTo>
                    <a:pt x="1" y="11"/>
                  </a:moveTo>
                  <a:cubicBezTo>
                    <a:pt x="0" y="6"/>
                    <a:pt x="3" y="1"/>
                    <a:pt x="8" y="1"/>
                  </a:cubicBezTo>
                  <a:cubicBezTo>
                    <a:pt x="13" y="0"/>
                    <a:pt x="18" y="3"/>
                    <a:pt x="18" y="8"/>
                  </a:cubicBezTo>
                  <a:cubicBezTo>
                    <a:pt x="19" y="13"/>
                    <a:pt x="15" y="18"/>
                    <a:pt x="11" y="18"/>
                  </a:cubicBezTo>
                  <a:cubicBezTo>
                    <a:pt x="6" y="19"/>
                    <a:pt x="1" y="16"/>
                    <a:pt x="1" y="11"/>
                  </a:cubicBezTo>
                  <a:close/>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8" name="Group 207"/>
          <p:cNvGrpSpPr/>
          <p:nvPr/>
        </p:nvGrpSpPr>
        <p:grpSpPr>
          <a:xfrm>
            <a:off x="3714637" y="5072925"/>
            <a:ext cx="308330" cy="432048"/>
            <a:chOff x="7938" y="4152900"/>
            <a:chExt cx="506413" cy="709613"/>
          </a:xfrm>
        </p:grpSpPr>
        <p:sp>
          <p:nvSpPr>
            <p:cNvPr id="209" name="Freeform 84"/>
            <p:cNvSpPr>
              <a:spLocks/>
            </p:cNvSpPr>
            <p:nvPr/>
          </p:nvSpPr>
          <p:spPr bwMode="auto">
            <a:xfrm>
              <a:off x="7938" y="4152900"/>
              <a:ext cx="506413" cy="709613"/>
            </a:xfrm>
            <a:custGeom>
              <a:avLst/>
              <a:gdLst/>
              <a:ahLst/>
              <a:cxnLst>
                <a:cxn ang="0">
                  <a:pos x="119" y="189"/>
                </a:cxn>
                <a:cxn ang="0">
                  <a:pos x="130" y="189"/>
                </a:cxn>
                <a:cxn ang="0">
                  <a:pos x="135" y="184"/>
                </a:cxn>
                <a:cxn ang="0">
                  <a:pos x="135" y="24"/>
                </a:cxn>
                <a:cxn ang="0">
                  <a:pos x="130" y="19"/>
                </a:cxn>
                <a:cxn ang="0">
                  <a:pos x="96" y="19"/>
                </a:cxn>
                <a:cxn ang="0">
                  <a:pos x="96" y="6"/>
                </a:cxn>
                <a:cxn ang="0">
                  <a:pos x="90" y="0"/>
                </a:cxn>
                <a:cxn ang="0">
                  <a:pos x="45" y="0"/>
                </a:cxn>
                <a:cxn ang="0">
                  <a:pos x="39" y="6"/>
                </a:cxn>
                <a:cxn ang="0">
                  <a:pos x="39" y="19"/>
                </a:cxn>
                <a:cxn ang="0">
                  <a:pos x="5" y="19"/>
                </a:cxn>
                <a:cxn ang="0">
                  <a:pos x="0" y="24"/>
                </a:cxn>
                <a:cxn ang="0">
                  <a:pos x="0" y="184"/>
                </a:cxn>
                <a:cxn ang="0">
                  <a:pos x="5" y="189"/>
                </a:cxn>
                <a:cxn ang="0">
                  <a:pos x="72" y="189"/>
                </a:cxn>
              </a:cxnLst>
              <a:rect l="0" t="0" r="r" b="b"/>
              <a:pathLst>
                <a:path w="135" h="189">
                  <a:moveTo>
                    <a:pt x="119" y="189"/>
                  </a:moveTo>
                  <a:cubicBezTo>
                    <a:pt x="130" y="189"/>
                    <a:pt x="130" y="189"/>
                    <a:pt x="130" y="189"/>
                  </a:cubicBezTo>
                  <a:cubicBezTo>
                    <a:pt x="133" y="189"/>
                    <a:pt x="135" y="187"/>
                    <a:pt x="135" y="184"/>
                  </a:cubicBezTo>
                  <a:cubicBezTo>
                    <a:pt x="135" y="24"/>
                    <a:pt x="135" y="24"/>
                    <a:pt x="135" y="24"/>
                  </a:cubicBezTo>
                  <a:cubicBezTo>
                    <a:pt x="135" y="22"/>
                    <a:pt x="133" y="19"/>
                    <a:pt x="130" y="19"/>
                  </a:cubicBezTo>
                  <a:cubicBezTo>
                    <a:pt x="96" y="19"/>
                    <a:pt x="96" y="19"/>
                    <a:pt x="96" y="19"/>
                  </a:cubicBezTo>
                  <a:cubicBezTo>
                    <a:pt x="96" y="6"/>
                    <a:pt x="96" y="6"/>
                    <a:pt x="96" y="6"/>
                  </a:cubicBezTo>
                  <a:cubicBezTo>
                    <a:pt x="96" y="3"/>
                    <a:pt x="93" y="0"/>
                    <a:pt x="90" y="0"/>
                  </a:cubicBezTo>
                  <a:cubicBezTo>
                    <a:pt x="45" y="0"/>
                    <a:pt x="45" y="0"/>
                    <a:pt x="45" y="0"/>
                  </a:cubicBezTo>
                  <a:cubicBezTo>
                    <a:pt x="41" y="0"/>
                    <a:pt x="39" y="3"/>
                    <a:pt x="39" y="6"/>
                  </a:cubicBezTo>
                  <a:cubicBezTo>
                    <a:pt x="39" y="19"/>
                    <a:pt x="39" y="19"/>
                    <a:pt x="39" y="19"/>
                  </a:cubicBezTo>
                  <a:cubicBezTo>
                    <a:pt x="5" y="19"/>
                    <a:pt x="5" y="19"/>
                    <a:pt x="5" y="19"/>
                  </a:cubicBezTo>
                  <a:cubicBezTo>
                    <a:pt x="2" y="19"/>
                    <a:pt x="0" y="22"/>
                    <a:pt x="0" y="24"/>
                  </a:cubicBezTo>
                  <a:cubicBezTo>
                    <a:pt x="0" y="184"/>
                    <a:pt x="0" y="184"/>
                    <a:pt x="0" y="184"/>
                  </a:cubicBezTo>
                  <a:cubicBezTo>
                    <a:pt x="0" y="187"/>
                    <a:pt x="2" y="189"/>
                    <a:pt x="5" y="189"/>
                  </a:cubicBezTo>
                  <a:cubicBezTo>
                    <a:pt x="72" y="189"/>
                    <a:pt x="72" y="189"/>
                    <a:pt x="72" y="189"/>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Oval 85"/>
            <p:cNvSpPr>
              <a:spLocks noChangeArrowheads="1"/>
            </p:cNvSpPr>
            <p:nvPr/>
          </p:nvSpPr>
          <p:spPr bwMode="auto">
            <a:xfrm>
              <a:off x="115888" y="4371975"/>
              <a:ext cx="98425" cy="96838"/>
            </a:xfrm>
            <a:prstGeom prst="ellips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Oval 86"/>
            <p:cNvSpPr>
              <a:spLocks noChangeArrowheads="1"/>
            </p:cNvSpPr>
            <p:nvPr/>
          </p:nvSpPr>
          <p:spPr bwMode="auto">
            <a:xfrm>
              <a:off x="115888" y="4513263"/>
              <a:ext cx="98425" cy="98425"/>
            </a:xfrm>
            <a:prstGeom prst="ellips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Oval 87"/>
            <p:cNvSpPr>
              <a:spLocks noChangeArrowheads="1"/>
            </p:cNvSpPr>
            <p:nvPr/>
          </p:nvSpPr>
          <p:spPr bwMode="auto">
            <a:xfrm>
              <a:off x="115888" y="4652963"/>
              <a:ext cx="98425" cy="96838"/>
            </a:xfrm>
            <a:prstGeom prst="ellips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8"/>
            <p:cNvSpPr>
              <a:spLocks/>
            </p:cNvSpPr>
            <p:nvPr/>
          </p:nvSpPr>
          <p:spPr bwMode="auto">
            <a:xfrm>
              <a:off x="153988" y="4259263"/>
              <a:ext cx="214313" cy="41275"/>
            </a:xfrm>
            <a:custGeom>
              <a:avLst/>
              <a:gdLst/>
              <a:ahLst/>
              <a:cxnLst>
                <a:cxn ang="0">
                  <a:pos x="57" y="0"/>
                </a:cxn>
                <a:cxn ang="0">
                  <a:pos x="57" y="5"/>
                </a:cxn>
                <a:cxn ang="0">
                  <a:pos x="51" y="11"/>
                </a:cxn>
                <a:cxn ang="0">
                  <a:pos x="6" y="11"/>
                </a:cxn>
                <a:cxn ang="0">
                  <a:pos x="0" y="5"/>
                </a:cxn>
                <a:cxn ang="0">
                  <a:pos x="0" y="2"/>
                </a:cxn>
              </a:cxnLst>
              <a:rect l="0" t="0" r="r" b="b"/>
              <a:pathLst>
                <a:path w="57" h="11">
                  <a:moveTo>
                    <a:pt x="57" y="0"/>
                  </a:moveTo>
                  <a:cubicBezTo>
                    <a:pt x="57" y="5"/>
                    <a:pt x="57" y="5"/>
                    <a:pt x="57" y="5"/>
                  </a:cubicBezTo>
                  <a:cubicBezTo>
                    <a:pt x="57" y="8"/>
                    <a:pt x="54" y="11"/>
                    <a:pt x="51" y="11"/>
                  </a:cubicBezTo>
                  <a:cubicBezTo>
                    <a:pt x="6" y="11"/>
                    <a:pt x="6" y="11"/>
                    <a:pt x="6" y="11"/>
                  </a:cubicBezTo>
                  <a:cubicBezTo>
                    <a:pt x="2" y="11"/>
                    <a:pt x="0" y="8"/>
                    <a:pt x="0" y="5"/>
                  </a:cubicBezTo>
                  <a:cubicBezTo>
                    <a:pt x="0" y="2"/>
                    <a:pt x="0" y="2"/>
                    <a:pt x="0" y="2"/>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Line 89"/>
            <p:cNvSpPr>
              <a:spLocks noChangeShapeType="1"/>
            </p:cNvSpPr>
            <p:nvPr/>
          </p:nvSpPr>
          <p:spPr bwMode="auto">
            <a:xfrm>
              <a:off x="261938" y="4389438"/>
              <a:ext cx="117475" cy="1588"/>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Line 90"/>
            <p:cNvSpPr>
              <a:spLocks noChangeShapeType="1"/>
            </p:cNvSpPr>
            <p:nvPr/>
          </p:nvSpPr>
          <p:spPr bwMode="auto">
            <a:xfrm>
              <a:off x="261938" y="4559300"/>
              <a:ext cx="117475" cy="1588"/>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Line 91"/>
            <p:cNvSpPr>
              <a:spLocks noChangeShapeType="1"/>
            </p:cNvSpPr>
            <p:nvPr/>
          </p:nvSpPr>
          <p:spPr bwMode="auto">
            <a:xfrm>
              <a:off x="261938" y="4713288"/>
              <a:ext cx="117475" cy="1588"/>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3" name="Groupe 386"/>
          <p:cNvGrpSpPr/>
          <p:nvPr/>
        </p:nvGrpSpPr>
        <p:grpSpPr>
          <a:xfrm>
            <a:off x="5790098" y="2682821"/>
            <a:ext cx="573338" cy="477335"/>
            <a:chOff x="5543551" y="3457575"/>
            <a:chExt cx="441325" cy="311151"/>
          </a:xfrm>
        </p:grpSpPr>
        <p:sp>
          <p:nvSpPr>
            <p:cNvPr id="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97" name="Line 453"/>
            <p:cNvSpPr>
              <a:spLocks noChangeShapeType="1"/>
            </p:cNvSpPr>
            <p:nvPr/>
          </p:nvSpPr>
          <p:spPr bwMode="auto">
            <a:xfrm>
              <a:off x="5775326" y="3509963"/>
              <a:ext cx="1588" cy="17463"/>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98" name="Line 454"/>
            <p:cNvSpPr>
              <a:spLocks noChangeShapeType="1"/>
            </p:cNvSpPr>
            <p:nvPr/>
          </p:nvSpPr>
          <p:spPr bwMode="auto">
            <a:xfrm>
              <a:off x="5629276" y="3590925"/>
              <a:ext cx="17463"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99" name="Line 455"/>
            <p:cNvSpPr>
              <a:spLocks noChangeShapeType="1"/>
            </p:cNvSpPr>
            <p:nvPr/>
          </p:nvSpPr>
          <p:spPr bwMode="auto">
            <a:xfrm>
              <a:off x="5905501" y="3590925"/>
              <a:ext cx="1905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0" name="Line 456"/>
            <p:cNvSpPr>
              <a:spLocks noChangeShapeType="1"/>
            </p:cNvSpPr>
            <p:nvPr/>
          </p:nvSpPr>
          <p:spPr bwMode="auto">
            <a:xfrm>
              <a:off x="5691188" y="3532188"/>
              <a:ext cx="7938" cy="1270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1" name="Line 457"/>
            <p:cNvSpPr>
              <a:spLocks noChangeShapeType="1"/>
            </p:cNvSpPr>
            <p:nvPr/>
          </p:nvSpPr>
          <p:spPr bwMode="auto">
            <a:xfrm flipH="1">
              <a:off x="5851526" y="3532188"/>
              <a:ext cx="9525" cy="1270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4" name="Line 461"/>
            <p:cNvSpPr>
              <a:spLocks noChangeShapeType="1"/>
            </p:cNvSpPr>
            <p:nvPr/>
          </p:nvSpPr>
          <p:spPr bwMode="auto">
            <a:xfrm>
              <a:off x="5576888" y="3656013"/>
              <a:ext cx="188913"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5" name="Line 462"/>
            <p:cNvSpPr>
              <a:spLocks noChangeShapeType="1"/>
            </p:cNvSpPr>
            <p:nvPr/>
          </p:nvSpPr>
          <p:spPr bwMode="auto">
            <a:xfrm>
              <a:off x="5838825" y="3656013"/>
              <a:ext cx="13970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6" name="Line 463"/>
            <p:cNvSpPr>
              <a:spLocks noChangeShapeType="1"/>
            </p:cNvSpPr>
            <p:nvPr/>
          </p:nvSpPr>
          <p:spPr bwMode="auto">
            <a:xfrm>
              <a:off x="5588000" y="3767138"/>
              <a:ext cx="352425"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sp>
          <p:nvSpPr>
            <p:cNvPr id="1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grpSp>
      <p:grpSp>
        <p:nvGrpSpPr>
          <p:cNvPr id="108" name="Groupe 71"/>
          <p:cNvGrpSpPr/>
          <p:nvPr/>
        </p:nvGrpSpPr>
        <p:grpSpPr>
          <a:xfrm>
            <a:off x="3619117" y="4051220"/>
            <a:ext cx="565118" cy="557959"/>
            <a:chOff x="1755776" y="5140323"/>
            <a:chExt cx="465137" cy="393701"/>
          </a:xfrm>
        </p:grpSpPr>
        <p:sp>
          <p:nvSpPr>
            <p:cNvPr id="109" name="Freeform 282"/>
            <p:cNvSpPr>
              <a:spLocks noEditPoints="1"/>
            </p:cNvSpPr>
            <p:nvPr/>
          </p:nvSpPr>
          <p:spPr bwMode="auto">
            <a:xfrm>
              <a:off x="1755776" y="5140323"/>
              <a:ext cx="395288" cy="239713"/>
            </a:xfrm>
            <a:custGeom>
              <a:avLst/>
              <a:gdLst/>
              <a:ahLst/>
              <a:cxnLst>
                <a:cxn ang="0">
                  <a:pos x="7" y="28"/>
                </a:cxn>
                <a:cxn ang="0">
                  <a:pos x="106" y="0"/>
                </a:cxn>
                <a:cxn ang="0">
                  <a:pos x="204" y="28"/>
                </a:cxn>
                <a:cxn ang="0">
                  <a:pos x="182" y="35"/>
                </a:cxn>
                <a:cxn ang="0">
                  <a:pos x="173" y="37"/>
                </a:cxn>
                <a:cxn ang="0">
                  <a:pos x="167" y="39"/>
                </a:cxn>
                <a:cxn ang="0">
                  <a:pos x="106" y="57"/>
                </a:cxn>
                <a:cxn ang="0">
                  <a:pos x="7" y="28"/>
                </a:cxn>
                <a:cxn ang="0">
                  <a:pos x="11" y="124"/>
                </a:cxn>
                <a:cxn ang="0">
                  <a:pos x="13" y="101"/>
                </a:cxn>
                <a:cxn ang="0">
                  <a:pos x="11" y="124"/>
                </a:cxn>
                <a:cxn ang="0">
                  <a:pos x="14" y="35"/>
                </a:cxn>
                <a:cxn ang="0">
                  <a:pos x="10" y="33"/>
                </a:cxn>
                <a:cxn ang="0">
                  <a:pos x="10" y="97"/>
                </a:cxn>
                <a:cxn ang="0">
                  <a:pos x="12" y="99"/>
                </a:cxn>
                <a:cxn ang="0">
                  <a:pos x="12" y="99"/>
                </a:cxn>
                <a:cxn ang="0">
                  <a:pos x="14" y="97"/>
                </a:cxn>
                <a:cxn ang="0">
                  <a:pos x="14" y="35"/>
                </a:cxn>
                <a:cxn ang="0">
                  <a:pos x="144" y="53"/>
                </a:cxn>
                <a:cxn ang="0">
                  <a:pos x="106" y="64"/>
                </a:cxn>
                <a:cxn ang="0">
                  <a:pos x="68" y="53"/>
                </a:cxn>
                <a:cxn ang="0">
                  <a:pos x="60" y="71"/>
                </a:cxn>
                <a:cxn ang="0">
                  <a:pos x="106" y="84"/>
                </a:cxn>
                <a:cxn ang="0">
                  <a:pos x="151" y="71"/>
                </a:cxn>
                <a:cxn ang="0">
                  <a:pos x="144" y="53"/>
                </a:cxn>
              </a:cxnLst>
              <a:rect l="0" t="0" r="r" b="b"/>
              <a:pathLst>
                <a:path w="204" h="124">
                  <a:moveTo>
                    <a:pt x="7" y="28"/>
                  </a:moveTo>
                  <a:cubicBezTo>
                    <a:pt x="106" y="0"/>
                    <a:pt x="106" y="0"/>
                    <a:pt x="106" y="0"/>
                  </a:cubicBezTo>
                  <a:cubicBezTo>
                    <a:pt x="204" y="28"/>
                    <a:pt x="204" y="28"/>
                    <a:pt x="204" y="28"/>
                  </a:cubicBezTo>
                  <a:cubicBezTo>
                    <a:pt x="182" y="35"/>
                    <a:pt x="182" y="35"/>
                    <a:pt x="182" y="35"/>
                  </a:cubicBezTo>
                  <a:cubicBezTo>
                    <a:pt x="173" y="37"/>
                    <a:pt x="173" y="37"/>
                    <a:pt x="173" y="37"/>
                  </a:cubicBezTo>
                  <a:cubicBezTo>
                    <a:pt x="167" y="39"/>
                    <a:pt x="167" y="39"/>
                    <a:pt x="167" y="39"/>
                  </a:cubicBezTo>
                  <a:cubicBezTo>
                    <a:pt x="106" y="57"/>
                    <a:pt x="106" y="57"/>
                    <a:pt x="106" y="57"/>
                  </a:cubicBezTo>
                  <a:lnTo>
                    <a:pt x="7" y="28"/>
                  </a:lnTo>
                  <a:close/>
                  <a:moveTo>
                    <a:pt x="11" y="124"/>
                  </a:moveTo>
                  <a:cubicBezTo>
                    <a:pt x="13" y="118"/>
                    <a:pt x="0" y="109"/>
                    <a:pt x="13" y="101"/>
                  </a:cubicBezTo>
                  <a:cubicBezTo>
                    <a:pt x="19" y="107"/>
                    <a:pt x="17" y="118"/>
                    <a:pt x="11" y="124"/>
                  </a:cubicBezTo>
                  <a:close/>
                  <a:moveTo>
                    <a:pt x="14" y="35"/>
                  </a:moveTo>
                  <a:cubicBezTo>
                    <a:pt x="10" y="33"/>
                    <a:pt x="10" y="33"/>
                    <a:pt x="10" y="33"/>
                  </a:cubicBezTo>
                  <a:cubicBezTo>
                    <a:pt x="10" y="97"/>
                    <a:pt x="10" y="97"/>
                    <a:pt x="10" y="97"/>
                  </a:cubicBezTo>
                  <a:cubicBezTo>
                    <a:pt x="10" y="98"/>
                    <a:pt x="11" y="99"/>
                    <a:pt x="12" y="99"/>
                  </a:cubicBezTo>
                  <a:cubicBezTo>
                    <a:pt x="12" y="99"/>
                    <a:pt x="12" y="99"/>
                    <a:pt x="12" y="99"/>
                  </a:cubicBezTo>
                  <a:cubicBezTo>
                    <a:pt x="14" y="99"/>
                    <a:pt x="14" y="98"/>
                    <a:pt x="14" y="97"/>
                  </a:cubicBezTo>
                  <a:lnTo>
                    <a:pt x="14" y="35"/>
                  </a:lnTo>
                  <a:close/>
                  <a:moveTo>
                    <a:pt x="144" y="53"/>
                  </a:moveTo>
                  <a:cubicBezTo>
                    <a:pt x="106" y="64"/>
                    <a:pt x="106" y="64"/>
                    <a:pt x="106" y="64"/>
                  </a:cubicBezTo>
                  <a:cubicBezTo>
                    <a:pt x="68" y="53"/>
                    <a:pt x="68" y="53"/>
                    <a:pt x="68" y="53"/>
                  </a:cubicBezTo>
                  <a:cubicBezTo>
                    <a:pt x="64" y="58"/>
                    <a:pt x="61" y="65"/>
                    <a:pt x="60" y="71"/>
                  </a:cubicBezTo>
                  <a:cubicBezTo>
                    <a:pt x="106" y="84"/>
                    <a:pt x="106" y="84"/>
                    <a:pt x="106" y="84"/>
                  </a:cubicBezTo>
                  <a:cubicBezTo>
                    <a:pt x="151" y="71"/>
                    <a:pt x="151" y="71"/>
                    <a:pt x="151" y="71"/>
                  </a:cubicBezTo>
                  <a:cubicBezTo>
                    <a:pt x="150" y="65"/>
                    <a:pt x="148" y="58"/>
                    <a:pt x="144" y="53"/>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18" name="Freeform 283"/>
            <p:cNvSpPr>
              <a:spLocks/>
            </p:cNvSpPr>
            <p:nvPr/>
          </p:nvSpPr>
          <p:spPr bwMode="auto">
            <a:xfrm>
              <a:off x="2132013" y="5272086"/>
              <a:ext cx="88900" cy="90488"/>
            </a:xfrm>
            <a:custGeom>
              <a:avLst/>
              <a:gdLst/>
              <a:ahLst/>
              <a:cxnLst>
                <a:cxn ang="0">
                  <a:pos x="33" y="37"/>
                </a:cxn>
                <a:cxn ang="0">
                  <a:pos x="6" y="18"/>
                </a:cxn>
                <a:cxn ang="0">
                  <a:pos x="0" y="28"/>
                </a:cxn>
                <a:cxn ang="0">
                  <a:pos x="5" y="30"/>
                </a:cxn>
                <a:cxn ang="0">
                  <a:pos x="23" y="42"/>
                </a:cxn>
                <a:cxn ang="0">
                  <a:pos x="27" y="47"/>
                </a:cxn>
                <a:cxn ang="0">
                  <a:pos x="33" y="37"/>
                </a:cxn>
              </a:cxnLst>
              <a:rect l="0" t="0" r="r" b="b"/>
              <a:pathLst>
                <a:path w="46" h="47">
                  <a:moveTo>
                    <a:pt x="33" y="37"/>
                  </a:moveTo>
                  <a:cubicBezTo>
                    <a:pt x="46" y="19"/>
                    <a:pt x="19" y="0"/>
                    <a:pt x="6" y="18"/>
                  </a:cubicBezTo>
                  <a:cubicBezTo>
                    <a:pt x="0" y="28"/>
                    <a:pt x="0" y="28"/>
                    <a:pt x="0" y="28"/>
                  </a:cubicBezTo>
                  <a:cubicBezTo>
                    <a:pt x="1" y="28"/>
                    <a:pt x="3" y="29"/>
                    <a:pt x="5" y="30"/>
                  </a:cubicBezTo>
                  <a:cubicBezTo>
                    <a:pt x="23" y="42"/>
                    <a:pt x="23" y="42"/>
                    <a:pt x="23" y="42"/>
                  </a:cubicBezTo>
                  <a:cubicBezTo>
                    <a:pt x="24" y="44"/>
                    <a:pt x="26" y="45"/>
                    <a:pt x="27" y="47"/>
                  </a:cubicBezTo>
                  <a:lnTo>
                    <a:pt x="33" y="37"/>
                  </a:ln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2" name="Freeform 284"/>
            <p:cNvSpPr>
              <a:spLocks/>
            </p:cNvSpPr>
            <p:nvPr/>
          </p:nvSpPr>
          <p:spPr bwMode="auto">
            <a:xfrm>
              <a:off x="2046288" y="5340348"/>
              <a:ext cx="125413" cy="142875"/>
            </a:xfrm>
            <a:custGeom>
              <a:avLst/>
              <a:gdLst/>
              <a:ahLst/>
              <a:cxnLst>
                <a:cxn ang="0">
                  <a:pos x="44" y="2"/>
                </a:cxn>
                <a:cxn ang="0">
                  <a:pos x="62" y="14"/>
                </a:cxn>
                <a:cxn ang="0">
                  <a:pos x="63" y="22"/>
                </a:cxn>
                <a:cxn ang="0">
                  <a:pos x="29" y="71"/>
                </a:cxn>
                <a:cxn ang="0">
                  <a:pos x="21" y="72"/>
                </a:cxn>
                <a:cxn ang="0">
                  <a:pos x="3" y="60"/>
                </a:cxn>
                <a:cxn ang="0">
                  <a:pos x="2" y="52"/>
                </a:cxn>
                <a:cxn ang="0">
                  <a:pos x="36" y="3"/>
                </a:cxn>
                <a:cxn ang="0">
                  <a:pos x="44" y="2"/>
                </a:cxn>
              </a:cxnLst>
              <a:rect l="0" t="0" r="r" b="b"/>
              <a:pathLst>
                <a:path w="65" h="74">
                  <a:moveTo>
                    <a:pt x="44" y="2"/>
                  </a:moveTo>
                  <a:cubicBezTo>
                    <a:pt x="62" y="14"/>
                    <a:pt x="62" y="14"/>
                    <a:pt x="62" y="14"/>
                  </a:cubicBezTo>
                  <a:cubicBezTo>
                    <a:pt x="65" y="16"/>
                    <a:pt x="65" y="19"/>
                    <a:pt x="63" y="22"/>
                  </a:cubicBezTo>
                  <a:cubicBezTo>
                    <a:pt x="29" y="71"/>
                    <a:pt x="29" y="71"/>
                    <a:pt x="29" y="71"/>
                  </a:cubicBezTo>
                  <a:cubicBezTo>
                    <a:pt x="27" y="73"/>
                    <a:pt x="24" y="74"/>
                    <a:pt x="21" y="72"/>
                  </a:cubicBezTo>
                  <a:cubicBezTo>
                    <a:pt x="3" y="60"/>
                    <a:pt x="3" y="60"/>
                    <a:pt x="3" y="60"/>
                  </a:cubicBezTo>
                  <a:cubicBezTo>
                    <a:pt x="1" y="58"/>
                    <a:pt x="0" y="54"/>
                    <a:pt x="2" y="52"/>
                  </a:cubicBezTo>
                  <a:cubicBezTo>
                    <a:pt x="36" y="3"/>
                    <a:pt x="36" y="3"/>
                    <a:pt x="36" y="3"/>
                  </a:cubicBezTo>
                  <a:cubicBezTo>
                    <a:pt x="38" y="0"/>
                    <a:pt x="42" y="0"/>
                    <a:pt x="44" y="2"/>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3" name="Freeform 285"/>
            <p:cNvSpPr>
              <a:spLocks/>
            </p:cNvSpPr>
            <p:nvPr/>
          </p:nvSpPr>
          <p:spPr bwMode="auto">
            <a:xfrm>
              <a:off x="2022476" y="5459411"/>
              <a:ext cx="66675" cy="74613"/>
            </a:xfrm>
            <a:custGeom>
              <a:avLst/>
              <a:gdLst/>
              <a:ahLst/>
              <a:cxnLst>
                <a:cxn ang="0">
                  <a:pos x="7" y="0"/>
                </a:cxn>
                <a:cxn ang="0">
                  <a:pos x="3" y="6"/>
                </a:cxn>
                <a:cxn ang="0">
                  <a:pos x="0" y="14"/>
                </a:cxn>
                <a:cxn ang="0">
                  <a:pos x="0" y="38"/>
                </a:cxn>
                <a:cxn ang="0">
                  <a:pos x="24" y="30"/>
                </a:cxn>
                <a:cxn ang="0">
                  <a:pos x="30" y="25"/>
                </a:cxn>
                <a:cxn ang="0">
                  <a:pos x="34" y="19"/>
                </a:cxn>
                <a:cxn ang="0">
                  <a:pos x="29" y="17"/>
                </a:cxn>
                <a:cxn ang="0">
                  <a:pos x="11" y="4"/>
                </a:cxn>
                <a:cxn ang="0">
                  <a:pos x="7" y="0"/>
                </a:cxn>
              </a:cxnLst>
              <a:rect l="0" t="0" r="r" b="b"/>
              <a:pathLst>
                <a:path w="34" h="38">
                  <a:moveTo>
                    <a:pt x="7" y="0"/>
                  </a:moveTo>
                  <a:cubicBezTo>
                    <a:pt x="3" y="6"/>
                    <a:pt x="3" y="6"/>
                    <a:pt x="3" y="6"/>
                  </a:cubicBezTo>
                  <a:cubicBezTo>
                    <a:pt x="1" y="9"/>
                    <a:pt x="0" y="11"/>
                    <a:pt x="0" y="14"/>
                  </a:cubicBezTo>
                  <a:cubicBezTo>
                    <a:pt x="0" y="22"/>
                    <a:pt x="0" y="30"/>
                    <a:pt x="0" y="38"/>
                  </a:cubicBezTo>
                  <a:cubicBezTo>
                    <a:pt x="8" y="35"/>
                    <a:pt x="16" y="33"/>
                    <a:pt x="24" y="30"/>
                  </a:cubicBezTo>
                  <a:cubicBezTo>
                    <a:pt x="26" y="29"/>
                    <a:pt x="28" y="28"/>
                    <a:pt x="30" y="25"/>
                  </a:cubicBezTo>
                  <a:cubicBezTo>
                    <a:pt x="34" y="19"/>
                    <a:pt x="34" y="19"/>
                    <a:pt x="34" y="19"/>
                  </a:cubicBezTo>
                  <a:cubicBezTo>
                    <a:pt x="32" y="19"/>
                    <a:pt x="30" y="18"/>
                    <a:pt x="29" y="17"/>
                  </a:cubicBezTo>
                  <a:cubicBezTo>
                    <a:pt x="11" y="4"/>
                    <a:pt x="11" y="4"/>
                    <a:pt x="11" y="4"/>
                  </a:cubicBezTo>
                  <a:cubicBezTo>
                    <a:pt x="9" y="3"/>
                    <a:pt x="8" y="2"/>
                    <a:pt x="7" y="0"/>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4" name="Freeform 286"/>
            <p:cNvSpPr>
              <a:spLocks/>
            </p:cNvSpPr>
            <p:nvPr/>
          </p:nvSpPr>
          <p:spPr bwMode="auto">
            <a:xfrm>
              <a:off x="1881188" y="5349873"/>
              <a:ext cx="153988" cy="142875"/>
            </a:xfrm>
            <a:custGeom>
              <a:avLst/>
              <a:gdLst/>
              <a:ahLst/>
              <a:cxnLst>
                <a:cxn ang="0">
                  <a:pos x="0" y="58"/>
                </a:cxn>
                <a:cxn ang="0">
                  <a:pos x="34" y="74"/>
                </a:cxn>
                <a:cxn ang="0">
                  <a:pos x="79" y="29"/>
                </a:cxn>
                <a:cxn ang="0">
                  <a:pos x="69" y="0"/>
                </a:cxn>
              </a:cxnLst>
              <a:rect l="0" t="0" r="r" b="b"/>
              <a:pathLst>
                <a:path w="79" h="74">
                  <a:moveTo>
                    <a:pt x="0" y="58"/>
                  </a:moveTo>
                  <a:cubicBezTo>
                    <a:pt x="8" y="68"/>
                    <a:pt x="21" y="74"/>
                    <a:pt x="34" y="74"/>
                  </a:cubicBezTo>
                  <a:cubicBezTo>
                    <a:pt x="59" y="74"/>
                    <a:pt x="79" y="54"/>
                    <a:pt x="79" y="29"/>
                  </a:cubicBezTo>
                  <a:cubicBezTo>
                    <a:pt x="79" y="18"/>
                    <a:pt x="75" y="8"/>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5" name="Freeform 287"/>
            <p:cNvSpPr>
              <a:spLocks/>
            </p:cNvSpPr>
            <p:nvPr/>
          </p:nvSpPr>
          <p:spPr bwMode="auto">
            <a:xfrm>
              <a:off x="1860551" y="5349873"/>
              <a:ext cx="20638" cy="80963"/>
            </a:xfrm>
            <a:custGeom>
              <a:avLst/>
              <a:gdLst/>
              <a:ahLst/>
              <a:cxnLst>
                <a:cxn ang="0">
                  <a:pos x="11" y="0"/>
                </a:cxn>
                <a:cxn ang="0">
                  <a:pos x="0" y="29"/>
                </a:cxn>
                <a:cxn ang="0">
                  <a:pos x="2" y="42"/>
                </a:cxn>
              </a:cxnLst>
              <a:rect l="0" t="0" r="r" b="b"/>
              <a:pathLst>
                <a:path w="11" h="42">
                  <a:moveTo>
                    <a:pt x="11" y="0"/>
                  </a:moveTo>
                  <a:cubicBezTo>
                    <a:pt x="4" y="8"/>
                    <a:pt x="0" y="18"/>
                    <a:pt x="0" y="29"/>
                  </a:cubicBezTo>
                  <a:cubicBezTo>
                    <a:pt x="0" y="34"/>
                    <a:pt x="1" y="38"/>
                    <a:pt x="2" y="4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6" name="Freeform 288"/>
            <p:cNvSpPr>
              <a:spLocks/>
            </p:cNvSpPr>
            <p:nvPr/>
          </p:nvSpPr>
          <p:spPr bwMode="auto">
            <a:xfrm>
              <a:off x="1881188" y="5318123"/>
              <a:ext cx="133350" cy="31750"/>
            </a:xfrm>
            <a:custGeom>
              <a:avLst/>
              <a:gdLst/>
              <a:ahLst/>
              <a:cxnLst>
                <a:cxn ang="0">
                  <a:pos x="0" y="16"/>
                </a:cxn>
                <a:cxn ang="0">
                  <a:pos x="34" y="0"/>
                </a:cxn>
                <a:cxn ang="0">
                  <a:pos x="69" y="16"/>
                </a:cxn>
              </a:cxnLst>
              <a:rect l="0" t="0" r="r" b="b"/>
              <a:pathLst>
                <a:path w="69" h="16">
                  <a:moveTo>
                    <a:pt x="0" y="16"/>
                  </a:moveTo>
                  <a:cubicBezTo>
                    <a:pt x="8" y="7"/>
                    <a:pt x="21" y="0"/>
                    <a:pt x="34" y="0"/>
                  </a:cubicBezTo>
                  <a:cubicBezTo>
                    <a:pt x="48" y="0"/>
                    <a:pt x="61" y="7"/>
                    <a:pt x="69" y="1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7" name="Freeform 289"/>
            <p:cNvSpPr>
              <a:spLocks/>
            </p:cNvSpPr>
            <p:nvPr/>
          </p:nvSpPr>
          <p:spPr bwMode="auto">
            <a:xfrm>
              <a:off x="1881188" y="5349873"/>
              <a:ext cx="133350" cy="14288"/>
            </a:xfrm>
            <a:custGeom>
              <a:avLst/>
              <a:gdLst/>
              <a:ahLst/>
              <a:cxnLst>
                <a:cxn ang="0">
                  <a:pos x="0" y="0"/>
                </a:cxn>
                <a:cxn ang="0">
                  <a:pos x="34" y="8"/>
                </a:cxn>
                <a:cxn ang="0">
                  <a:pos x="50" y="7"/>
                </a:cxn>
                <a:cxn ang="0">
                  <a:pos x="60" y="4"/>
                </a:cxn>
                <a:cxn ang="0">
                  <a:pos x="69" y="0"/>
                </a:cxn>
              </a:cxnLst>
              <a:rect l="0" t="0" r="r" b="b"/>
              <a:pathLst>
                <a:path w="69" h="8">
                  <a:moveTo>
                    <a:pt x="0" y="0"/>
                  </a:moveTo>
                  <a:cubicBezTo>
                    <a:pt x="8" y="5"/>
                    <a:pt x="20" y="8"/>
                    <a:pt x="34" y="8"/>
                  </a:cubicBezTo>
                  <a:cubicBezTo>
                    <a:pt x="40" y="8"/>
                    <a:pt x="45" y="8"/>
                    <a:pt x="50" y="7"/>
                  </a:cubicBezTo>
                  <a:cubicBezTo>
                    <a:pt x="60" y="4"/>
                    <a:pt x="60" y="4"/>
                    <a:pt x="60" y="4"/>
                  </a:cubicBezTo>
                  <a:cubicBezTo>
                    <a:pt x="63" y="3"/>
                    <a:pt x="66" y="2"/>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58" name="Freeform 290"/>
            <p:cNvSpPr>
              <a:spLocks/>
            </p:cNvSpPr>
            <p:nvPr/>
          </p:nvSpPr>
          <p:spPr bwMode="auto">
            <a:xfrm>
              <a:off x="1881188" y="5446711"/>
              <a:ext cx="133350" cy="14288"/>
            </a:xfrm>
            <a:custGeom>
              <a:avLst/>
              <a:gdLst/>
              <a:ahLst/>
              <a:cxnLst>
                <a:cxn ang="0">
                  <a:pos x="69" y="8"/>
                </a:cxn>
                <a:cxn ang="0">
                  <a:pos x="34" y="0"/>
                </a:cxn>
                <a:cxn ang="0">
                  <a:pos x="0" y="8"/>
                </a:cxn>
              </a:cxnLst>
              <a:rect l="0" t="0" r="r" b="b"/>
              <a:pathLst>
                <a:path w="69" h="8">
                  <a:moveTo>
                    <a:pt x="69" y="8"/>
                  </a:moveTo>
                  <a:cubicBezTo>
                    <a:pt x="61" y="3"/>
                    <a:pt x="48" y="0"/>
                    <a:pt x="34" y="0"/>
                  </a:cubicBezTo>
                  <a:cubicBezTo>
                    <a:pt x="21" y="0"/>
                    <a:pt x="8" y="3"/>
                    <a:pt x="0" y="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81" name="Freeform 291"/>
            <p:cNvSpPr>
              <a:spLocks/>
            </p:cNvSpPr>
            <p:nvPr/>
          </p:nvSpPr>
          <p:spPr bwMode="auto">
            <a:xfrm>
              <a:off x="1900238" y="5318123"/>
              <a:ext cx="95250" cy="174625"/>
            </a:xfrm>
            <a:custGeom>
              <a:avLst/>
              <a:gdLst/>
              <a:ahLst/>
              <a:cxnLst>
                <a:cxn ang="0">
                  <a:pos x="1" y="29"/>
                </a:cxn>
                <a:cxn ang="0">
                  <a:pos x="24" y="0"/>
                </a:cxn>
                <a:cxn ang="0">
                  <a:pos x="43" y="17"/>
                </a:cxn>
                <a:cxn ang="0">
                  <a:pos x="47" y="26"/>
                </a:cxn>
                <a:cxn ang="0">
                  <a:pos x="49" y="45"/>
                </a:cxn>
                <a:cxn ang="0">
                  <a:pos x="24" y="90"/>
                </a:cxn>
                <a:cxn ang="0">
                  <a:pos x="0" y="45"/>
                </a:cxn>
                <a:cxn ang="0">
                  <a:pos x="0" y="40"/>
                </a:cxn>
                <a:cxn ang="0">
                  <a:pos x="1" y="29"/>
                </a:cxn>
              </a:cxnLst>
              <a:rect l="0" t="0" r="r" b="b"/>
              <a:pathLst>
                <a:path w="49" h="90">
                  <a:moveTo>
                    <a:pt x="1" y="29"/>
                  </a:moveTo>
                  <a:cubicBezTo>
                    <a:pt x="5" y="12"/>
                    <a:pt x="14" y="0"/>
                    <a:pt x="24" y="0"/>
                  </a:cubicBezTo>
                  <a:cubicBezTo>
                    <a:pt x="32" y="0"/>
                    <a:pt x="39" y="7"/>
                    <a:pt x="43" y="17"/>
                  </a:cubicBezTo>
                  <a:cubicBezTo>
                    <a:pt x="47" y="26"/>
                    <a:pt x="47" y="26"/>
                    <a:pt x="47" y="26"/>
                  </a:cubicBezTo>
                  <a:cubicBezTo>
                    <a:pt x="48" y="32"/>
                    <a:pt x="49" y="38"/>
                    <a:pt x="49" y="45"/>
                  </a:cubicBezTo>
                  <a:cubicBezTo>
                    <a:pt x="49" y="70"/>
                    <a:pt x="38" y="90"/>
                    <a:pt x="24" y="90"/>
                  </a:cubicBezTo>
                  <a:cubicBezTo>
                    <a:pt x="11" y="90"/>
                    <a:pt x="0" y="70"/>
                    <a:pt x="0" y="45"/>
                  </a:cubicBezTo>
                  <a:cubicBezTo>
                    <a:pt x="0" y="44"/>
                    <a:pt x="0" y="42"/>
                    <a:pt x="0" y="40"/>
                  </a:cubicBezTo>
                  <a:lnTo>
                    <a:pt x="1" y="2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82" name="Line 292"/>
            <p:cNvSpPr>
              <a:spLocks noChangeShapeType="1"/>
            </p:cNvSpPr>
            <p:nvPr/>
          </p:nvSpPr>
          <p:spPr bwMode="auto">
            <a:xfrm>
              <a:off x="1982788" y="5405436"/>
              <a:ext cx="52388" cy="1588"/>
            </a:xfrm>
            <a:prstGeom prst="line">
              <a:avLst/>
            </a:prstGeom>
            <a:no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83" name="Line 293"/>
            <p:cNvSpPr>
              <a:spLocks noChangeShapeType="1"/>
            </p:cNvSpPr>
            <p:nvPr/>
          </p:nvSpPr>
          <p:spPr bwMode="auto">
            <a:xfrm>
              <a:off x="1962151" y="5405436"/>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84" name="Freeform 294"/>
            <p:cNvSpPr>
              <a:spLocks/>
            </p:cNvSpPr>
            <p:nvPr/>
          </p:nvSpPr>
          <p:spPr bwMode="auto">
            <a:xfrm>
              <a:off x="1860551" y="5405436"/>
              <a:ext cx="122238" cy="1588"/>
            </a:xfrm>
            <a:custGeom>
              <a:avLst/>
              <a:gdLst/>
              <a:ahLst/>
              <a:cxnLst>
                <a:cxn ang="0">
                  <a:pos x="0" y="0"/>
                </a:cxn>
                <a:cxn ang="0">
                  <a:pos x="64" y="0"/>
                </a:cxn>
                <a:cxn ang="0">
                  <a:pos x="77" y="0"/>
                </a:cxn>
              </a:cxnLst>
              <a:rect l="0" t="0" r="r" b="b"/>
              <a:pathLst>
                <a:path w="77">
                  <a:moveTo>
                    <a:pt x="0" y="0"/>
                  </a:moveTo>
                  <a:lnTo>
                    <a:pt x="64" y="0"/>
                  </a:lnTo>
                  <a:lnTo>
                    <a:pt x="77"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sp>
          <p:nvSpPr>
            <p:cNvPr id="185" name="Line 295"/>
            <p:cNvSpPr>
              <a:spLocks noChangeShapeType="1"/>
            </p:cNvSpPr>
            <p:nvPr/>
          </p:nvSpPr>
          <p:spPr bwMode="auto">
            <a:xfrm flipV="1">
              <a:off x="1947863" y="5318123"/>
              <a:ext cx="1588" cy="174625"/>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a:solidFill>
                  <a:srgbClr val="000000"/>
                </a:solidFill>
                <a:latin typeface="Arial"/>
                <a:cs typeface="Arial" pitchFamily="34" charset="0"/>
              </a:endParaRPr>
            </a:p>
          </p:txBody>
        </p:sp>
      </p:grpSp>
    </p:spTree>
    <p:extLst>
      <p:ext uri="{BB962C8B-B14F-4D97-AF65-F5344CB8AC3E}">
        <p14:creationId xmlns:p14="http://schemas.microsoft.com/office/powerpoint/2010/main" val="6494896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600" dirty="0"/>
              <a:t>Important </a:t>
            </a:r>
            <a:r>
              <a:rPr lang="en-US" sz="2600" dirty="0" err="1"/>
              <a:t>Iconnect</a:t>
            </a:r>
            <a:r>
              <a:rPr lang="en-US" sz="2600" dirty="0"/>
              <a:t> Fields</a:t>
            </a:r>
            <a:endParaRPr lang="en-GB" sz="2600" b="1" dirty="0"/>
          </a:p>
        </p:txBody>
      </p:sp>
      <p:pic>
        <p:nvPicPr>
          <p:cNvPr id="3" name="Picture 2">
            <a:extLst>
              <a:ext uri="{FF2B5EF4-FFF2-40B4-BE49-F238E27FC236}">
                <a16:creationId xmlns:a16="http://schemas.microsoft.com/office/drawing/2014/main" id="{12B2D6FE-23B0-42D5-A939-56D9659F3B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014" y="1271095"/>
            <a:ext cx="9565973" cy="2034080"/>
          </a:xfrm>
          <a:prstGeom prst="rect">
            <a:avLst/>
          </a:prstGeom>
        </p:spPr>
      </p:pic>
      <p:graphicFrame>
        <p:nvGraphicFramePr>
          <p:cNvPr id="67" name="Table 66">
            <a:extLst>
              <a:ext uri="{FF2B5EF4-FFF2-40B4-BE49-F238E27FC236}">
                <a16:creationId xmlns:a16="http://schemas.microsoft.com/office/drawing/2014/main" id="{97148BD9-42C6-4E10-ACEE-EEC01F74887C}"/>
              </a:ext>
            </a:extLst>
          </p:cNvPr>
          <p:cNvGraphicFramePr>
            <a:graphicFrameLocks noGrp="1"/>
          </p:cNvGraphicFramePr>
          <p:nvPr/>
        </p:nvGraphicFramePr>
        <p:xfrm>
          <a:off x="170013" y="3563145"/>
          <a:ext cx="9575462" cy="2483899"/>
        </p:xfrm>
        <a:graphic>
          <a:graphicData uri="http://schemas.openxmlformats.org/drawingml/2006/table">
            <a:tbl>
              <a:tblPr firstRow="1" bandRow="1">
                <a:tableStyleId>{5A111915-BE36-4E01-A7E5-04B1672EAD32}</a:tableStyleId>
              </a:tblPr>
              <a:tblGrid>
                <a:gridCol w="3081758">
                  <a:extLst>
                    <a:ext uri="{9D8B030D-6E8A-4147-A177-3AD203B41FA5}">
                      <a16:colId xmlns:a16="http://schemas.microsoft.com/office/drawing/2014/main" val="20000"/>
                    </a:ext>
                  </a:extLst>
                </a:gridCol>
                <a:gridCol w="6493704">
                  <a:extLst>
                    <a:ext uri="{9D8B030D-6E8A-4147-A177-3AD203B41FA5}">
                      <a16:colId xmlns:a16="http://schemas.microsoft.com/office/drawing/2014/main" val="20001"/>
                    </a:ext>
                  </a:extLst>
                </a:gridCol>
              </a:tblGrid>
              <a:tr h="285955">
                <a:tc>
                  <a:txBody>
                    <a:bodyPr/>
                    <a:lstStyle/>
                    <a:p>
                      <a:r>
                        <a:rPr lang="en-US" sz="1200" dirty="0">
                          <a:solidFill>
                            <a:schemeClr val="tx1"/>
                          </a:solidFill>
                        </a:rPr>
                        <a:t>Field</a:t>
                      </a:r>
                    </a:p>
                  </a:txBody>
                  <a:tcPr marL="80486" marR="80486" marT="37148" marB="37148">
                    <a:solidFill>
                      <a:schemeClr val="bg1">
                        <a:alpha val="80000"/>
                      </a:schemeClr>
                    </a:solidFill>
                  </a:tcPr>
                </a:tc>
                <a:tc>
                  <a:txBody>
                    <a:bodyPr/>
                    <a:lstStyle/>
                    <a:p>
                      <a:r>
                        <a:rPr lang="en-US" sz="1200" dirty="0">
                          <a:solidFill>
                            <a:schemeClr val="tx1"/>
                          </a:solidFill>
                        </a:rPr>
                        <a:t>Function</a:t>
                      </a:r>
                    </a:p>
                  </a:txBody>
                  <a:tcPr marL="80486" marR="80486" marT="37148" marB="37148">
                    <a:solidFill>
                      <a:schemeClr val="bg1">
                        <a:alpha val="80000"/>
                      </a:schemeClr>
                    </a:solidFill>
                  </a:tcPr>
                </a:tc>
                <a:extLst>
                  <a:ext uri="{0D108BD9-81ED-4DB2-BD59-A6C34878D82A}">
                    <a16:rowId xmlns:a16="http://schemas.microsoft.com/office/drawing/2014/main" val="10000"/>
                  </a:ext>
                </a:extLst>
              </a:tr>
              <a:tr h="272415">
                <a:tc>
                  <a:txBody>
                    <a:bodyPr/>
                    <a:lstStyle/>
                    <a:p>
                      <a:r>
                        <a:rPr lang="en-US" sz="1300" b="1" dirty="0">
                          <a:solidFill>
                            <a:schemeClr val="accent4"/>
                          </a:solidFill>
                        </a:rPr>
                        <a:t>Employee ID</a:t>
                      </a:r>
                    </a:p>
                  </a:txBody>
                  <a:tcPr marL="80486" marR="80486" marT="37148" marB="37148">
                    <a:solidFill>
                      <a:schemeClr val="bg1">
                        <a:alpha val="80000"/>
                      </a:schemeClr>
                    </a:solidFill>
                  </a:tcPr>
                </a:tc>
                <a:tc>
                  <a:txBody>
                    <a:bodyPr/>
                    <a:lstStyle/>
                    <a:p>
                      <a:r>
                        <a:rPr lang="en-US" sz="1300" dirty="0"/>
                        <a:t>You may need this for raising IT tickets, </a:t>
                      </a:r>
                      <a:r>
                        <a:rPr lang="en-US" sz="1300" dirty="0" err="1"/>
                        <a:t>etc</a:t>
                      </a:r>
                      <a:endParaRPr lang="en-US" sz="1300" dirty="0"/>
                    </a:p>
                  </a:txBody>
                  <a:tcPr marL="80486" marR="80486" marT="37148" marB="37148">
                    <a:solidFill>
                      <a:schemeClr val="bg1">
                        <a:alpha val="80000"/>
                      </a:schemeClr>
                    </a:solidFill>
                  </a:tcPr>
                </a:tc>
                <a:extLst>
                  <a:ext uri="{0D108BD9-81ED-4DB2-BD59-A6C34878D82A}">
                    <a16:rowId xmlns:a16="http://schemas.microsoft.com/office/drawing/2014/main" val="10001"/>
                  </a:ext>
                </a:extLst>
              </a:tr>
              <a:tr h="643399">
                <a:tc>
                  <a:txBody>
                    <a:bodyPr/>
                    <a:lstStyle/>
                    <a:p>
                      <a:r>
                        <a:rPr lang="en-US" sz="1300" b="1" dirty="0">
                          <a:solidFill>
                            <a:schemeClr val="accent4"/>
                          </a:solidFill>
                        </a:rPr>
                        <a:t>Supervisor</a:t>
                      </a:r>
                    </a:p>
                  </a:txBody>
                  <a:tcPr marL="80486" marR="80486" marT="37148" marB="37148">
                    <a:solidFill>
                      <a:schemeClr val="bg1">
                        <a:alpha val="80000"/>
                      </a:schemeClr>
                    </a:solidFill>
                  </a:tcPr>
                </a:tc>
                <a:tc>
                  <a:txBody>
                    <a:bodyPr/>
                    <a:lstStyle/>
                    <a:p>
                      <a:r>
                        <a:rPr lang="en-US" sz="1300" dirty="0"/>
                        <a:t>Acts as your team lead.  Responsible for timesheets and Leave approvals.  This will likely change names as you go from project to project</a:t>
                      </a:r>
                    </a:p>
                  </a:txBody>
                  <a:tcPr marL="80486" marR="80486" marT="37148" marB="37148">
                    <a:solidFill>
                      <a:schemeClr val="bg1">
                        <a:alpha val="80000"/>
                      </a:schemeClr>
                    </a:solidFill>
                  </a:tcPr>
                </a:tc>
                <a:extLst>
                  <a:ext uri="{0D108BD9-81ED-4DB2-BD59-A6C34878D82A}">
                    <a16:rowId xmlns:a16="http://schemas.microsoft.com/office/drawing/2014/main" val="10002"/>
                  </a:ext>
                </a:extLst>
              </a:tr>
              <a:tr h="539177">
                <a:tc>
                  <a:txBody>
                    <a:bodyPr/>
                    <a:lstStyle/>
                    <a:p>
                      <a:r>
                        <a:rPr lang="en-US" sz="1300" b="1" dirty="0">
                          <a:solidFill>
                            <a:schemeClr val="accent4"/>
                          </a:solidFill>
                        </a:rPr>
                        <a:t>Appraiser/</a:t>
                      </a:r>
                    </a:p>
                    <a:p>
                      <a:r>
                        <a:rPr lang="en-US" sz="1300" b="1" dirty="0">
                          <a:solidFill>
                            <a:schemeClr val="accent4"/>
                          </a:solidFill>
                        </a:rPr>
                        <a:t>People </a:t>
                      </a:r>
                      <a:r>
                        <a:rPr lang="en-US" sz="1300" b="1" dirty="0" err="1">
                          <a:solidFill>
                            <a:schemeClr val="accent4"/>
                          </a:solidFill>
                        </a:rPr>
                        <a:t>Mgr</a:t>
                      </a:r>
                      <a:endParaRPr lang="en-US" sz="1300" b="1" dirty="0">
                        <a:solidFill>
                          <a:schemeClr val="accent4"/>
                        </a:solidFill>
                      </a:endParaRPr>
                    </a:p>
                  </a:txBody>
                  <a:tcPr marL="80486" marR="80486" marT="37148" marB="37148">
                    <a:solidFill>
                      <a:schemeClr val="bg1">
                        <a:alpha val="80000"/>
                      </a:schemeClr>
                    </a:solidFill>
                  </a:tcPr>
                </a:tc>
                <a:tc>
                  <a:txBody>
                    <a:bodyPr/>
                    <a:lstStyle/>
                    <a:p>
                      <a:r>
                        <a:rPr lang="en-US" sz="1300" dirty="0"/>
                        <a:t>Responsible for your yearly performance review.  This relationship remains constant even as you move from project to project</a:t>
                      </a:r>
                    </a:p>
                  </a:txBody>
                  <a:tcPr marL="80486" marR="80486" marT="37148" marB="37148">
                    <a:solidFill>
                      <a:schemeClr val="bg1">
                        <a:alpha val="80000"/>
                      </a:schemeClr>
                    </a:solidFill>
                  </a:tcPr>
                </a:tc>
                <a:extLst>
                  <a:ext uri="{0D108BD9-81ED-4DB2-BD59-A6C34878D82A}">
                    <a16:rowId xmlns:a16="http://schemas.microsoft.com/office/drawing/2014/main" val="10003"/>
                  </a:ext>
                </a:extLst>
              </a:tr>
              <a:tr h="272415">
                <a:tc>
                  <a:txBody>
                    <a:bodyPr/>
                    <a:lstStyle/>
                    <a:p>
                      <a:r>
                        <a:rPr lang="en-US" sz="1300" b="1" dirty="0">
                          <a:solidFill>
                            <a:schemeClr val="accent4"/>
                          </a:solidFill>
                        </a:rPr>
                        <a:t>Practice</a:t>
                      </a:r>
                    </a:p>
                  </a:txBody>
                  <a:tcPr marL="80486" marR="80486" marT="37148" marB="37148">
                    <a:solidFill>
                      <a:schemeClr val="bg1">
                        <a:alpha val="80000"/>
                      </a:schemeClr>
                    </a:solidFill>
                  </a:tcPr>
                </a:tc>
                <a:tc>
                  <a:txBody>
                    <a:bodyPr/>
                    <a:lstStyle/>
                    <a:p>
                      <a:r>
                        <a:rPr lang="en-US" sz="1300" dirty="0"/>
                        <a:t>This is how we are aligned in FS.  We do not align by BU</a:t>
                      </a:r>
                    </a:p>
                  </a:txBody>
                  <a:tcPr marL="80486" marR="80486" marT="37148" marB="37148">
                    <a:solidFill>
                      <a:schemeClr val="bg1">
                        <a:alpha val="80000"/>
                      </a:schemeClr>
                    </a:solidFill>
                  </a:tcPr>
                </a:tc>
                <a:extLst>
                  <a:ext uri="{0D108BD9-81ED-4DB2-BD59-A6C34878D82A}">
                    <a16:rowId xmlns:a16="http://schemas.microsoft.com/office/drawing/2014/main" val="10004"/>
                  </a:ext>
                </a:extLst>
              </a:tr>
              <a:tr h="470535">
                <a:tc>
                  <a:txBody>
                    <a:bodyPr/>
                    <a:lstStyle/>
                    <a:p>
                      <a:r>
                        <a:rPr lang="en-US" sz="1300" b="1" dirty="0">
                          <a:solidFill>
                            <a:schemeClr val="accent4"/>
                          </a:solidFill>
                        </a:rPr>
                        <a:t>People Partner, Learning Partner, Staffing Partner</a:t>
                      </a:r>
                    </a:p>
                  </a:txBody>
                  <a:tcPr marL="80486" marR="80486" marT="37148" marB="37148">
                    <a:solidFill>
                      <a:schemeClr val="bg1">
                        <a:alpha val="80000"/>
                      </a:schemeClr>
                    </a:solidFill>
                  </a:tcPr>
                </a:tc>
                <a:tc>
                  <a:txBody>
                    <a:bodyPr/>
                    <a:lstStyle/>
                    <a:p>
                      <a:r>
                        <a:rPr lang="en-US" sz="1300" dirty="0"/>
                        <a:t>These support people are assigned to you based on your Practice</a:t>
                      </a:r>
                    </a:p>
                  </a:txBody>
                  <a:tcPr marL="80486" marR="80486" marT="37148" marB="37148">
                    <a:solidFill>
                      <a:schemeClr val="bg1">
                        <a:alpha val="80000"/>
                      </a:schemeClr>
                    </a:solidFill>
                  </a:tcPr>
                </a:tc>
                <a:extLst>
                  <a:ext uri="{0D108BD9-81ED-4DB2-BD59-A6C34878D82A}">
                    <a16:rowId xmlns:a16="http://schemas.microsoft.com/office/drawing/2014/main" val="10005"/>
                  </a:ext>
                </a:extLst>
              </a:tr>
            </a:tbl>
          </a:graphicData>
        </a:graphic>
      </p:graphicFrame>
      <p:cxnSp>
        <p:nvCxnSpPr>
          <p:cNvPr id="16" name="Straight Connector 15">
            <a:extLst>
              <a:ext uri="{FF2B5EF4-FFF2-40B4-BE49-F238E27FC236}">
                <a16:creationId xmlns:a16="http://schemas.microsoft.com/office/drawing/2014/main" id="{B4B43DE0-2311-4B6C-ACE6-695F50B0C765}"/>
              </a:ext>
            </a:extLst>
          </p:cNvPr>
          <p:cNvCxnSpPr/>
          <p:nvPr/>
        </p:nvCxnSpPr>
        <p:spPr>
          <a:xfrm>
            <a:off x="331490" y="3429000"/>
            <a:ext cx="9079210"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26" name="Ink 25">
                <a:extLst>
                  <a:ext uri="{FF2B5EF4-FFF2-40B4-BE49-F238E27FC236}">
                    <a16:creationId xmlns:a16="http://schemas.microsoft.com/office/drawing/2014/main" id="{E1D1BF4F-02D3-4004-9A24-27285C58B29D}"/>
                  </a:ext>
                </a:extLst>
              </p14:cNvPr>
              <p14:cNvContentPartPr/>
              <p14:nvPr/>
            </p14:nvContentPartPr>
            <p14:xfrm>
              <a:off x="-1431934" y="1054956"/>
              <a:ext cx="293" cy="293"/>
            </p14:xfrm>
          </p:contentPart>
        </mc:Choice>
        <mc:Fallback xmlns="">
          <p:pic>
            <p:nvPicPr>
              <p:cNvPr id="26" name="Ink 25">
                <a:extLst>
                  <a:ext uri="{FF2B5EF4-FFF2-40B4-BE49-F238E27FC236}">
                    <a16:creationId xmlns:a16="http://schemas.microsoft.com/office/drawing/2014/main" id="{E1D1BF4F-02D3-4004-9A24-27285C58B29D}"/>
                  </a:ext>
                </a:extLst>
              </p:cNvPr>
              <p:cNvPicPr/>
              <p:nvPr/>
            </p:nvPicPr>
            <p:blipFill>
              <a:blip r:embed="rId5"/>
              <a:stretch>
                <a:fillRect/>
              </a:stretch>
            </p:blipFill>
            <p:spPr>
              <a:xfrm>
                <a:off x="-1475591" y="967349"/>
                <a:ext cx="87900" cy="175800"/>
              </a:xfrm>
              <a:prstGeom prst="rect">
                <a:avLst/>
              </a:prstGeom>
            </p:spPr>
          </p:pic>
        </mc:Fallback>
      </mc:AlternateContent>
    </p:spTree>
    <p:extLst>
      <p:ext uri="{BB962C8B-B14F-4D97-AF65-F5344CB8AC3E}">
        <p14:creationId xmlns:p14="http://schemas.microsoft.com/office/powerpoint/2010/main" val="19497253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18C10C6-4FF7-4598-8AD6-0D8B62B0928D}"/>
              </a:ext>
            </a:extLst>
          </p:cNvPr>
          <p:cNvPicPr>
            <a:picLocks noChangeAspect="1"/>
          </p:cNvPicPr>
          <p:nvPr/>
        </p:nvPicPr>
        <p:blipFill>
          <a:blip r:embed="rId2"/>
          <a:stretch>
            <a:fillRect/>
          </a:stretch>
        </p:blipFill>
        <p:spPr>
          <a:xfrm>
            <a:off x="3557" y="6280"/>
            <a:ext cx="1256769" cy="1067638"/>
          </a:xfrm>
          <a:prstGeom prst="rect">
            <a:avLst/>
          </a:prstGeom>
        </p:spPr>
      </p:pic>
      <p:sp>
        <p:nvSpPr>
          <p:cNvPr id="2" name="Title 1"/>
          <p:cNvSpPr>
            <a:spLocks noGrp="1"/>
          </p:cNvSpPr>
          <p:nvPr>
            <p:ph type="title" idx="4294967295"/>
          </p:nvPr>
        </p:nvSpPr>
        <p:spPr>
          <a:xfrm>
            <a:off x="1004411" y="426724"/>
            <a:ext cx="3843000" cy="380564"/>
          </a:xfrm>
        </p:spPr>
        <p:txBody>
          <a:bodyPr anchor="t"/>
          <a:lstStyle/>
          <a:p>
            <a:pPr algn="l"/>
            <a:r>
              <a:rPr lang="en-US" sz="3600" b="1">
                <a:latin typeface="Arial"/>
                <a:cs typeface="Arial"/>
              </a:rPr>
              <a:t>For you to use</a:t>
            </a:r>
            <a:endParaRPr lang="en-GB" sz="3600" b="1">
              <a:latin typeface="Arial"/>
              <a:cs typeface="Arial"/>
            </a:endParaRPr>
          </a:p>
        </p:txBody>
      </p:sp>
      <p:sp>
        <p:nvSpPr>
          <p:cNvPr id="12" name="Round Same Side Corner Rectangle 11"/>
          <p:cNvSpPr/>
          <p:nvPr/>
        </p:nvSpPr>
        <p:spPr bwMode="auto">
          <a:xfrm>
            <a:off x="303649" y="1997587"/>
            <a:ext cx="2736875" cy="274320"/>
          </a:xfrm>
          <a:prstGeom prst="round2SameRect">
            <a:avLst/>
          </a:prstGeom>
          <a:solidFill>
            <a:schemeClr val="accent3"/>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algn="l" defTabSz="914400" eaLnBrk="0" fontAlgn="base" hangingPunct="0">
              <a:lnSpc>
                <a:spcPct val="85000"/>
              </a:lnSpc>
              <a:spcBef>
                <a:spcPct val="0"/>
              </a:spcBef>
              <a:spcAft>
                <a:spcPct val="0"/>
              </a:spcAft>
            </a:pPr>
            <a:r>
              <a:rPr lang="en-US" sz="1400" b="1">
                <a:solidFill>
                  <a:schemeClr val="bg1"/>
                </a:solidFill>
                <a:cs typeface="Arial" charset="0"/>
              </a:rPr>
              <a:t>Career Story site</a:t>
            </a:r>
          </a:p>
        </p:txBody>
      </p:sp>
      <p:sp>
        <p:nvSpPr>
          <p:cNvPr id="13" name="Rectangle 12"/>
          <p:cNvSpPr/>
          <p:nvPr/>
        </p:nvSpPr>
        <p:spPr bwMode="auto">
          <a:xfrm>
            <a:off x="303648" y="2274155"/>
            <a:ext cx="4540250" cy="1234410"/>
          </a:xfrm>
          <a:prstGeom prst="rect">
            <a:avLst/>
          </a:prstGeom>
          <a:solidFill>
            <a:srgbClr val="BDBD00">
              <a:alpha val="10196"/>
            </a:srgb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171450" indent="-171450">
              <a:buClr>
                <a:schemeClr val="accent3"/>
              </a:buClr>
              <a:buFont typeface="Wingdings" pitchFamily="2" charset="2"/>
              <a:buChar char="§"/>
            </a:pPr>
            <a:r>
              <a:rPr lang="en-US" sz="1400">
                <a:hlinkClick r:id="rId3"/>
              </a:rPr>
              <a:t>http://careerstory.in.capgemini.com/</a:t>
            </a:r>
            <a:r>
              <a:rPr lang="en-US" sz="1400"/>
              <a:t> </a:t>
            </a:r>
          </a:p>
          <a:p>
            <a:pPr marL="171450" indent="-171450">
              <a:buClr>
                <a:schemeClr val="accent3"/>
              </a:buClr>
              <a:buFont typeface="Wingdings" pitchFamily="2" charset="2"/>
              <a:buChar char="§"/>
            </a:pPr>
            <a:r>
              <a:rPr lang="en-US" sz="1400"/>
              <a:t>Download PDF: </a:t>
            </a:r>
            <a:r>
              <a:rPr lang="en-US" sz="1400" u="sng">
                <a:hlinkClick r:id="rId4"/>
              </a:rPr>
              <a:t>http://talent.capgemini.com/media_library/Medias/Common_images/CG_Career_Story_Oct-2016.pdf</a:t>
            </a:r>
            <a:endParaRPr lang="en-US" sz="1400"/>
          </a:p>
        </p:txBody>
      </p:sp>
      <p:sp>
        <p:nvSpPr>
          <p:cNvPr id="14" name="Round Same Side Corner Rectangle 13"/>
          <p:cNvSpPr/>
          <p:nvPr/>
        </p:nvSpPr>
        <p:spPr bwMode="auto">
          <a:xfrm>
            <a:off x="5039160" y="1997589"/>
            <a:ext cx="3904615" cy="274319"/>
          </a:xfrm>
          <a:prstGeom prst="round2SameRect">
            <a:avLst/>
          </a:prstGeom>
          <a:solidFill>
            <a:schemeClr val="accent6"/>
          </a:solidFill>
          <a:ln w="6350" cap="flat" cmpd="sng" algn="ctr">
            <a:noFill/>
            <a:prstDash val="solid"/>
            <a:round/>
            <a:headEnd type="none" w="med" len="med"/>
            <a:tailEnd type="none" w="med" len="med"/>
          </a:ln>
          <a:effectLst/>
        </p:spPr>
        <p:txBody>
          <a:bodyPr vert="horz" wrap="square" lIns="45720" tIns="45720" rIns="0" bIns="0" numCol="1" rtlCol="0" anchor="t" anchorCtr="0" compatLnSpc="1">
            <a:prstTxWarp prst="textNoShape">
              <a:avLst/>
            </a:prstTxWarp>
          </a:bodyPr>
          <a:lstStyle/>
          <a:p>
            <a:pPr algn="l" defTabSz="914400" eaLnBrk="0" fontAlgn="base" hangingPunct="0">
              <a:lnSpc>
                <a:spcPct val="85000"/>
              </a:lnSpc>
              <a:spcBef>
                <a:spcPct val="0"/>
              </a:spcBef>
              <a:spcAft>
                <a:spcPct val="0"/>
              </a:spcAft>
            </a:pPr>
            <a:r>
              <a:rPr lang="en-US" sz="1400" b="1">
                <a:solidFill>
                  <a:schemeClr val="bg1"/>
                </a:solidFill>
                <a:cs typeface="Arial" charset="0"/>
              </a:rPr>
              <a:t>Career Framework</a:t>
            </a:r>
          </a:p>
        </p:txBody>
      </p:sp>
      <p:sp>
        <p:nvSpPr>
          <p:cNvPr id="15" name="Rectangle 14"/>
          <p:cNvSpPr/>
          <p:nvPr/>
        </p:nvSpPr>
        <p:spPr bwMode="auto">
          <a:xfrm>
            <a:off x="5039160" y="2274157"/>
            <a:ext cx="4540250" cy="1234408"/>
          </a:xfrm>
          <a:prstGeom prst="rect">
            <a:avLst/>
          </a:prstGeom>
          <a:solidFill>
            <a:schemeClr val="accent6">
              <a:lumMod val="20000"/>
              <a:lumOff val="80000"/>
              <a:alpha val="50196"/>
            </a:scheme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171450" indent="-171450">
              <a:buClr>
                <a:schemeClr val="accent6"/>
              </a:buClr>
              <a:buFont typeface="Wingdings" pitchFamily="2" charset="2"/>
              <a:buChar char="§"/>
            </a:pPr>
            <a:r>
              <a:rPr lang="en-GB" sz="1400">
                <a:hlinkClick r:id="rId5"/>
              </a:rPr>
              <a:t>https://careerframework.fs.capgemini.com/</a:t>
            </a:r>
            <a:r>
              <a:rPr lang="en-GB" sz="1400"/>
              <a:t> </a:t>
            </a:r>
            <a:br>
              <a:rPr lang="en-GB" sz="1400"/>
            </a:br>
            <a:endParaRPr lang="en-US" sz="1400">
              <a:solidFill>
                <a:schemeClr val="tx2">
                  <a:lumMod val="50000"/>
                </a:schemeClr>
              </a:solidFill>
            </a:endParaRPr>
          </a:p>
        </p:txBody>
      </p:sp>
      <p:sp>
        <p:nvSpPr>
          <p:cNvPr id="16" name="Round Same Side Corner Rectangle 15"/>
          <p:cNvSpPr/>
          <p:nvPr/>
        </p:nvSpPr>
        <p:spPr bwMode="auto">
          <a:xfrm>
            <a:off x="303648" y="3796606"/>
            <a:ext cx="3555047" cy="274322"/>
          </a:xfrm>
          <a:prstGeom prst="round2SameRect">
            <a:avLst/>
          </a:prstGeom>
          <a:solidFill>
            <a:schemeClr val="accent1">
              <a:lumMod val="75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algn="l" defTabSz="914400" eaLnBrk="0" fontAlgn="base" hangingPunct="0">
              <a:lnSpc>
                <a:spcPct val="85000"/>
              </a:lnSpc>
              <a:spcBef>
                <a:spcPct val="0"/>
              </a:spcBef>
              <a:spcAft>
                <a:spcPct val="0"/>
              </a:spcAft>
            </a:pPr>
            <a:r>
              <a:rPr lang="en-US" sz="1400" b="1">
                <a:solidFill>
                  <a:schemeClr val="bg1"/>
                </a:solidFill>
                <a:cs typeface="Arial" charset="0"/>
              </a:rPr>
              <a:t>HR Page on KM3.0</a:t>
            </a:r>
          </a:p>
        </p:txBody>
      </p:sp>
      <p:sp>
        <p:nvSpPr>
          <p:cNvPr id="17" name="Rectangle 16"/>
          <p:cNvSpPr/>
          <p:nvPr/>
        </p:nvSpPr>
        <p:spPr bwMode="auto">
          <a:xfrm>
            <a:off x="303648" y="4073175"/>
            <a:ext cx="4540250" cy="1163630"/>
          </a:xfrm>
          <a:prstGeom prst="rect">
            <a:avLst/>
          </a:prstGeom>
          <a:solidFill>
            <a:srgbClr val="FFF5D4">
              <a:alpha val="49804"/>
            </a:srgb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285750" indent="-285750">
              <a:buClr>
                <a:schemeClr val="accent1"/>
              </a:buClr>
              <a:buFont typeface="Wingdings" pitchFamily="2" charset="2"/>
              <a:buChar char="§"/>
            </a:pPr>
            <a:r>
              <a:rPr lang="en-US" sz="1400" u="sng">
                <a:hlinkClick r:id="rId6"/>
              </a:rPr>
              <a:t>HR - Canada</a:t>
            </a:r>
            <a:endParaRPr lang="en-US" sz="1400"/>
          </a:p>
          <a:p>
            <a:pPr marL="285750" indent="-285750">
              <a:buClr>
                <a:schemeClr val="accent1"/>
              </a:buClr>
              <a:buFont typeface="Wingdings" pitchFamily="2" charset="2"/>
              <a:buChar char="§"/>
            </a:pPr>
            <a:r>
              <a:rPr lang="en-US" sz="1400" u="sng">
                <a:hlinkClick r:id="rId7"/>
              </a:rPr>
              <a:t>HR - United States</a:t>
            </a:r>
            <a:endParaRPr lang="en-US" sz="1400" u="sng"/>
          </a:p>
          <a:p>
            <a:pPr marL="285750" indent="-285750">
              <a:buClr>
                <a:schemeClr val="accent1"/>
              </a:buClr>
              <a:buFont typeface="Wingdings" pitchFamily="2" charset="2"/>
              <a:buChar char="§"/>
            </a:pPr>
            <a:r>
              <a:rPr lang="en-US" sz="1400" b="1">
                <a:solidFill>
                  <a:schemeClr val="tx2">
                    <a:lumMod val="50000"/>
                  </a:schemeClr>
                </a:solidFill>
              </a:rPr>
              <a:t>HR POCs: </a:t>
            </a:r>
            <a:r>
              <a:rPr lang="en-US" sz="1400" i="1" u="sng">
                <a:hlinkClick r:id="rId8"/>
              </a:rPr>
              <a:t>http://km3.capgemini.com/book/714868</a:t>
            </a:r>
            <a:endParaRPr lang="en-US" sz="1400">
              <a:solidFill>
                <a:schemeClr val="tx2">
                  <a:lumMod val="50000"/>
                </a:schemeClr>
              </a:solidFill>
            </a:endParaRPr>
          </a:p>
        </p:txBody>
      </p:sp>
      <p:cxnSp>
        <p:nvCxnSpPr>
          <p:cNvPr id="20" name="Straight Connector 19"/>
          <p:cNvCxnSpPr/>
          <p:nvPr/>
        </p:nvCxnSpPr>
        <p:spPr bwMode="auto">
          <a:xfrm>
            <a:off x="5039160" y="2304635"/>
            <a:ext cx="4069715" cy="0"/>
          </a:xfrm>
          <a:prstGeom prst="line">
            <a:avLst/>
          </a:prstGeom>
          <a:solidFill>
            <a:schemeClr val="tx2"/>
          </a:solidFill>
          <a:ln w="6350" cap="rnd" cmpd="sng" algn="ctr">
            <a:solidFill>
              <a:schemeClr val="accent6"/>
            </a:solidFill>
            <a:prstDash val="solid"/>
            <a:round/>
            <a:headEnd type="none" w="med" len="med"/>
            <a:tailEnd type="diamond" w="med" len="med"/>
          </a:ln>
          <a:effectLst/>
        </p:spPr>
      </p:cxnSp>
      <p:cxnSp>
        <p:nvCxnSpPr>
          <p:cNvPr id="21" name="Straight Connector 20"/>
          <p:cNvCxnSpPr/>
          <p:nvPr/>
        </p:nvCxnSpPr>
        <p:spPr bwMode="auto">
          <a:xfrm>
            <a:off x="303649" y="2304635"/>
            <a:ext cx="2828503" cy="0"/>
          </a:xfrm>
          <a:prstGeom prst="line">
            <a:avLst/>
          </a:prstGeom>
          <a:solidFill>
            <a:schemeClr val="tx2"/>
          </a:solidFill>
          <a:ln w="6350" cap="rnd" cmpd="sng" algn="ctr">
            <a:solidFill>
              <a:schemeClr val="accent3"/>
            </a:solidFill>
            <a:prstDash val="solid"/>
            <a:round/>
            <a:headEnd type="none" w="med" len="med"/>
            <a:tailEnd type="diamond" w="med" len="med"/>
          </a:ln>
          <a:effectLst/>
        </p:spPr>
      </p:cxnSp>
      <p:cxnSp>
        <p:nvCxnSpPr>
          <p:cNvPr id="22" name="Straight Connector 21"/>
          <p:cNvCxnSpPr/>
          <p:nvPr/>
        </p:nvCxnSpPr>
        <p:spPr bwMode="auto">
          <a:xfrm>
            <a:off x="303650" y="4125742"/>
            <a:ext cx="3720146" cy="0"/>
          </a:xfrm>
          <a:prstGeom prst="line">
            <a:avLst/>
          </a:prstGeom>
          <a:solidFill>
            <a:schemeClr val="tx2"/>
          </a:solidFill>
          <a:ln w="6350" cap="rnd" cmpd="sng" algn="ctr">
            <a:solidFill>
              <a:schemeClr val="accent1">
                <a:lumMod val="75000"/>
              </a:schemeClr>
            </a:solidFill>
            <a:prstDash val="solid"/>
            <a:round/>
            <a:headEnd type="none" w="med" len="med"/>
            <a:tailEnd type="diamond" w="med" len="med"/>
          </a:ln>
          <a:effectLst/>
        </p:spPr>
      </p:cxnSp>
      <p:sp>
        <p:nvSpPr>
          <p:cNvPr id="18" name="Round Same Side Corner Rectangle 17"/>
          <p:cNvSpPr/>
          <p:nvPr/>
        </p:nvSpPr>
        <p:spPr bwMode="auto">
          <a:xfrm>
            <a:off x="5082658" y="3796606"/>
            <a:ext cx="3555047" cy="274322"/>
          </a:xfrm>
          <a:prstGeom prst="round2SameRect">
            <a:avLst/>
          </a:prstGeom>
          <a:solidFill>
            <a:schemeClr val="accent5"/>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algn="l" defTabSz="914400" eaLnBrk="0" fontAlgn="base" hangingPunct="0">
              <a:lnSpc>
                <a:spcPct val="85000"/>
              </a:lnSpc>
              <a:spcBef>
                <a:spcPct val="0"/>
              </a:spcBef>
              <a:spcAft>
                <a:spcPct val="0"/>
              </a:spcAft>
            </a:pPr>
            <a:r>
              <a:rPr lang="en-US" sz="1400" b="1">
                <a:solidFill>
                  <a:schemeClr val="bg1"/>
                </a:solidFill>
                <a:cs typeface="Arial" charset="0"/>
              </a:rPr>
              <a:t>Other Links</a:t>
            </a:r>
          </a:p>
        </p:txBody>
      </p:sp>
      <p:sp>
        <p:nvSpPr>
          <p:cNvPr id="19" name="Rectangle 18"/>
          <p:cNvSpPr/>
          <p:nvPr/>
        </p:nvSpPr>
        <p:spPr bwMode="auto">
          <a:xfrm>
            <a:off x="5082658" y="4073175"/>
            <a:ext cx="4540250" cy="1595690"/>
          </a:xfrm>
          <a:prstGeom prst="rect">
            <a:avLst/>
          </a:prstGeom>
          <a:solidFill>
            <a:schemeClr val="tx2">
              <a:lumMod val="10000"/>
              <a:lumOff val="90000"/>
              <a:alpha val="49804"/>
            </a:scheme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285750" indent="-285750">
              <a:buClr>
                <a:schemeClr val="accent1"/>
              </a:buClr>
              <a:buFont typeface="Wingdings" pitchFamily="2" charset="2"/>
              <a:buChar char="§"/>
            </a:pPr>
            <a:r>
              <a:rPr lang="en-US" sz="1400" b="1">
                <a:solidFill>
                  <a:schemeClr val="tx2">
                    <a:lumMod val="50000"/>
                  </a:schemeClr>
                </a:solidFill>
              </a:rPr>
              <a:t>iConnect: </a:t>
            </a:r>
            <a:r>
              <a:rPr lang="en-US" sz="1400" u="sng">
                <a:hlinkClick r:id="rId9"/>
              </a:rPr>
              <a:t>https://iconnect.fs.capgemini.com/</a:t>
            </a:r>
            <a:r>
              <a:rPr lang="en-US" sz="1400"/>
              <a:t> </a:t>
            </a:r>
            <a:endParaRPr lang="en-US" sz="1400" b="1">
              <a:solidFill>
                <a:schemeClr val="tx2">
                  <a:lumMod val="50000"/>
                </a:schemeClr>
              </a:solidFill>
              <a:hlinkClick r:id="rId8"/>
            </a:endParaRPr>
          </a:p>
          <a:p>
            <a:pPr marL="285750" indent="-285750">
              <a:buClr>
                <a:schemeClr val="accent1"/>
              </a:buClr>
              <a:buFont typeface="Wingdings" pitchFamily="2" charset="2"/>
              <a:buChar char="§"/>
            </a:pPr>
            <a:r>
              <a:rPr lang="en-US" sz="1400" b="1"/>
              <a:t>MyPath: </a:t>
            </a:r>
            <a:r>
              <a:rPr lang="en-US" sz="1400" u="sng">
                <a:hlinkClick r:id="rId10"/>
              </a:rPr>
              <a:t>https://myconnect.capgemini.com</a:t>
            </a:r>
            <a:endParaRPr lang="en-US" sz="1400" b="1">
              <a:solidFill>
                <a:schemeClr val="tx2">
                  <a:lumMod val="50000"/>
                </a:schemeClr>
              </a:solidFill>
            </a:endParaRPr>
          </a:p>
          <a:p>
            <a:pPr marL="285750" indent="-285750">
              <a:buClr>
                <a:schemeClr val="accent1"/>
              </a:buClr>
              <a:buFont typeface="Wingdings" pitchFamily="2" charset="2"/>
              <a:buChar char="§"/>
            </a:pPr>
            <a:r>
              <a:rPr lang="en-US" sz="1400" b="1" u="sng">
                <a:hlinkClick r:id="rId11"/>
              </a:rPr>
              <a:t>Competitiveness Skill Portal</a:t>
            </a:r>
            <a:endParaRPr lang="en-US" sz="1400"/>
          </a:p>
          <a:p>
            <a:pPr marL="285750" indent="-285750">
              <a:buClr>
                <a:schemeClr val="accent1"/>
              </a:buClr>
              <a:buFont typeface="Wingdings" pitchFamily="2" charset="2"/>
              <a:buChar char="§"/>
            </a:pPr>
            <a:r>
              <a:rPr lang="en-US" sz="1400" u="sng" err="1">
                <a:hlinkClick r:id="rId12"/>
              </a:rPr>
              <a:t>MyLearning</a:t>
            </a:r>
            <a:endParaRPr lang="en-US" sz="1400" u="sng"/>
          </a:p>
          <a:p>
            <a:pPr marL="285750" indent="-285750">
              <a:buClr>
                <a:schemeClr val="accent1"/>
              </a:buClr>
              <a:buFont typeface="Wingdings" pitchFamily="2" charset="2"/>
              <a:buChar char="§"/>
            </a:pPr>
            <a:r>
              <a:rPr lang="en-US" sz="1400" b="1"/>
              <a:t>Employee stories: </a:t>
            </a:r>
            <a:r>
              <a:rPr lang="en-US" sz="1400" u="sng">
                <a:hlinkClick r:id="rId13"/>
              </a:rPr>
              <a:t>https://www.capgemini.com/testimonials/</a:t>
            </a:r>
            <a:r>
              <a:rPr lang="en-US" sz="1400" u="sng"/>
              <a:t> </a:t>
            </a:r>
          </a:p>
        </p:txBody>
      </p:sp>
      <p:cxnSp>
        <p:nvCxnSpPr>
          <p:cNvPr id="23" name="Straight Connector 22"/>
          <p:cNvCxnSpPr/>
          <p:nvPr/>
        </p:nvCxnSpPr>
        <p:spPr bwMode="auto">
          <a:xfrm>
            <a:off x="5082660" y="4125742"/>
            <a:ext cx="3720146" cy="0"/>
          </a:xfrm>
          <a:prstGeom prst="line">
            <a:avLst/>
          </a:prstGeom>
          <a:solidFill>
            <a:schemeClr val="tx2"/>
          </a:solidFill>
          <a:ln w="6350" cap="rnd" cmpd="sng" algn="ctr">
            <a:solidFill>
              <a:schemeClr val="accent5"/>
            </a:solidFill>
            <a:prstDash val="solid"/>
            <a:round/>
            <a:headEnd type="none" w="med" len="med"/>
            <a:tailEnd type="diamond" w="med" len="med"/>
          </a:ln>
          <a:effectLst/>
        </p:spPr>
      </p:cxnSp>
    </p:spTree>
    <p:extLst>
      <p:ext uri="{BB962C8B-B14F-4D97-AF65-F5344CB8AC3E}">
        <p14:creationId xmlns:p14="http://schemas.microsoft.com/office/powerpoint/2010/main" val="12350638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p:cNvPicPr>
            <a:picLocks noChangeAspect="1"/>
          </p:cNvPicPr>
          <p:nvPr/>
        </p:nvPicPr>
        <p:blipFill rotWithShape="1">
          <a:blip r:embed="rId3" cstate="print">
            <a:extLst>
              <a:ext uri="{28A0092B-C50C-407E-A947-70E740481C1C}">
                <a14:useLocalDpi xmlns:a14="http://schemas.microsoft.com/office/drawing/2010/main" val="0"/>
              </a:ext>
            </a:extLst>
          </a:blip>
          <a:srcRect r="60727" b="7831"/>
          <a:stretch/>
        </p:blipFill>
        <p:spPr>
          <a:xfrm>
            <a:off x="-11768" y="2865263"/>
            <a:ext cx="2599765" cy="4007796"/>
          </a:xfrm>
          <a:prstGeom prst="rect">
            <a:avLst/>
          </a:prstGeom>
        </p:spPr>
      </p:pic>
      <p:pic>
        <p:nvPicPr>
          <p:cNvPr id="52" name="Picture 51"/>
          <p:cNvPicPr>
            <a:picLocks noChangeAspect="1"/>
          </p:cNvPicPr>
          <p:nvPr/>
        </p:nvPicPr>
        <p:blipFill rotWithShape="1">
          <a:blip r:embed="rId4" cstate="print">
            <a:alphaModFix amt="50000"/>
            <a:extLst>
              <a:ext uri="{28A0092B-C50C-407E-A947-70E740481C1C}">
                <a14:useLocalDpi xmlns:a14="http://schemas.microsoft.com/office/drawing/2010/main" val="0"/>
              </a:ext>
            </a:extLst>
          </a:blip>
          <a:srcRect l="8762"/>
          <a:stretch/>
        </p:blipFill>
        <p:spPr>
          <a:xfrm>
            <a:off x="6506793" y="974960"/>
            <a:ext cx="3614631" cy="5194340"/>
          </a:xfrm>
          <a:prstGeom prst="ellipse">
            <a:avLst/>
          </a:prstGeom>
          <a:ln>
            <a:noFill/>
          </a:ln>
          <a:effectLst>
            <a:softEdge rad="112500"/>
          </a:effectLst>
        </p:spPr>
      </p:pic>
      <p:grpSp>
        <p:nvGrpSpPr>
          <p:cNvPr id="66" name="Grupo 43"/>
          <p:cNvGrpSpPr/>
          <p:nvPr/>
        </p:nvGrpSpPr>
        <p:grpSpPr>
          <a:xfrm>
            <a:off x="4607787" y="1380118"/>
            <a:ext cx="727471" cy="705146"/>
            <a:chOff x="1362636" y="3930650"/>
            <a:chExt cx="895349" cy="895349"/>
          </a:xfrm>
        </p:grpSpPr>
        <p:sp>
          <p:nvSpPr>
            <p:cNvPr id="67" name="Elipse 66"/>
            <p:cNvSpPr/>
            <p:nvPr/>
          </p:nvSpPr>
          <p:spPr>
            <a:xfrm>
              <a:off x="1362636" y="3930650"/>
              <a:ext cx="895349" cy="895349"/>
            </a:xfrm>
            <a:prstGeom prst="ellipse">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24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68" name="Grupo 19"/>
            <p:cNvGrpSpPr/>
            <p:nvPr/>
          </p:nvGrpSpPr>
          <p:grpSpPr>
            <a:xfrm>
              <a:off x="1571730" y="4186637"/>
              <a:ext cx="477161" cy="345275"/>
              <a:chOff x="2947036" y="1501834"/>
              <a:chExt cx="477161" cy="345275"/>
            </a:xfrm>
            <a:solidFill>
              <a:schemeClr val="bg1"/>
            </a:solidFill>
          </p:grpSpPr>
          <p:sp>
            <p:nvSpPr>
              <p:cNvPr id="69" name="Freeform 6175"/>
              <p:cNvSpPr>
                <a:spLocks noEditPoints="1"/>
              </p:cNvSpPr>
              <p:nvPr/>
            </p:nvSpPr>
            <p:spPr bwMode="auto">
              <a:xfrm>
                <a:off x="3115969" y="1501834"/>
                <a:ext cx="143741" cy="158560"/>
              </a:xfrm>
              <a:custGeom>
                <a:avLst/>
                <a:gdLst>
                  <a:gd name="T0" fmla="*/ 48 w 97"/>
                  <a:gd name="T1" fmla="*/ 26 h 107"/>
                  <a:gd name="T2" fmla="*/ 37 w 97"/>
                  <a:gd name="T3" fmla="*/ 29 h 107"/>
                  <a:gd name="T4" fmla="*/ 28 w 97"/>
                  <a:gd name="T5" fmla="*/ 39 h 107"/>
                  <a:gd name="T6" fmla="*/ 25 w 97"/>
                  <a:gd name="T7" fmla="*/ 54 h 107"/>
                  <a:gd name="T8" fmla="*/ 28 w 97"/>
                  <a:gd name="T9" fmla="*/ 68 h 107"/>
                  <a:gd name="T10" fmla="*/ 37 w 97"/>
                  <a:gd name="T11" fmla="*/ 78 h 107"/>
                  <a:gd name="T12" fmla="*/ 48 w 97"/>
                  <a:gd name="T13" fmla="*/ 81 h 107"/>
                  <a:gd name="T14" fmla="*/ 60 w 97"/>
                  <a:gd name="T15" fmla="*/ 78 h 107"/>
                  <a:gd name="T16" fmla="*/ 69 w 97"/>
                  <a:gd name="T17" fmla="*/ 68 h 107"/>
                  <a:gd name="T18" fmla="*/ 72 w 97"/>
                  <a:gd name="T19" fmla="*/ 54 h 107"/>
                  <a:gd name="T20" fmla="*/ 69 w 97"/>
                  <a:gd name="T21" fmla="*/ 39 h 107"/>
                  <a:gd name="T22" fmla="*/ 60 w 97"/>
                  <a:gd name="T23" fmla="*/ 29 h 107"/>
                  <a:gd name="T24" fmla="*/ 48 w 97"/>
                  <a:gd name="T25" fmla="*/ 26 h 107"/>
                  <a:gd name="T26" fmla="*/ 48 w 97"/>
                  <a:gd name="T27" fmla="*/ 0 h 107"/>
                  <a:gd name="T28" fmla="*/ 67 w 97"/>
                  <a:gd name="T29" fmla="*/ 3 h 107"/>
                  <a:gd name="T30" fmla="*/ 82 w 97"/>
                  <a:gd name="T31" fmla="*/ 15 h 107"/>
                  <a:gd name="T32" fmla="*/ 93 w 97"/>
                  <a:gd name="T33" fmla="*/ 33 h 107"/>
                  <a:gd name="T34" fmla="*/ 97 w 97"/>
                  <a:gd name="T35" fmla="*/ 54 h 107"/>
                  <a:gd name="T36" fmla="*/ 93 w 97"/>
                  <a:gd name="T37" fmla="*/ 74 h 107"/>
                  <a:gd name="T38" fmla="*/ 82 w 97"/>
                  <a:gd name="T39" fmla="*/ 92 h 107"/>
                  <a:gd name="T40" fmla="*/ 67 w 97"/>
                  <a:gd name="T41" fmla="*/ 104 h 107"/>
                  <a:gd name="T42" fmla="*/ 48 w 97"/>
                  <a:gd name="T43" fmla="*/ 107 h 107"/>
                  <a:gd name="T44" fmla="*/ 30 w 97"/>
                  <a:gd name="T45" fmla="*/ 104 h 107"/>
                  <a:gd name="T46" fmla="*/ 15 w 97"/>
                  <a:gd name="T47" fmla="*/ 92 h 107"/>
                  <a:gd name="T48" fmla="*/ 4 w 97"/>
                  <a:gd name="T49" fmla="*/ 74 h 107"/>
                  <a:gd name="T50" fmla="*/ 0 w 97"/>
                  <a:gd name="T51" fmla="*/ 54 h 107"/>
                  <a:gd name="T52" fmla="*/ 4 w 97"/>
                  <a:gd name="T53" fmla="*/ 33 h 107"/>
                  <a:gd name="T54" fmla="*/ 15 w 97"/>
                  <a:gd name="T55" fmla="*/ 15 h 107"/>
                  <a:gd name="T56" fmla="*/ 30 w 97"/>
                  <a:gd name="T57" fmla="*/ 3 h 107"/>
                  <a:gd name="T58" fmla="*/ 48 w 97"/>
                  <a:gd name="T5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107">
                    <a:moveTo>
                      <a:pt x="48" y="26"/>
                    </a:moveTo>
                    <a:lnTo>
                      <a:pt x="37" y="29"/>
                    </a:lnTo>
                    <a:lnTo>
                      <a:pt x="28" y="39"/>
                    </a:lnTo>
                    <a:lnTo>
                      <a:pt x="25" y="54"/>
                    </a:lnTo>
                    <a:lnTo>
                      <a:pt x="28" y="68"/>
                    </a:lnTo>
                    <a:lnTo>
                      <a:pt x="37" y="78"/>
                    </a:lnTo>
                    <a:lnTo>
                      <a:pt x="48" y="81"/>
                    </a:lnTo>
                    <a:lnTo>
                      <a:pt x="60" y="78"/>
                    </a:lnTo>
                    <a:lnTo>
                      <a:pt x="69" y="68"/>
                    </a:lnTo>
                    <a:lnTo>
                      <a:pt x="72" y="54"/>
                    </a:lnTo>
                    <a:lnTo>
                      <a:pt x="69" y="39"/>
                    </a:lnTo>
                    <a:lnTo>
                      <a:pt x="60" y="29"/>
                    </a:lnTo>
                    <a:lnTo>
                      <a:pt x="48" y="26"/>
                    </a:lnTo>
                    <a:close/>
                    <a:moveTo>
                      <a:pt x="48" y="0"/>
                    </a:moveTo>
                    <a:lnTo>
                      <a:pt x="67" y="3"/>
                    </a:lnTo>
                    <a:lnTo>
                      <a:pt x="82" y="15"/>
                    </a:lnTo>
                    <a:lnTo>
                      <a:pt x="93" y="33"/>
                    </a:lnTo>
                    <a:lnTo>
                      <a:pt x="97" y="54"/>
                    </a:lnTo>
                    <a:lnTo>
                      <a:pt x="93" y="74"/>
                    </a:lnTo>
                    <a:lnTo>
                      <a:pt x="82" y="92"/>
                    </a:lnTo>
                    <a:lnTo>
                      <a:pt x="67" y="104"/>
                    </a:lnTo>
                    <a:lnTo>
                      <a:pt x="48" y="107"/>
                    </a:lnTo>
                    <a:lnTo>
                      <a:pt x="30" y="104"/>
                    </a:lnTo>
                    <a:lnTo>
                      <a:pt x="15" y="92"/>
                    </a:lnTo>
                    <a:lnTo>
                      <a:pt x="4" y="74"/>
                    </a:lnTo>
                    <a:lnTo>
                      <a:pt x="0" y="54"/>
                    </a:lnTo>
                    <a:lnTo>
                      <a:pt x="4" y="33"/>
                    </a:lnTo>
                    <a:lnTo>
                      <a:pt x="15" y="15"/>
                    </a:lnTo>
                    <a:lnTo>
                      <a:pt x="30" y="3"/>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0" name="Freeform 6176"/>
              <p:cNvSpPr>
                <a:spLocks noEditPoints="1"/>
              </p:cNvSpPr>
              <p:nvPr/>
            </p:nvSpPr>
            <p:spPr bwMode="auto">
              <a:xfrm>
                <a:off x="3059658" y="1685585"/>
                <a:ext cx="251917" cy="161524"/>
              </a:xfrm>
              <a:custGeom>
                <a:avLst/>
                <a:gdLst>
                  <a:gd name="T0" fmla="*/ 69 w 170"/>
                  <a:gd name="T1" fmla="*/ 25 h 109"/>
                  <a:gd name="T2" fmla="*/ 39 w 170"/>
                  <a:gd name="T3" fmla="*/ 33 h 109"/>
                  <a:gd name="T4" fmla="*/ 35 w 170"/>
                  <a:gd name="T5" fmla="*/ 36 h 109"/>
                  <a:gd name="T6" fmla="*/ 32 w 170"/>
                  <a:gd name="T7" fmla="*/ 39 h 109"/>
                  <a:gd name="T8" fmla="*/ 29 w 170"/>
                  <a:gd name="T9" fmla="*/ 43 h 109"/>
                  <a:gd name="T10" fmla="*/ 27 w 170"/>
                  <a:gd name="T11" fmla="*/ 48 h 109"/>
                  <a:gd name="T12" fmla="*/ 27 w 170"/>
                  <a:gd name="T13" fmla="*/ 51 h 109"/>
                  <a:gd name="T14" fmla="*/ 29 w 170"/>
                  <a:gd name="T15" fmla="*/ 84 h 109"/>
                  <a:gd name="T16" fmla="*/ 143 w 170"/>
                  <a:gd name="T17" fmla="*/ 84 h 109"/>
                  <a:gd name="T18" fmla="*/ 144 w 170"/>
                  <a:gd name="T19" fmla="*/ 51 h 109"/>
                  <a:gd name="T20" fmla="*/ 144 w 170"/>
                  <a:gd name="T21" fmla="*/ 48 h 109"/>
                  <a:gd name="T22" fmla="*/ 143 w 170"/>
                  <a:gd name="T23" fmla="*/ 43 h 109"/>
                  <a:gd name="T24" fmla="*/ 140 w 170"/>
                  <a:gd name="T25" fmla="*/ 39 h 109"/>
                  <a:gd name="T26" fmla="*/ 135 w 170"/>
                  <a:gd name="T27" fmla="*/ 36 h 109"/>
                  <a:gd name="T28" fmla="*/ 131 w 170"/>
                  <a:gd name="T29" fmla="*/ 33 h 109"/>
                  <a:gd name="T30" fmla="*/ 101 w 170"/>
                  <a:gd name="T31" fmla="*/ 25 h 109"/>
                  <a:gd name="T32" fmla="*/ 69 w 170"/>
                  <a:gd name="T33" fmla="*/ 25 h 109"/>
                  <a:gd name="T34" fmla="*/ 66 w 170"/>
                  <a:gd name="T35" fmla="*/ 0 h 109"/>
                  <a:gd name="T36" fmla="*/ 104 w 170"/>
                  <a:gd name="T37" fmla="*/ 0 h 109"/>
                  <a:gd name="T38" fmla="*/ 140 w 170"/>
                  <a:gd name="T39" fmla="*/ 9 h 109"/>
                  <a:gd name="T40" fmla="*/ 156 w 170"/>
                  <a:gd name="T41" fmla="*/ 19 h 109"/>
                  <a:gd name="T42" fmla="*/ 167 w 170"/>
                  <a:gd name="T43" fmla="*/ 36 h 109"/>
                  <a:gd name="T44" fmla="*/ 170 w 170"/>
                  <a:gd name="T45" fmla="*/ 54 h 109"/>
                  <a:gd name="T46" fmla="*/ 167 w 170"/>
                  <a:gd name="T47" fmla="*/ 97 h 109"/>
                  <a:gd name="T48" fmla="*/ 165 w 170"/>
                  <a:gd name="T49" fmla="*/ 102 h 109"/>
                  <a:gd name="T50" fmla="*/ 162 w 170"/>
                  <a:gd name="T51" fmla="*/ 106 h 109"/>
                  <a:gd name="T52" fmla="*/ 159 w 170"/>
                  <a:gd name="T53" fmla="*/ 108 h 109"/>
                  <a:gd name="T54" fmla="*/ 155 w 170"/>
                  <a:gd name="T55" fmla="*/ 109 h 109"/>
                  <a:gd name="T56" fmla="*/ 17 w 170"/>
                  <a:gd name="T57" fmla="*/ 109 h 109"/>
                  <a:gd name="T58" fmla="*/ 12 w 170"/>
                  <a:gd name="T59" fmla="*/ 108 h 109"/>
                  <a:gd name="T60" fmla="*/ 8 w 170"/>
                  <a:gd name="T61" fmla="*/ 106 h 109"/>
                  <a:gd name="T62" fmla="*/ 5 w 170"/>
                  <a:gd name="T63" fmla="*/ 102 h 109"/>
                  <a:gd name="T64" fmla="*/ 3 w 170"/>
                  <a:gd name="T65" fmla="*/ 97 h 109"/>
                  <a:gd name="T66" fmla="*/ 0 w 170"/>
                  <a:gd name="T67" fmla="*/ 54 h 109"/>
                  <a:gd name="T68" fmla="*/ 5 w 170"/>
                  <a:gd name="T69" fmla="*/ 36 h 109"/>
                  <a:gd name="T70" fmla="*/ 15 w 170"/>
                  <a:gd name="T71" fmla="*/ 19 h 109"/>
                  <a:gd name="T72" fmla="*/ 30 w 170"/>
                  <a:gd name="T73" fmla="*/ 9 h 109"/>
                  <a:gd name="T74" fmla="*/ 66 w 170"/>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09">
                    <a:moveTo>
                      <a:pt x="69" y="25"/>
                    </a:moveTo>
                    <a:lnTo>
                      <a:pt x="39" y="33"/>
                    </a:lnTo>
                    <a:lnTo>
                      <a:pt x="35" y="36"/>
                    </a:lnTo>
                    <a:lnTo>
                      <a:pt x="32" y="39"/>
                    </a:lnTo>
                    <a:lnTo>
                      <a:pt x="29" y="43"/>
                    </a:lnTo>
                    <a:lnTo>
                      <a:pt x="27" y="48"/>
                    </a:lnTo>
                    <a:lnTo>
                      <a:pt x="27" y="51"/>
                    </a:lnTo>
                    <a:lnTo>
                      <a:pt x="29" y="84"/>
                    </a:lnTo>
                    <a:lnTo>
                      <a:pt x="143" y="84"/>
                    </a:lnTo>
                    <a:lnTo>
                      <a:pt x="144" y="51"/>
                    </a:lnTo>
                    <a:lnTo>
                      <a:pt x="144" y="48"/>
                    </a:lnTo>
                    <a:lnTo>
                      <a:pt x="143" y="43"/>
                    </a:lnTo>
                    <a:lnTo>
                      <a:pt x="140" y="39"/>
                    </a:lnTo>
                    <a:lnTo>
                      <a:pt x="135" y="36"/>
                    </a:lnTo>
                    <a:lnTo>
                      <a:pt x="131" y="33"/>
                    </a:lnTo>
                    <a:lnTo>
                      <a:pt x="101" y="25"/>
                    </a:lnTo>
                    <a:lnTo>
                      <a:pt x="69" y="25"/>
                    </a:lnTo>
                    <a:close/>
                    <a:moveTo>
                      <a:pt x="66" y="0"/>
                    </a:moveTo>
                    <a:lnTo>
                      <a:pt x="104" y="0"/>
                    </a:lnTo>
                    <a:lnTo>
                      <a:pt x="140" y="9"/>
                    </a:lnTo>
                    <a:lnTo>
                      <a:pt x="156" y="19"/>
                    </a:lnTo>
                    <a:lnTo>
                      <a:pt x="167" y="36"/>
                    </a:lnTo>
                    <a:lnTo>
                      <a:pt x="170" y="54"/>
                    </a:lnTo>
                    <a:lnTo>
                      <a:pt x="167" y="97"/>
                    </a:lnTo>
                    <a:lnTo>
                      <a:pt x="165" y="102"/>
                    </a:lnTo>
                    <a:lnTo>
                      <a:pt x="162" y="106"/>
                    </a:lnTo>
                    <a:lnTo>
                      <a:pt x="159" y="108"/>
                    </a:lnTo>
                    <a:lnTo>
                      <a:pt x="155" y="109"/>
                    </a:lnTo>
                    <a:lnTo>
                      <a:pt x="17" y="109"/>
                    </a:lnTo>
                    <a:lnTo>
                      <a:pt x="12" y="108"/>
                    </a:lnTo>
                    <a:lnTo>
                      <a:pt x="8" y="106"/>
                    </a:lnTo>
                    <a:lnTo>
                      <a:pt x="5" y="102"/>
                    </a:lnTo>
                    <a:lnTo>
                      <a:pt x="3" y="97"/>
                    </a:lnTo>
                    <a:lnTo>
                      <a:pt x="0" y="54"/>
                    </a:lnTo>
                    <a:lnTo>
                      <a:pt x="5" y="36"/>
                    </a:lnTo>
                    <a:lnTo>
                      <a:pt x="15" y="19"/>
                    </a:lnTo>
                    <a:lnTo>
                      <a:pt x="30" y="9"/>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1" name="Freeform 6177"/>
              <p:cNvSpPr>
                <a:spLocks noEditPoints="1"/>
              </p:cNvSpPr>
              <p:nvPr/>
            </p:nvSpPr>
            <p:spPr bwMode="auto">
              <a:xfrm>
                <a:off x="3059658" y="1685585"/>
                <a:ext cx="251917" cy="161524"/>
              </a:xfrm>
              <a:custGeom>
                <a:avLst/>
                <a:gdLst>
                  <a:gd name="T0" fmla="*/ 69 w 170"/>
                  <a:gd name="T1" fmla="*/ 25 h 109"/>
                  <a:gd name="T2" fmla="*/ 39 w 170"/>
                  <a:gd name="T3" fmla="*/ 33 h 109"/>
                  <a:gd name="T4" fmla="*/ 35 w 170"/>
                  <a:gd name="T5" fmla="*/ 36 h 109"/>
                  <a:gd name="T6" fmla="*/ 32 w 170"/>
                  <a:gd name="T7" fmla="*/ 39 h 109"/>
                  <a:gd name="T8" fmla="*/ 29 w 170"/>
                  <a:gd name="T9" fmla="*/ 43 h 109"/>
                  <a:gd name="T10" fmla="*/ 27 w 170"/>
                  <a:gd name="T11" fmla="*/ 48 h 109"/>
                  <a:gd name="T12" fmla="*/ 27 w 170"/>
                  <a:gd name="T13" fmla="*/ 51 h 109"/>
                  <a:gd name="T14" fmla="*/ 29 w 170"/>
                  <a:gd name="T15" fmla="*/ 84 h 109"/>
                  <a:gd name="T16" fmla="*/ 143 w 170"/>
                  <a:gd name="T17" fmla="*/ 84 h 109"/>
                  <a:gd name="T18" fmla="*/ 144 w 170"/>
                  <a:gd name="T19" fmla="*/ 51 h 109"/>
                  <a:gd name="T20" fmla="*/ 144 w 170"/>
                  <a:gd name="T21" fmla="*/ 48 h 109"/>
                  <a:gd name="T22" fmla="*/ 143 w 170"/>
                  <a:gd name="T23" fmla="*/ 43 h 109"/>
                  <a:gd name="T24" fmla="*/ 140 w 170"/>
                  <a:gd name="T25" fmla="*/ 39 h 109"/>
                  <a:gd name="T26" fmla="*/ 135 w 170"/>
                  <a:gd name="T27" fmla="*/ 36 h 109"/>
                  <a:gd name="T28" fmla="*/ 131 w 170"/>
                  <a:gd name="T29" fmla="*/ 33 h 109"/>
                  <a:gd name="T30" fmla="*/ 101 w 170"/>
                  <a:gd name="T31" fmla="*/ 25 h 109"/>
                  <a:gd name="T32" fmla="*/ 69 w 170"/>
                  <a:gd name="T33" fmla="*/ 25 h 109"/>
                  <a:gd name="T34" fmla="*/ 66 w 170"/>
                  <a:gd name="T35" fmla="*/ 0 h 109"/>
                  <a:gd name="T36" fmla="*/ 104 w 170"/>
                  <a:gd name="T37" fmla="*/ 0 h 109"/>
                  <a:gd name="T38" fmla="*/ 140 w 170"/>
                  <a:gd name="T39" fmla="*/ 9 h 109"/>
                  <a:gd name="T40" fmla="*/ 156 w 170"/>
                  <a:gd name="T41" fmla="*/ 19 h 109"/>
                  <a:gd name="T42" fmla="*/ 167 w 170"/>
                  <a:gd name="T43" fmla="*/ 36 h 109"/>
                  <a:gd name="T44" fmla="*/ 170 w 170"/>
                  <a:gd name="T45" fmla="*/ 54 h 109"/>
                  <a:gd name="T46" fmla="*/ 167 w 170"/>
                  <a:gd name="T47" fmla="*/ 97 h 109"/>
                  <a:gd name="T48" fmla="*/ 165 w 170"/>
                  <a:gd name="T49" fmla="*/ 102 h 109"/>
                  <a:gd name="T50" fmla="*/ 162 w 170"/>
                  <a:gd name="T51" fmla="*/ 106 h 109"/>
                  <a:gd name="T52" fmla="*/ 159 w 170"/>
                  <a:gd name="T53" fmla="*/ 108 h 109"/>
                  <a:gd name="T54" fmla="*/ 155 w 170"/>
                  <a:gd name="T55" fmla="*/ 109 h 109"/>
                  <a:gd name="T56" fmla="*/ 17 w 170"/>
                  <a:gd name="T57" fmla="*/ 109 h 109"/>
                  <a:gd name="T58" fmla="*/ 12 w 170"/>
                  <a:gd name="T59" fmla="*/ 108 h 109"/>
                  <a:gd name="T60" fmla="*/ 8 w 170"/>
                  <a:gd name="T61" fmla="*/ 106 h 109"/>
                  <a:gd name="T62" fmla="*/ 5 w 170"/>
                  <a:gd name="T63" fmla="*/ 102 h 109"/>
                  <a:gd name="T64" fmla="*/ 3 w 170"/>
                  <a:gd name="T65" fmla="*/ 97 h 109"/>
                  <a:gd name="T66" fmla="*/ 0 w 170"/>
                  <a:gd name="T67" fmla="*/ 54 h 109"/>
                  <a:gd name="T68" fmla="*/ 5 w 170"/>
                  <a:gd name="T69" fmla="*/ 36 h 109"/>
                  <a:gd name="T70" fmla="*/ 15 w 170"/>
                  <a:gd name="T71" fmla="*/ 19 h 109"/>
                  <a:gd name="T72" fmla="*/ 30 w 170"/>
                  <a:gd name="T73" fmla="*/ 9 h 109"/>
                  <a:gd name="T74" fmla="*/ 66 w 170"/>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09">
                    <a:moveTo>
                      <a:pt x="69" y="25"/>
                    </a:moveTo>
                    <a:lnTo>
                      <a:pt x="39" y="33"/>
                    </a:lnTo>
                    <a:lnTo>
                      <a:pt x="35" y="36"/>
                    </a:lnTo>
                    <a:lnTo>
                      <a:pt x="32" y="39"/>
                    </a:lnTo>
                    <a:lnTo>
                      <a:pt x="29" y="43"/>
                    </a:lnTo>
                    <a:lnTo>
                      <a:pt x="27" y="48"/>
                    </a:lnTo>
                    <a:lnTo>
                      <a:pt x="27" y="51"/>
                    </a:lnTo>
                    <a:lnTo>
                      <a:pt x="29" y="84"/>
                    </a:lnTo>
                    <a:lnTo>
                      <a:pt x="143" y="84"/>
                    </a:lnTo>
                    <a:lnTo>
                      <a:pt x="144" y="51"/>
                    </a:lnTo>
                    <a:lnTo>
                      <a:pt x="144" y="48"/>
                    </a:lnTo>
                    <a:lnTo>
                      <a:pt x="143" y="43"/>
                    </a:lnTo>
                    <a:lnTo>
                      <a:pt x="140" y="39"/>
                    </a:lnTo>
                    <a:lnTo>
                      <a:pt x="135" y="36"/>
                    </a:lnTo>
                    <a:lnTo>
                      <a:pt x="131" y="33"/>
                    </a:lnTo>
                    <a:lnTo>
                      <a:pt x="101" y="25"/>
                    </a:lnTo>
                    <a:lnTo>
                      <a:pt x="69" y="25"/>
                    </a:lnTo>
                    <a:close/>
                    <a:moveTo>
                      <a:pt x="66" y="0"/>
                    </a:moveTo>
                    <a:lnTo>
                      <a:pt x="104" y="0"/>
                    </a:lnTo>
                    <a:lnTo>
                      <a:pt x="140" y="9"/>
                    </a:lnTo>
                    <a:lnTo>
                      <a:pt x="156" y="19"/>
                    </a:lnTo>
                    <a:lnTo>
                      <a:pt x="167" y="36"/>
                    </a:lnTo>
                    <a:lnTo>
                      <a:pt x="170" y="54"/>
                    </a:lnTo>
                    <a:lnTo>
                      <a:pt x="167" y="97"/>
                    </a:lnTo>
                    <a:lnTo>
                      <a:pt x="165" y="102"/>
                    </a:lnTo>
                    <a:lnTo>
                      <a:pt x="162" y="106"/>
                    </a:lnTo>
                    <a:lnTo>
                      <a:pt x="159" y="108"/>
                    </a:lnTo>
                    <a:lnTo>
                      <a:pt x="155" y="109"/>
                    </a:lnTo>
                    <a:lnTo>
                      <a:pt x="17" y="109"/>
                    </a:lnTo>
                    <a:lnTo>
                      <a:pt x="12" y="108"/>
                    </a:lnTo>
                    <a:lnTo>
                      <a:pt x="8" y="106"/>
                    </a:lnTo>
                    <a:lnTo>
                      <a:pt x="5" y="102"/>
                    </a:lnTo>
                    <a:lnTo>
                      <a:pt x="3" y="97"/>
                    </a:lnTo>
                    <a:lnTo>
                      <a:pt x="0" y="54"/>
                    </a:lnTo>
                    <a:lnTo>
                      <a:pt x="5" y="36"/>
                    </a:lnTo>
                    <a:lnTo>
                      <a:pt x="15" y="19"/>
                    </a:lnTo>
                    <a:lnTo>
                      <a:pt x="30" y="9"/>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2" name="Freeform 6178"/>
              <p:cNvSpPr>
                <a:spLocks/>
              </p:cNvSpPr>
              <p:nvPr/>
            </p:nvSpPr>
            <p:spPr bwMode="auto">
              <a:xfrm>
                <a:off x="3317503" y="1690030"/>
                <a:ext cx="106694" cy="125959"/>
              </a:xfrm>
              <a:custGeom>
                <a:avLst/>
                <a:gdLst>
                  <a:gd name="T0" fmla="*/ 6 w 72"/>
                  <a:gd name="T1" fmla="*/ 0 h 85"/>
                  <a:gd name="T2" fmla="*/ 6 w 72"/>
                  <a:gd name="T3" fmla="*/ 0 h 85"/>
                  <a:gd name="T4" fmla="*/ 29 w 72"/>
                  <a:gd name="T5" fmla="*/ 1 h 85"/>
                  <a:gd name="T6" fmla="*/ 50 w 72"/>
                  <a:gd name="T7" fmla="*/ 7 h 85"/>
                  <a:gd name="T8" fmla="*/ 62 w 72"/>
                  <a:gd name="T9" fmla="*/ 16 h 85"/>
                  <a:gd name="T10" fmla="*/ 69 w 72"/>
                  <a:gd name="T11" fmla="*/ 28 h 85"/>
                  <a:gd name="T12" fmla="*/ 72 w 72"/>
                  <a:gd name="T13" fmla="*/ 42 h 85"/>
                  <a:gd name="T14" fmla="*/ 69 w 72"/>
                  <a:gd name="T15" fmla="*/ 79 h 85"/>
                  <a:gd name="T16" fmla="*/ 69 w 72"/>
                  <a:gd name="T17" fmla="*/ 82 h 85"/>
                  <a:gd name="T18" fmla="*/ 66 w 72"/>
                  <a:gd name="T19" fmla="*/ 85 h 85"/>
                  <a:gd name="T20" fmla="*/ 63 w 72"/>
                  <a:gd name="T21" fmla="*/ 85 h 85"/>
                  <a:gd name="T22" fmla="*/ 9 w 72"/>
                  <a:gd name="T23" fmla="*/ 85 h 85"/>
                  <a:gd name="T24" fmla="*/ 5 w 72"/>
                  <a:gd name="T25" fmla="*/ 85 h 85"/>
                  <a:gd name="T26" fmla="*/ 3 w 72"/>
                  <a:gd name="T27" fmla="*/ 82 h 85"/>
                  <a:gd name="T28" fmla="*/ 2 w 72"/>
                  <a:gd name="T29" fmla="*/ 79 h 85"/>
                  <a:gd name="T30" fmla="*/ 3 w 72"/>
                  <a:gd name="T31" fmla="*/ 76 h 85"/>
                  <a:gd name="T32" fmla="*/ 5 w 72"/>
                  <a:gd name="T33" fmla="*/ 73 h 85"/>
                  <a:gd name="T34" fmla="*/ 9 w 72"/>
                  <a:gd name="T35" fmla="*/ 73 h 85"/>
                  <a:gd name="T36" fmla="*/ 57 w 72"/>
                  <a:gd name="T37" fmla="*/ 73 h 85"/>
                  <a:gd name="T38" fmla="*/ 59 w 72"/>
                  <a:gd name="T39" fmla="*/ 40 h 85"/>
                  <a:gd name="T40" fmla="*/ 59 w 72"/>
                  <a:gd name="T41" fmla="*/ 36 h 85"/>
                  <a:gd name="T42" fmla="*/ 57 w 72"/>
                  <a:gd name="T43" fmla="*/ 31 h 85"/>
                  <a:gd name="T44" fmla="*/ 54 w 72"/>
                  <a:gd name="T45" fmla="*/ 27 h 85"/>
                  <a:gd name="T46" fmla="*/ 50 w 72"/>
                  <a:gd name="T47" fmla="*/ 22 h 85"/>
                  <a:gd name="T48" fmla="*/ 45 w 72"/>
                  <a:gd name="T49" fmla="*/ 19 h 85"/>
                  <a:gd name="T50" fmla="*/ 26 w 72"/>
                  <a:gd name="T51" fmla="*/ 15 h 85"/>
                  <a:gd name="T52" fmla="*/ 6 w 72"/>
                  <a:gd name="T53" fmla="*/ 13 h 85"/>
                  <a:gd name="T54" fmla="*/ 3 w 72"/>
                  <a:gd name="T55" fmla="*/ 12 h 85"/>
                  <a:gd name="T56" fmla="*/ 0 w 72"/>
                  <a:gd name="T57" fmla="*/ 9 h 85"/>
                  <a:gd name="T58" fmla="*/ 0 w 72"/>
                  <a:gd name="T59" fmla="*/ 6 h 85"/>
                  <a:gd name="T60" fmla="*/ 0 w 72"/>
                  <a:gd name="T61" fmla="*/ 3 h 85"/>
                  <a:gd name="T62" fmla="*/ 3 w 72"/>
                  <a:gd name="T63" fmla="*/ 1 h 85"/>
                  <a:gd name="T64" fmla="*/ 6 w 72"/>
                  <a:gd name="T6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85">
                    <a:moveTo>
                      <a:pt x="6" y="0"/>
                    </a:moveTo>
                    <a:lnTo>
                      <a:pt x="6" y="0"/>
                    </a:lnTo>
                    <a:lnTo>
                      <a:pt x="29" y="1"/>
                    </a:lnTo>
                    <a:lnTo>
                      <a:pt x="50" y="7"/>
                    </a:lnTo>
                    <a:lnTo>
                      <a:pt x="62" y="16"/>
                    </a:lnTo>
                    <a:lnTo>
                      <a:pt x="69" y="28"/>
                    </a:lnTo>
                    <a:lnTo>
                      <a:pt x="72" y="42"/>
                    </a:lnTo>
                    <a:lnTo>
                      <a:pt x="69" y="79"/>
                    </a:lnTo>
                    <a:lnTo>
                      <a:pt x="69" y="82"/>
                    </a:lnTo>
                    <a:lnTo>
                      <a:pt x="66" y="85"/>
                    </a:lnTo>
                    <a:lnTo>
                      <a:pt x="63" y="85"/>
                    </a:lnTo>
                    <a:lnTo>
                      <a:pt x="9" y="85"/>
                    </a:lnTo>
                    <a:lnTo>
                      <a:pt x="5" y="85"/>
                    </a:lnTo>
                    <a:lnTo>
                      <a:pt x="3" y="82"/>
                    </a:lnTo>
                    <a:lnTo>
                      <a:pt x="2" y="79"/>
                    </a:lnTo>
                    <a:lnTo>
                      <a:pt x="3" y="76"/>
                    </a:lnTo>
                    <a:lnTo>
                      <a:pt x="5" y="73"/>
                    </a:lnTo>
                    <a:lnTo>
                      <a:pt x="9" y="73"/>
                    </a:lnTo>
                    <a:lnTo>
                      <a:pt x="57" y="73"/>
                    </a:lnTo>
                    <a:lnTo>
                      <a:pt x="59" y="40"/>
                    </a:lnTo>
                    <a:lnTo>
                      <a:pt x="59" y="36"/>
                    </a:lnTo>
                    <a:lnTo>
                      <a:pt x="57" y="31"/>
                    </a:lnTo>
                    <a:lnTo>
                      <a:pt x="54" y="27"/>
                    </a:lnTo>
                    <a:lnTo>
                      <a:pt x="50" y="22"/>
                    </a:lnTo>
                    <a:lnTo>
                      <a:pt x="45" y="19"/>
                    </a:lnTo>
                    <a:lnTo>
                      <a:pt x="26" y="15"/>
                    </a:lnTo>
                    <a:lnTo>
                      <a:pt x="6" y="13"/>
                    </a:lnTo>
                    <a:lnTo>
                      <a:pt x="3" y="12"/>
                    </a:lnTo>
                    <a:lnTo>
                      <a:pt x="0" y="9"/>
                    </a:lnTo>
                    <a:lnTo>
                      <a:pt x="0" y="6"/>
                    </a:lnTo>
                    <a:lnTo>
                      <a:pt x="0" y="3"/>
                    </a:lnTo>
                    <a:lnTo>
                      <a:pt x="3" y="1"/>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3" name="Freeform 6179"/>
              <p:cNvSpPr>
                <a:spLocks noEditPoints="1"/>
              </p:cNvSpPr>
              <p:nvPr/>
            </p:nvSpPr>
            <p:spPr bwMode="auto">
              <a:xfrm>
                <a:off x="3298238" y="1553699"/>
                <a:ext cx="102249" cy="115586"/>
              </a:xfrm>
              <a:custGeom>
                <a:avLst/>
                <a:gdLst>
                  <a:gd name="T0" fmla="*/ 34 w 69"/>
                  <a:gd name="T1" fmla="*/ 13 h 78"/>
                  <a:gd name="T2" fmla="*/ 24 w 69"/>
                  <a:gd name="T3" fmla="*/ 16 h 78"/>
                  <a:gd name="T4" fmla="*/ 16 w 69"/>
                  <a:gd name="T5" fmla="*/ 25 h 78"/>
                  <a:gd name="T6" fmla="*/ 13 w 69"/>
                  <a:gd name="T7" fmla="*/ 39 h 78"/>
                  <a:gd name="T8" fmla="*/ 16 w 69"/>
                  <a:gd name="T9" fmla="*/ 52 h 78"/>
                  <a:gd name="T10" fmla="*/ 24 w 69"/>
                  <a:gd name="T11" fmla="*/ 61 h 78"/>
                  <a:gd name="T12" fmla="*/ 34 w 69"/>
                  <a:gd name="T13" fmla="*/ 64 h 78"/>
                  <a:gd name="T14" fmla="*/ 45 w 69"/>
                  <a:gd name="T15" fmla="*/ 61 h 78"/>
                  <a:gd name="T16" fmla="*/ 52 w 69"/>
                  <a:gd name="T17" fmla="*/ 52 h 78"/>
                  <a:gd name="T18" fmla="*/ 55 w 69"/>
                  <a:gd name="T19" fmla="*/ 39 h 78"/>
                  <a:gd name="T20" fmla="*/ 52 w 69"/>
                  <a:gd name="T21" fmla="*/ 25 h 78"/>
                  <a:gd name="T22" fmla="*/ 45 w 69"/>
                  <a:gd name="T23" fmla="*/ 16 h 78"/>
                  <a:gd name="T24" fmla="*/ 34 w 69"/>
                  <a:gd name="T25" fmla="*/ 13 h 78"/>
                  <a:gd name="T26" fmla="*/ 34 w 69"/>
                  <a:gd name="T27" fmla="*/ 0 h 78"/>
                  <a:gd name="T28" fmla="*/ 48 w 69"/>
                  <a:gd name="T29" fmla="*/ 3 h 78"/>
                  <a:gd name="T30" fmla="*/ 58 w 69"/>
                  <a:gd name="T31" fmla="*/ 12 h 78"/>
                  <a:gd name="T32" fmla="*/ 66 w 69"/>
                  <a:gd name="T33" fmla="*/ 24 h 78"/>
                  <a:gd name="T34" fmla="*/ 69 w 69"/>
                  <a:gd name="T35" fmla="*/ 39 h 78"/>
                  <a:gd name="T36" fmla="*/ 66 w 69"/>
                  <a:gd name="T37" fmla="*/ 54 h 78"/>
                  <a:gd name="T38" fmla="*/ 58 w 69"/>
                  <a:gd name="T39" fmla="*/ 66 h 78"/>
                  <a:gd name="T40" fmla="*/ 48 w 69"/>
                  <a:gd name="T41" fmla="*/ 75 h 78"/>
                  <a:gd name="T42" fmla="*/ 34 w 69"/>
                  <a:gd name="T43" fmla="*/ 78 h 78"/>
                  <a:gd name="T44" fmla="*/ 21 w 69"/>
                  <a:gd name="T45" fmla="*/ 75 h 78"/>
                  <a:gd name="T46" fmla="*/ 10 w 69"/>
                  <a:gd name="T47" fmla="*/ 66 h 78"/>
                  <a:gd name="T48" fmla="*/ 3 w 69"/>
                  <a:gd name="T49" fmla="*/ 54 h 78"/>
                  <a:gd name="T50" fmla="*/ 0 w 69"/>
                  <a:gd name="T51" fmla="*/ 39 h 78"/>
                  <a:gd name="T52" fmla="*/ 3 w 69"/>
                  <a:gd name="T53" fmla="*/ 24 h 78"/>
                  <a:gd name="T54" fmla="*/ 10 w 69"/>
                  <a:gd name="T55" fmla="*/ 12 h 78"/>
                  <a:gd name="T56" fmla="*/ 21 w 69"/>
                  <a:gd name="T57" fmla="*/ 3 h 78"/>
                  <a:gd name="T58" fmla="*/ 34 w 69"/>
                  <a:gd name="T5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78">
                    <a:moveTo>
                      <a:pt x="34" y="13"/>
                    </a:moveTo>
                    <a:lnTo>
                      <a:pt x="24" y="16"/>
                    </a:lnTo>
                    <a:lnTo>
                      <a:pt x="16" y="25"/>
                    </a:lnTo>
                    <a:lnTo>
                      <a:pt x="13" y="39"/>
                    </a:lnTo>
                    <a:lnTo>
                      <a:pt x="16" y="52"/>
                    </a:lnTo>
                    <a:lnTo>
                      <a:pt x="24" y="61"/>
                    </a:lnTo>
                    <a:lnTo>
                      <a:pt x="34" y="64"/>
                    </a:lnTo>
                    <a:lnTo>
                      <a:pt x="45" y="61"/>
                    </a:lnTo>
                    <a:lnTo>
                      <a:pt x="52" y="52"/>
                    </a:lnTo>
                    <a:lnTo>
                      <a:pt x="55" y="39"/>
                    </a:lnTo>
                    <a:lnTo>
                      <a:pt x="52" y="25"/>
                    </a:lnTo>
                    <a:lnTo>
                      <a:pt x="45" y="16"/>
                    </a:lnTo>
                    <a:lnTo>
                      <a:pt x="34" y="13"/>
                    </a:lnTo>
                    <a:close/>
                    <a:moveTo>
                      <a:pt x="34" y="0"/>
                    </a:moveTo>
                    <a:lnTo>
                      <a:pt x="48" y="3"/>
                    </a:lnTo>
                    <a:lnTo>
                      <a:pt x="58" y="12"/>
                    </a:lnTo>
                    <a:lnTo>
                      <a:pt x="66" y="24"/>
                    </a:lnTo>
                    <a:lnTo>
                      <a:pt x="69" y="39"/>
                    </a:lnTo>
                    <a:lnTo>
                      <a:pt x="66" y="54"/>
                    </a:lnTo>
                    <a:lnTo>
                      <a:pt x="58" y="66"/>
                    </a:lnTo>
                    <a:lnTo>
                      <a:pt x="48" y="75"/>
                    </a:lnTo>
                    <a:lnTo>
                      <a:pt x="34" y="78"/>
                    </a:lnTo>
                    <a:lnTo>
                      <a:pt x="21" y="75"/>
                    </a:lnTo>
                    <a:lnTo>
                      <a:pt x="10" y="66"/>
                    </a:lnTo>
                    <a:lnTo>
                      <a:pt x="3" y="54"/>
                    </a:lnTo>
                    <a:lnTo>
                      <a:pt x="0" y="39"/>
                    </a:lnTo>
                    <a:lnTo>
                      <a:pt x="3" y="24"/>
                    </a:lnTo>
                    <a:lnTo>
                      <a:pt x="10" y="12"/>
                    </a:lnTo>
                    <a:lnTo>
                      <a:pt x="21" y="3"/>
                    </a:lnTo>
                    <a:lnTo>
                      <a:pt x="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4" name="Freeform 6180"/>
              <p:cNvSpPr>
                <a:spLocks/>
              </p:cNvSpPr>
              <p:nvPr/>
            </p:nvSpPr>
            <p:spPr bwMode="auto">
              <a:xfrm>
                <a:off x="2947036" y="1690030"/>
                <a:ext cx="108177" cy="125959"/>
              </a:xfrm>
              <a:custGeom>
                <a:avLst/>
                <a:gdLst>
                  <a:gd name="T0" fmla="*/ 66 w 73"/>
                  <a:gd name="T1" fmla="*/ 0 h 85"/>
                  <a:gd name="T2" fmla="*/ 70 w 73"/>
                  <a:gd name="T3" fmla="*/ 1 h 85"/>
                  <a:gd name="T4" fmla="*/ 72 w 73"/>
                  <a:gd name="T5" fmla="*/ 3 h 85"/>
                  <a:gd name="T6" fmla="*/ 73 w 73"/>
                  <a:gd name="T7" fmla="*/ 6 h 85"/>
                  <a:gd name="T8" fmla="*/ 72 w 73"/>
                  <a:gd name="T9" fmla="*/ 9 h 85"/>
                  <a:gd name="T10" fmla="*/ 70 w 73"/>
                  <a:gd name="T11" fmla="*/ 12 h 85"/>
                  <a:gd name="T12" fmla="*/ 66 w 73"/>
                  <a:gd name="T13" fmla="*/ 13 h 85"/>
                  <a:gd name="T14" fmla="*/ 46 w 73"/>
                  <a:gd name="T15" fmla="*/ 15 h 85"/>
                  <a:gd name="T16" fmla="*/ 28 w 73"/>
                  <a:gd name="T17" fmla="*/ 19 h 85"/>
                  <a:gd name="T18" fmla="*/ 22 w 73"/>
                  <a:gd name="T19" fmla="*/ 22 h 85"/>
                  <a:gd name="T20" fmla="*/ 19 w 73"/>
                  <a:gd name="T21" fmla="*/ 27 h 85"/>
                  <a:gd name="T22" fmla="*/ 16 w 73"/>
                  <a:gd name="T23" fmla="*/ 31 h 85"/>
                  <a:gd name="T24" fmla="*/ 13 w 73"/>
                  <a:gd name="T25" fmla="*/ 36 h 85"/>
                  <a:gd name="T26" fmla="*/ 13 w 73"/>
                  <a:gd name="T27" fmla="*/ 40 h 85"/>
                  <a:gd name="T28" fmla="*/ 15 w 73"/>
                  <a:gd name="T29" fmla="*/ 73 h 85"/>
                  <a:gd name="T30" fmla="*/ 64 w 73"/>
                  <a:gd name="T31" fmla="*/ 73 h 85"/>
                  <a:gd name="T32" fmla="*/ 67 w 73"/>
                  <a:gd name="T33" fmla="*/ 73 h 85"/>
                  <a:gd name="T34" fmla="*/ 70 w 73"/>
                  <a:gd name="T35" fmla="*/ 76 h 85"/>
                  <a:gd name="T36" fmla="*/ 70 w 73"/>
                  <a:gd name="T37" fmla="*/ 79 h 85"/>
                  <a:gd name="T38" fmla="*/ 70 w 73"/>
                  <a:gd name="T39" fmla="*/ 82 h 85"/>
                  <a:gd name="T40" fmla="*/ 67 w 73"/>
                  <a:gd name="T41" fmla="*/ 85 h 85"/>
                  <a:gd name="T42" fmla="*/ 64 w 73"/>
                  <a:gd name="T43" fmla="*/ 85 h 85"/>
                  <a:gd name="T44" fmla="*/ 9 w 73"/>
                  <a:gd name="T45" fmla="*/ 85 h 85"/>
                  <a:gd name="T46" fmla="*/ 6 w 73"/>
                  <a:gd name="T47" fmla="*/ 85 h 85"/>
                  <a:gd name="T48" fmla="*/ 4 w 73"/>
                  <a:gd name="T49" fmla="*/ 82 h 85"/>
                  <a:gd name="T50" fmla="*/ 3 w 73"/>
                  <a:gd name="T51" fmla="*/ 79 h 85"/>
                  <a:gd name="T52" fmla="*/ 0 w 73"/>
                  <a:gd name="T53" fmla="*/ 42 h 85"/>
                  <a:gd name="T54" fmla="*/ 3 w 73"/>
                  <a:gd name="T55" fmla="*/ 28 h 85"/>
                  <a:gd name="T56" fmla="*/ 12 w 73"/>
                  <a:gd name="T57" fmla="*/ 16 h 85"/>
                  <a:gd name="T58" fmla="*/ 24 w 73"/>
                  <a:gd name="T59" fmla="*/ 7 h 85"/>
                  <a:gd name="T60" fmla="*/ 45 w 73"/>
                  <a:gd name="T61" fmla="*/ 1 h 85"/>
                  <a:gd name="T62" fmla="*/ 66 w 73"/>
                  <a:gd name="T6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 h="85">
                    <a:moveTo>
                      <a:pt x="66" y="0"/>
                    </a:moveTo>
                    <a:lnTo>
                      <a:pt x="70" y="1"/>
                    </a:lnTo>
                    <a:lnTo>
                      <a:pt x="72" y="3"/>
                    </a:lnTo>
                    <a:lnTo>
                      <a:pt x="73" y="6"/>
                    </a:lnTo>
                    <a:lnTo>
                      <a:pt x="72" y="9"/>
                    </a:lnTo>
                    <a:lnTo>
                      <a:pt x="70" y="12"/>
                    </a:lnTo>
                    <a:lnTo>
                      <a:pt x="66" y="13"/>
                    </a:lnTo>
                    <a:lnTo>
                      <a:pt x="46" y="15"/>
                    </a:lnTo>
                    <a:lnTo>
                      <a:pt x="28" y="19"/>
                    </a:lnTo>
                    <a:lnTo>
                      <a:pt x="22" y="22"/>
                    </a:lnTo>
                    <a:lnTo>
                      <a:pt x="19" y="27"/>
                    </a:lnTo>
                    <a:lnTo>
                      <a:pt x="16" y="31"/>
                    </a:lnTo>
                    <a:lnTo>
                      <a:pt x="13" y="36"/>
                    </a:lnTo>
                    <a:lnTo>
                      <a:pt x="13" y="40"/>
                    </a:lnTo>
                    <a:lnTo>
                      <a:pt x="15" y="73"/>
                    </a:lnTo>
                    <a:lnTo>
                      <a:pt x="64" y="73"/>
                    </a:lnTo>
                    <a:lnTo>
                      <a:pt x="67" y="73"/>
                    </a:lnTo>
                    <a:lnTo>
                      <a:pt x="70" y="76"/>
                    </a:lnTo>
                    <a:lnTo>
                      <a:pt x="70" y="79"/>
                    </a:lnTo>
                    <a:lnTo>
                      <a:pt x="70" y="82"/>
                    </a:lnTo>
                    <a:lnTo>
                      <a:pt x="67" y="85"/>
                    </a:lnTo>
                    <a:lnTo>
                      <a:pt x="64" y="85"/>
                    </a:lnTo>
                    <a:lnTo>
                      <a:pt x="9" y="85"/>
                    </a:lnTo>
                    <a:lnTo>
                      <a:pt x="6" y="85"/>
                    </a:lnTo>
                    <a:lnTo>
                      <a:pt x="4" y="82"/>
                    </a:lnTo>
                    <a:lnTo>
                      <a:pt x="3" y="79"/>
                    </a:lnTo>
                    <a:lnTo>
                      <a:pt x="0" y="42"/>
                    </a:lnTo>
                    <a:lnTo>
                      <a:pt x="3" y="28"/>
                    </a:lnTo>
                    <a:lnTo>
                      <a:pt x="12" y="16"/>
                    </a:lnTo>
                    <a:lnTo>
                      <a:pt x="24" y="7"/>
                    </a:lnTo>
                    <a:lnTo>
                      <a:pt x="45" y="1"/>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75" name="Freeform 6181"/>
              <p:cNvSpPr>
                <a:spLocks noEditPoints="1"/>
              </p:cNvSpPr>
              <p:nvPr/>
            </p:nvSpPr>
            <p:spPr bwMode="auto">
              <a:xfrm>
                <a:off x="2973710" y="1553699"/>
                <a:ext cx="99285" cy="115586"/>
              </a:xfrm>
              <a:custGeom>
                <a:avLst/>
                <a:gdLst>
                  <a:gd name="T0" fmla="*/ 34 w 67"/>
                  <a:gd name="T1" fmla="*/ 13 h 78"/>
                  <a:gd name="T2" fmla="*/ 22 w 67"/>
                  <a:gd name="T3" fmla="*/ 16 h 78"/>
                  <a:gd name="T4" fmla="*/ 15 w 67"/>
                  <a:gd name="T5" fmla="*/ 25 h 78"/>
                  <a:gd name="T6" fmla="*/ 12 w 67"/>
                  <a:gd name="T7" fmla="*/ 39 h 78"/>
                  <a:gd name="T8" fmla="*/ 15 w 67"/>
                  <a:gd name="T9" fmla="*/ 52 h 78"/>
                  <a:gd name="T10" fmla="*/ 22 w 67"/>
                  <a:gd name="T11" fmla="*/ 61 h 78"/>
                  <a:gd name="T12" fmla="*/ 34 w 67"/>
                  <a:gd name="T13" fmla="*/ 64 h 78"/>
                  <a:gd name="T14" fmla="*/ 45 w 67"/>
                  <a:gd name="T15" fmla="*/ 61 h 78"/>
                  <a:gd name="T16" fmla="*/ 52 w 67"/>
                  <a:gd name="T17" fmla="*/ 52 h 78"/>
                  <a:gd name="T18" fmla="*/ 55 w 67"/>
                  <a:gd name="T19" fmla="*/ 39 h 78"/>
                  <a:gd name="T20" fmla="*/ 52 w 67"/>
                  <a:gd name="T21" fmla="*/ 25 h 78"/>
                  <a:gd name="T22" fmla="*/ 45 w 67"/>
                  <a:gd name="T23" fmla="*/ 16 h 78"/>
                  <a:gd name="T24" fmla="*/ 34 w 67"/>
                  <a:gd name="T25" fmla="*/ 13 h 78"/>
                  <a:gd name="T26" fmla="*/ 34 w 67"/>
                  <a:gd name="T27" fmla="*/ 0 h 78"/>
                  <a:gd name="T28" fmla="*/ 46 w 67"/>
                  <a:gd name="T29" fmla="*/ 3 h 78"/>
                  <a:gd name="T30" fmla="*/ 58 w 67"/>
                  <a:gd name="T31" fmla="*/ 12 h 78"/>
                  <a:gd name="T32" fmla="*/ 66 w 67"/>
                  <a:gd name="T33" fmla="*/ 24 h 78"/>
                  <a:gd name="T34" fmla="*/ 67 w 67"/>
                  <a:gd name="T35" fmla="*/ 39 h 78"/>
                  <a:gd name="T36" fmla="*/ 66 w 67"/>
                  <a:gd name="T37" fmla="*/ 54 h 78"/>
                  <a:gd name="T38" fmla="*/ 58 w 67"/>
                  <a:gd name="T39" fmla="*/ 66 h 78"/>
                  <a:gd name="T40" fmla="*/ 46 w 67"/>
                  <a:gd name="T41" fmla="*/ 75 h 78"/>
                  <a:gd name="T42" fmla="*/ 34 w 67"/>
                  <a:gd name="T43" fmla="*/ 78 h 78"/>
                  <a:gd name="T44" fmla="*/ 21 w 67"/>
                  <a:gd name="T45" fmla="*/ 75 h 78"/>
                  <a:gd name="T46" fmla="*/ 9 w 67"/>
                  <a:gd name="T47" fmla="*/ 66 h 78"/>
                  <a:gd name="T48" fmla="*/ 3 w 67"/>
                  <a:gd name="T49" fmla="*/ 54 h 78"/>
                  <a:gd name="T50" fmla="*/ 0 w 67"/>
                  <a:gd name="T51" fmla="*/ 39 h 78"/>
                  <a:gd name="T52" fmla="*/ 3 w 67"/>
                  <a:gd name="T53" fmla="*/ 24 h 78"/>
                  <a:gd name="T54" fmla="*/ 9 w 67"/>
                  <a:gd name="T55" fmla="*/ 12 h 78"/>
                  <a:gd name="T56" fmla="*/ 21 w 67"/>
                  <a:gd name="T57" fmla="*/ 3 h 78"/>
                  <a:gd name="T58" fmla="*/ 34 w 67"/>
                  <a:gd name="T5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78">
                    <a:moveTo>
                      <a:pt x="34" y="13"/>
                    </a:moveTo>
                    <a:lnTo>
                      <a:pt x="22" y="16"/>
                    </a:lnTo>
                    <a:lnTo>
                      <a:pt x="15" y="25"/>
                    </a:lnTo>
                    <a:lnTo>
                      <a:pt x="12" y="39"/>
                    </a:lnTo>
                    <a:lnTo>
                      <a:pt x="15" y="52"/>
                    </a:lnTo>
                    <a:lnTo>
                      <a:pt x="22" y="61"/>
                    </a:lnTo>
                    <a:lnTo>
                      <a:pt x="34" y="64"/>
                    </a:lnTo>
                    <a:lnTo>
                      <a:pt x="45" y="61"/>
                    </a:lnTo>
                    <a:lnTo>
                      <a:pt x="52" y="52"/>
                    </a:lnTo>
                    <a:lnTo>
                      <a:pt x="55" y="39"/>
                    </a:lnTo>
                    <a:lnTo>
                      <a:pt x="52" y="25"/>
                    </a:lnTo>
                    <a:lnTo>
                      <a:pt x="45" y="16"/>
                    </a:lnTo>
                    <a:lnTo>
                      <a:pt x="34" y="13"/>
                    </a:lnTo>
                    <a:close/>
                    <a:moveTo>
                      <a:pt x="34" y="0"/>
                    </a:moveTo>
                    <a:lnTo>
                      <a:pt x="46" y="3"/>
                    </a:lnTo>
                    <a:lnTo>
                      <a:pt x="58" y="12"/>
                    </a:lnTo>
                    <a:lnTo>
                      <a:pt x="66" y="24"/>
                    </a:lnTo>
                    <a:lnTo>
                      <a:pt x="67" y="39"/>
                    </a:lnTo>
                    <a:lnTo>
                      <a:pt x="66" y="54"/>
                    </a:lnTo>
                    <a:lnTo>
                      <a:pt x="58" y="66"/>
                    </a:lnTo>
                    <a:lnTo>
                      <a:pt x="46" y="75"/>
                    </a:lnTo>
                    <a:lnTo>
                      <a:pt x="34" y="78"/>
                    </a:lnTo>
                    <a:lnTo>
                      <a:pt x="21" y="75"/>
                    </a:lnTo>
                    <a:lnTo>
                      <a:pt x="9" y="66"/>
                    </a:lnTo>
                    <a:lnTo>
                      <a:pt x="3" y="54"/>
                    </a:lnTo>
                    <a:lnTo>
                      <a:pt x="0" y="39"/>
                    </a:lnTo>
                    <a:lnTo>
                      <a:pt x="3" y="24"/>
                    </a:lnTo>
                    <a:lnTo>
                      <a:pt x="9" y="12"/>
                    </a:lnTo>
                    <a:lnTo>
                      <a:pt x="21" y="3"/>
                    </a:lnTo>
                    <a:lnTo>
                      <a:pt x="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grpSp>
      </p:grpSp>
      <p:grpSp>
        <p:nvGrpSpPr>
          <p:cNvPr id="76" name="Grupo 45"/>
          <p:cNvGrpSpPr/>
          <p:nvPr/>
        </p:nvGrpSpPr>
        <p:grpSpPr>
          <a:xfrm>
            <a:off x="4667987" y="3172900"/>
            <a:ext cx="727471" cy="705146"/>
            <a:chOff x="7574646" y="3930649"/>
            <a:chExt cx="895349" cy="895349"/>
          </a:xfrm>
        </p:grpSpPr>
        <p:sp>
          <p:nvSpPr>
            <p:cNvPr id="77" name="Elipse 76"/>
            <p:cNvSpPr/>
            <p:nvPr/>
          </p:nvSpPr>
          <p:spPr>
            <a:xfrm>
              <a:off x="7574646" y="3930649"/>
              <a:ext cx="895349" cy="895349"/>
            </a:xfrm>
            <a:prstGeom prst="ellipse">
              <a:avLst/>
            </a:prstGeom>
            <a:solidFill>
              <a:srgbClr val="EE77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24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78" name="Grupo 27"/>
            <p:cNvGrpSpPr/>
            <p:nvPr/>
          </p:nvGrpSpPr>
          <p:grpSpPr>
            <a:xfrm>
              <a:off x="7768170" y="4092870"/>
              <a:ext cx="493713" cy="542925"/>
              <a:chOff x="6931025" y="893763"/>
              <a:chExt cx="493713" cy="542925"/>
            </a:xfrm>
            <a:solidFill>
              <a:schemeClr val="bg1"/>
            </a:solidFill>
          </p:grpSpPr>
          <p:sp>
            <p:nvSpPr>
              <p:cNvPr id="79" name="Freeform 36"/>
              <p:cNvSpPr>
                <a:spLocks noEditPoints="1"/>
              </p:cNvSpPr>
              <p:nvPr/>
            </p:nvSpPr>
            <p:spPr bwMode="auto">
              <a:xfrm>
                <a:off x="7029450" y="996950"/>
                <a:ext cx="295275" cy="439738"/>
              </a:xfrm>
              <a:custGeom>
                <a:avLst/>
                <a:gdLst>
                  <a:gd name="T0" fmla="*/ 75 w 186"/>
                  <a:gd name="T1" fmla="*/ 211 h 277"/>
                  <a:gd name="T2" fmla="*/ 74 w 186"/>
                  <a:gd name="T3" fmla="*/ 223 h 277"/>
                  <a:gd name="T4" fmla="*/ 71 w 186"/>
                  <a:gd name="T5" fmla="*/ 235 h 277"/>
                  <a:gd name="T6" fmla="*/ 74 w 186"/>
                  <a:gd name="T7" fmla="*/ 248 h 277"/>
                  <a:gd name="T8" fmla="*/ 80 w 186"/>
                  <a:gd name="T9" fmla="*/ 252 h 277"/>
                  <a:gd name="T10" fmla="*/ 87 w 186"/>
                  <a:gd name="T11" fmla="*/ 257 h 277"/>
                  <a:gd name="T12" fmla="*/ 93 w 186"/>
                  <a:gd name="T13" fmla="*/ 260 h 277"/>
                  <a:gd name="T14" fmla="*/ 99 w 186"/>
                  <a:gd name="T15" fmla="*/ 257 h 277"/>
                  <a:gd name="T16" fmla="*/ 105 w 186"/>
                  <a:gd name="T17" fmla="*/ 252 h 277"/>
                  <a:gd name="T18" fmla="*/ 115 w 186"/>
                  <a:gd name="T19" fmla="*/ 249 h 277"/>
                  <a:gd name="T20" fmla="*/ 116 w 186"/>
                  <a:gd name="T21" fmla="*/ 239 h 277"/>
                  <a:gd name="T22" fmla="*/ 117 w 186"/>
                  <a:gd name="T23" fmla="*/ 227 h 277"/>
                  <a:gd name="T24" fmla="*/ 116 w 186"/>
                  <a:gd name="T25" fmla="*/ 215 h 277"/>
                  <a:gd name="T26" fmla="*/ 116 w 186"/>
                  <a:gd name="T27" fmla="*/ 205 h 277"/>
                  <a:gd name="T28" fmla="*/ 73 w 186"/>
                  <a:gd name="T29" fmla="*/ 21 h 277"/>
                  <a:gd name="T30" fmla="*/ 28 w 186"/>
                  <a:gd name="T31" fmla="*/ 56 h 277"/>
                  <a:gd name="T32" fmla="*/ 21 w 186"/>
                  <a:gd name="T33" fmla="*/ 112 h 277"/>
                  <a:gd name="T34" fmla="*/ 49 w 186"/>
                  <a:gd name="T35" fmla="*/ 153 h 277"/>
                  <a:gd name="T36" fmla="*/ 70 w 186"/>
                  <a:gd name="T37" fmla="*/ 187 h 277"/>
                  <a:gd name="T38" fmla="*/ 128 w 186"/>
                  <a:gd name="T39" fmla="*/ 164 h 277"/>
                  <a:gd name="T40" fmla="*/ 158 w 186"/>
                  <a:gd name="T41" fmla="*/ 128 h 277"/>
                  <a:gd name="T42" fmla="*/ 166 w 186"/>
                  <a:gd name="T43" fmla="*/ 74 h 277"/>
                  <a:gd name="T44" fmla="*/ 131 w 186"/>
                  <a:gd name="T45" fmla="*/ 28 h 277"/>
                  <a:gd name="T46" fmla="*/ 93 w 186"/>
                  <a:gd name="T47" fmla="*/ 0 h 277"/>
                  <a:gd name="T48" fmla="*/ 158 w 186"/>
                  <a:gd name="T49" fmla="*/ 28 h 277"/>
                  <a:gd name="T50" fmla="*/ 186 w 186"/>
                  <a:gd name="T51" fmla="*/ 93 h 277"/>
                  <a:gd name="T52" fmla="*/ 170 w 186"/>
                  <a:gd name="T53" fmla="*/ 143 h 277"/>
                  <a:gd name="T54" fmla="*/ 141 w 186"/>
                  <a:gd name="T55" fmla="*/ 176 h 277"/>
                  <a:gd name="T56" fmla="*/ 133 w 186"/>
                  <a:gd name="T57" fmla="*/ 201 h 277"/>
                  <a:gd name="T58" fmla="*/ 135 w 186"/>
                  <a:gd name="T59" fmla="*/ 215 h 277"/>
                  <a:gd name="T60" fmla="*/ 137 w 186"/>
                  <a:gd name="T61" fmla="*/ 227 h 277"/>
                  <a:gd name="T62" fmla="*/ 135 w 186"/>
                  <a:gd name="T63" fmla="*/ 240 h 277"/>
                  <a:gd name="T64" fmla="*/ 133 w 186"/>
                  <a:gd name="T65" fmla="*/ 255 h 277"/>
                  <a:gd name="T66" fmla="*/ 128 w 186"/>
                  <a:gd name="T67" fmla="*/ 262 h 277"/>
                  <a:gd name="T68" fmla="*/ 114 w 186"/>
                  <a:gd name="T69" fmla="*/ 268 h 277"/>
                  <a:gd name="T70" fmla="*/ 80 w 186"/>
                  <a:gd name="T71" fmla="*/ 274 h 277"/>
                  <a:gd name="T72" fmla="*/ 62 w 186"/>
                  <a:gd name="T73" fmla="*/ 264 h 277"/>
                  <a:gd name="T74" fmla="*/ 55 w 186"/>
                  <a:gd name="T75" fmla="*/ 257 h 277"/>
                  <a:gd name="T76" fmla="*/ 55 w 186"/>
                  <a:gd name="T77" fmla="*/ 249 h 277"/>
                  <a:gd name="T78" fmla="*/ 53 w 186"/>
                  <a:gd name="T79" fmla="*/ 235 h 277"/>
                  <a:gd name="T80" fmla="*/ 55 w 186"/>
                  <a:gd name="T81" fmla="*/ 222 h 277"/>
                  <a:gd name="T82" fmla="*/ 56 w 186"/>
                  <a:gd name="T83" fmla="*/ 211 h 277"/>
                  <a:gd name="T84" fmla="*/ 53 w 186"/>
                  <a:gd name="T85" fmla="*/ 194 h 277"/>
                  <a:gd name="T86" fmla="*/ 35 w 186"/>
                  <a:gd name="T87" fmla="*/ 166 h 277"/>
                  <a:gd name="T88" fmla="*/ 8 w 186"/>
                  <a:gd name="T89" fmla="*/ 129 h 277"/>
                  <a:gd name="T90" fmla="*/ 3 w 186"/>
                  <a:gd name="T91" fmla="*/ 69 h 277"/>
                  <a:gd name="T92" fmla="*/ 46 w 186"/>
                  <a:gd name="T93" fmla="*/ 1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6" h="277">
                    <a:moveTo>
                      <a:pt x="73" y="205"/>
                    </a:moveTo>
                    <a:lnTo>
                      <a:pt x="74" y="208"/>
                    </a:lnTo>
                    <a:lnTo>
                      <a:pt x="75" y="211"/>
                    </a:lnTo>
                    <a:lnTo>
                      <a:pt x="74" y="215"/>
                    </a:lnTo>
                    <a:lnTo>
                      <a:pt x="71" y="219"/>
                    </a:lnTo>
                    <a:lnTo>
                      <a:pt x="74" y="223"/>
                    </a:lnTo>
                    <a:lnTo>
                      <a:pt x="75" y="227"/>
                    </a:lnTo>
                    <a:lnTo>
                      <a:pt x="74" y="231"/>
                    </a:lnTo>
                    <a:lnTo>
                      <a:pt x="71" y="235"/>
                    </a:lnTo>
                    <a:lnTo>
                      <a:pt x="74" y="240"/>
                    </a:lnTo>
                    <a:lnTo>
                      <a:pt x="75" y="244"/>
                    </a:lnTo>
                    <a:lnTo>
                      <a:pt x="74" y="248"/>
                    </a:lnTo>
                    <a:lnTo>
                      <a:pt x="73" y="250"/>
                    </a:lnTo>
                    <a:lnTo>
                      <a:pt x="76" y="251"/>
                    </a:lnTo>
                    <a:lnTo>
                      <a:pt x="80" y="252"/>
                    </a:lnTo>
                    <a:lnTo>
                      <a:pt x="84" y="254"/>
                    </a:lnTo>
                    <a:lnTo>
                      <a:pt x="85" y="255"/>
                    </a:lnTo>
                    <a:lnTo>
                      <a:pt x="87" y="257"/>
                    </a:lnTo>
                    <a:lnTo>
                      <a:pt x="87" y="258"/>
                    </a:lnTo>
                    <a:lnTo>
                      <a:pt x="90" y="258"/>
                    </a:lnTo>
                    <a:lnTo>
                      <a:pt x="93" y="260"/>
                    </a:lnTo>
                    <a:lnTo>
                      <a:pt x="96" y="258"/>
                    </a:lnTo>
                    <a:lnTo>
                      <a:pt x="98" y="258"/>
                    </a:lnTo>
                    <a:lnTo>
                      <a:pt x="99" y="257"/>
                    </a:lnTo>
                    <a:lnTo>
                      <a:pt x="100" y="255"/>
                    </a:lnTo>
                    <a:lnTo>
                      <a:pt x="103" y="254"/>
                    </a:lnTo>
                    <a:lnTo>
                      <a:pt x="105" y="252"/>
                    </a:lnTo>
                    <a:lnTo>
                      <a:pt x="110" y="251"/>
                    </a:lnTo>
                    <a:lnTo>
                      <a:pt x="114" y="250"/>
                    </a:lnTo>
                    <a:lnTo>
                      <a:pt x="115" y="249"/>
                    </a:lnTo>
                    <a:lnTo>
                      <a:pt x="116" y="249"/>
                    </a:lnTo>
                    <a:lnTo>
                      <a:pt x="117" y="244"/>
                    </a:lnTo>
                    <a:lnTo>
                      <a:pt x="116" y="239"/>
                    </a:lnTo>
                    <a:lnTo>
                      <a:pt x="115" y="235"/>
                    </a:lnTo>
                    <a:lnTo>
                      <a:pt x="116" y="232"/>
                    </a:lnTo>
                    <a:lnTo>
                      <a:pt x="117" y="227"/>
                    </a:lnTo>
                    <a:lnTo>
                      <a:pt x="116" y="222"/>
                    </a:lnTo>
                    <a:lnTo>
                      <a:pt x="115" y="219"/>
                    </a:lnTo>
                    <a:lnTo>
                      <a:pt x="116" y="215"/>
                    </a:lnTo>
                    <a:lnTo>
                      <a:pt x="117" y="211"/>
                    </a:lnTo>
                    <a:lnTo>
                      <a:pt x="116" y="207"/>
                    </a:lnTo>
                    <a:lnTo>
                      <a:pt x="116" y="205"/>
                    </a:lnTo>
                    <a:lnTo>
                      <a:pt x="73" y="205"/>
                    </a:lnTo>
                    <a:close/>
                    <a:moveTo>
                      <a:pt x="93" y="18"/>
                    </a:moveTo>
                    <a:lnTo>
                      <a:pt x="73" y="21"/>
                    </a:lnTo>
                    <a:lnTo>
                      <a:pt x="55" y="28"/>
                    </a:lnTo>
                    <a:lnTo>
                      <a:pt x="40" y="40"/>
                    </a:lnTo>
                    <a:lnTo>
                      <a:pt x="28" y="56"/>
                    </a:lnTo>
                    <a:lnTo>
                      <a:pt x="21" y="74"/>
                    </a:lnTo>
                    <a:lnTo>
                      <a:pt x="17" y="93"/>
                    </a:lnTo>
                    <a:lnTo>
                      <a:pt x="21" y="112"/>
                    </a:lnTo>
                    <a:lnTo>
                      <a:pt x="27" y="128"/>
                    </a:lnTo>
                    <a:lnTo>
                      <a:pt x="38" y="141"/>
                    </a:lnTo>
                    <a:lnTo>
                      <a:pt x="49" y="153"/>
                    </a:lnTo>
                    <a:lnTo>
                      <a:pt x="58" y="164"/>
                    </a:lnTo>
                    <a:lnTo>
                      <a:pt x="65" y="175"/>
                    </a:lnTo>
                    <a:lnTo>
                      <a:pt x="70" y="187"/>
                    </a:lnTo>
                    <a:lnTo>
                      <a:pt x="116" y="187"/>
                    </a:lnTo>
                    <a:lnTo>
                      <a:pt x="121" y="175"/>
                    </a:lnTo>
                    <a:lnTo>
                      <a:pt x="128" y="164"/>
                    </a:lnTo>
                    <a:lnTo>
                      <a:pt x="138" y="153"/>
                    </a:lnTo>
                    <a:lnTo>
                      <a:pt x="149" y="141"/>
                    </a:lnTo>
                    <a:lnTo>
                      <a:pt x="158" y="128"/>
                    </a:lnTo>
                    <a:lnTo>
                      <a:pt x="166" y="112"/>
                    </a:lnTo>
                    <a:lnTo>
                      <a:pt x="168" y="93"/>
                    </a:lnTo>
                    <a:lnTo>
                      <a:pt x="166" y="74"/>
                    </a:lnTo>
                    <a:lnTo>
                      <a:pt x="158" y="56"/>
                    </a:lnTo>
                    <a:lnTo>
                      <a:pt x="146" y="40"/>
                    </a:lnTo>
                    <a:lnTo>
                      <a:pt x="131" y="28"/>
                    </a:lnTo>
                    <a:lnTo>
                      <a:pt x="112" y="21"/>
                    </a:lnTo>
                    <a:lnTo>
                      <a:pt x="93" y="18"/>
                    </a:lnTo>
                    <a:close/>
                    <a:moveTo>
                      <a:pt x="93" y="0"/>
                    </a:moveTo>
                    <a:lnTo>
                      <a:pt x="117" y="4"/>
                    </a:lnTo>
                    <a:lnTo>
                      <a:pt x="140" y="14"/>
                    </a:lnTo>
                    <a:lnTo>
                      <a:pt x="158" y="28"/>
                    </a:lnTo>
                    <a:lnTo>
                      <a:pt x="174" y="46"/>
                    </a:lnTo>
                    <a:lnTo>
                      <a:pt x="182" y="69"/>
                    </a:lnTo>
                    <a:lnTo>
                      <a:pt x="186" y="93"/>
                    </a:lnTo>
                    <a:lnTo>
                      <a:pt x="184" y="112"/>
                    </a:lnTo>
                    <a:lnTo>
                      <a:pt x="179" y="129"/>
                    </a:lnTo>
                    <a:lnTo>
                      <a:pt x="170" y="143"/>
                    </a:lnTo>
                    <a:lnTo>
                      <a:pt x="161" y="155"/>
                    </a:lnTo>
                    <a:lnTo>
                      <a:pt x="151" y="166"/>
                    </a:lnTo>
                    <a:lnTo>
                      <a:pt x="141" y="176"/>
                    </a:lnTo>
                    <a:lnTo>
                      <a:pt x="135" y="186"/>
                    </a:lnTo>
                    <a:lnTo>
                      <a:pt x="133" y="194"/>
                    </a:lnTo>
                    <a:lnTo>
                      <a:pt x="133" y="201"/>
                    </a:lnTo>
                    <a:lnTo>
                      <a:pt x="135" y="208"/>
                    </a:lnTo>
                    <a:lnTo>
                      <a:pt x="137" y="211"/>
                    </a:lnTo>
                    <a:lnTo>
                      <a:pt x="135" y="215"/>
                    </a:lnTo>
                    <a:lnTo>
                      <a:pt x="133" y="219"/>
                    </a:lnTo>
                    <a:lnTo>
                      <a:pt x="135" y="223"/>
                    </a:lnTo>
                    <a:lnTo>
                      <a:pt x="137" y="227"/>
                    </a:lnTo>
                    <a:lnTo>
                      <a:pt x="135" y="231"/>
                    </a:lnTo>
                    <a:lnTo>
                      <a:pt x="133" y="235"/>
                    </a:lnTo>
                    <a:lnTo>
                      <a:pt x="135" y="240"/>
                    </a:lnTo>
                    <a:lnTo>
                      <a:pt x="137" y="244"/>
                    </a:lnTo>
                    <a:lnTo>
                      <a:pt x="135" y="248"/>
                    </a:lnTo>
                    <a:lnTo>
                      <a:pt x="133" y="255"/>
                    </a:lnTo>
                    <a:lnTo>
                      <a:pt x="132" y="257"/>
                    </a:lnTo>
                    <a:lnTo>
                      <a:pt x="131" y="260"/>
                    </a:lnTo>
                    <a:lnTo>
                      <a:pt x="128" y="262"/>
                    </a:lnTo>
                    <a:lnTo>
                      <a:pt x="125" y="264"/>
                    </a:lnTo>
                    <a:lnTo>
                      <a:pt x="120" y="267"/>
                    </a:lnTo>
                    <a:lnTo>
                      <a:pt x="114" y="268"/>
                    </a:lnTo>
                    <a:lnTo>
                      <a:pt x="106" y="274"/>
                    </a:lnTo>
                    <a:lnTo>
                      <a:pt x="93" y="277"/>
                    </a:lnTo>
                    <a:lnTo>
                      <a:pt x="80" y="274"/>
                    </a:lnTo>
                    <a:lnTo>
                      <a:pt x="71" y="268"/>
                    </a:lnTo>
                    <a:lnTo>
                      <a:pt x="65" y="267"/>
                    </a:lnTo>
                    <a:lnTo>
                      <a:pt x="62" y="264"/>
                    </a:lnTo>
                    <a:lnTo>
                      <a:pt x="58" y="262"/>
                    </a:lnTo>
                    <a:lnTo>
                      <a:pt x="56" y="260"/>
                    </a:lnTo>
                    <a:lnTo>
                      <a:pt x="55" y="257"/>
                    </a:lnTo>
                    <a:lnTo>
                      <a:pt x="53" y="255"/>
                    </a:lnTo>
                    <a:lnTo>
                      <a:pt x="53" y="252"/>
                    </a:lnTo>
                    <a:lnTo>
                      <a:pt x="55" y="249"/>
                    </a:lnTo>
                    <a:lnTo>
                      <a:pt x="56" y="244"/>
                    </a:lnTo>
                    <a:lnTo>
                      <a:pt x="55" y="239"/>
                    </a:lnTo>
                    <a:lnTo>
                      <a:pt x="53" y="235"/>
                    </a:lnTo>
                    <a:lnTo>
                      <a:pt x="55" y="232"/>
                    </a:lnTo>
                    <a:lnTo>
                      <a:pt x="56" y="227"/>
                    </a:lnTo>
                    <a:lnTo>
                      <a:pt x="55" y="222"/>
                    </a:lnTo>
                    <a:lnTo>
                      <a:pt x="53" y="219"/>
                    </a:lnTo>
                    <a:lnTo>
                      <a:pt x="55" y="215"/>
                    </a:lnTo>
                    <a:lnTo>
                      <a:pt x="56" y="211"/>
                    </a:lnTo>
                    <a:lnTo>
                      <a:pt x="55" y="207"/>
                    </a:lnTo>
                    <a:lnTo>
                      <a:pt x="53" y="203"/>
                    </a:lnTo>
                    <a:lnTo>
                      <a:pt x="53" y="194"/>
                    </a:lnTo>
                    <a:lnTo>
                      <a:pt x="51" y="186"/>
                    </a:lnTo>
                    <a:lnTo>
                      <a:pt x="44" y="176"/>
                    </a:lnTo>
                    <a:lnTo>
                      <a:pt x="35" y="166"/>
                    </a:lnTo>
                    <a:lnTo>
                      <a:pt x="26" y="155"/>
                    </a:lnTo>
                    <a:lnTo>
                      <a:pt x="16" y="143"/>
                    </a:lnTo>
                    <a:lnTo>
                      <a:pt x="8" y="129"/>
                    </a:lnTo>
                    <a:lnTo>
                      <a:pt x="2" y="112"/>
                    </a:lnTo>
                    <a:lnTo>
                      <a:pt x="0" y="93"/>
                    </a:lnTo>
                    <a:lnTo>
                      <a:pt x="3" y="69"/>
                    </a:lnTo>
                    <a:lnTo>
                      <a:pt x="12" y="46"/>
                    </a:lnTo>
                    <a:lnTo>
                      <a:pt x="27" y="28"/>
                    </a:lnTo>
                    <a:lnTo>
                      <a:pt x="46" y="14"/>
                    </a:lnTo>
                    <a:lnTo>
                      <a:pt x="68" y="4"/>
                    </a:lnTo>
                    <a:lnTo>
                      <a:pt x="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0" name="Freeform 37"/>
              <p:cNvSpPr>
                <a:spLocks/>
              </p:cNvSpPr>
              <p:nvPr/>
            </p:nvSpPr>
            <p:spPr bwMode="auto">
              <a:xfrm>
                <a:off x="7162800" y="893763"/>
                <a:ext cx="28575" cy="79375"/>
              </a:xfrm>
              <a:custGeom>
                <a:avLst/>
                <a:gdLst>
                  <a:gd name="T0" fmla="*/ 9 w 18"/>
                  <a:gd name="T1" fmla="*/ 0 h 50"/>
                  <a:gd name="T2" fmla="*/ 13 w 18"/>
                  <a:gd name="T3" fmla="*/ 1 h 50"/>
                  <a:gd name="T4" fmla="*/ 15 w 18"/>
                  <a:gd name="T5" fmla="*/ 3 h 50"/>
                  <a:gd name="T6" fmla="*/ 18 w 18"/>
                  <a:gd name="T7" fmla="*/ 6 h 50"/>
                  <a:gd name="T8" fmla="*/ 18 w 18"/>
                  <a:gd name="T9" fmla="*/ 10 h 50"/>
                  <a:gd name="T10" fmla="*/ 18 w 18"/>
                  <a:gd name="T11" fmla="*/ 40 h 50"/>
                  <a:gd name="T12" fmla="*/ 18 w 18"/>
                  <a:gd name="T13" fmla="*/ 44 h 50"/>
                  <a:gd name="T14" fmla="*/ 15 w 18"/>
                  <a:gd name="T15" fmla="*/ 47 h 50"/>
                  <a:gd name="T16" fmla="*/ 13 w 18"/>
                  <a:gd name="T17" fmla="*/ 48 h 50"/>
                  <a:gd name="T18" fmla="*/ 9 w 18"/>
                  <a:gd name="T19" fmla="*/ 50 h 50"/>
                  <a:gd name="T20" fmla="*/ 6 w 18"/>
                  <a:gd name="T21" fmla="*/ 48 h 50"/>
                  <a:gd name="T22" fmla="*/ 3 w 18"/>
                  <a:gd name="T23" fmla="*/ 47 h 50"/>
                  <a:gd name="T24" fmla="*/ 1 w 18"/>
                  <a:gd name="T25" fmla="*/ 44 h 50"/>
                  <a:gd name="T26" fmla="*/ 0 w 18"/>
                  <a:gd name="T27" fmla="*/ 40 h 50"/>
                  <a:gd name="T28" fmla="*/ 0 w 18"/>
                  <a:gd name="T29" fmla="*/ 10 h 50"/>
                  <a:gd name="T30" fmla="*/ 1 w 18"/>
                  <a:gd name="T31" fmla="*/ 6 h 50"/>
                  <a:gd name="T32" fmla="*/ 3 w 18"/>
                  <a:gd name="T33" fmla="*/ 3 h 50"/>
                  <a:gd name="T34" fmla="*/ 6 w 18"/>
                  <a:gd name="T35" fmla="*/ 1 h 50"/>
                  <a:gd name="T36" fmla="*/ 9 w 18"/>
                  <a:gd name="T3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0">
                    <a:moveTo>
                      <a:pt x="9" y="0"/>
                    </a:moveTo>
                    <a:lnTo>
                      <a:pt x="13" y="1"/>
                    </a:lnTo>
                    <a:lnTo>
                      <a:pt x="15" y="3"/>
                    </a:lnTo>
                    <a:lnTo>
                      <a:pt x="18" y="6"/>
                    </a:lnTo>
                    <a:lnTo>
                      <a:pt x="18" y="10"/>
                    </a:lnTo>
                    <a:lnTo>
                      <a:pt x="18" y="40"/>
                    </a:lnTo>
                    <a:lnTo>
                      <a:pt x="18" y="44"/>
                    </a:lnTo>
                    <a:lnTo>
                      <a:pt x="15" y="47"/>
                    </a:lnTo>
                    <a:lnTo>
                      <a:pt x="13" y="48"/>
                    </a:lnTo>
                    <a:lnTo>
                      <a:pt x="9" y="50"/>
                    </a:lnTo>
                    <a:lnTo>
                      <a:pt x="6" y="48"/>
                    </a:lnTo>
                    <a:lnTo>
                      <a:pt x="3" y="47"/>
                    </a:lnTo>
                    <a:lnTo>
                      <a:pt x="1" y="44"/>
                    </a:lnTo>
                    <a:lnTo>
                      <a:pt x="0" y="40"/>
                    </a:lnTo>
                    <a:lnTo>
                      <a:pt x="0" y="10"/>
                    </a:lnTo>
                    <a:lnTo>
                      <a:pt x="1" y="6"/>
                    </a:lnTo>
                    <a:lnTo>
                      <a:pt x="3" y="3"/>
                    </a:lnTo>
                    <a:lnTo>
                      <a:pt x="6" y="1"/>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1" name="Freeform 38"/>
              <p:cNvSpPr>
                <a:spLocks/>
              </p:cNvSpPr>
              <p:nvPr/>
            </p:nvSpPr>
            <p:spPr bwMode="auto">
              <a:xfrm>
                <a:off x="7292975" y="957263"/>
                <a:ext cx="68263" cy="68263"/>
              </a:xfrm>
              <a:custGeom>
                <a:avLst/>
                <a:gdLst>
                  <a:gd name="T0" fmla="*/ 35 w 43"/>
                  <a:gd name="T1" fmla="*/ 0 h 43"/>
                  <a:gd name="T2" fmla="*/ 38 w 43"/>
                  <a:gd name="T3" fmla="*/ 0 h 43"/>
                  <a:gd name="T4" fmla="*/ 41 w 43"/>
                  <a:gd name="T5" fmla="*/ 2 h 43"/>
                  <a:gd name="T6" fmla="*/ 43 w 43"/>
                  <a:gd name="T7" fmla="*/ 5 h 43"/>
                  <a:gd name="T8" fmla="*/ 43 w 43"/>
                  <a:gd name="T9" fmla="*/ 8 h 43"/>
                  <a:gd name="T10" fmla="*/ 43 w 43"/>
                  <a:gd name="T11" fmla="*/ 12 h 43"/>
                  <a:gd name="T12" fmla="*/ 41 w 43"/>
                  <a:gd name="T13" fmla="*/ 14 h 43"/>
                  <a:gd name="T14" fmla="*/ 15 w 43"/>
                  <a:gd name="T15" fmla="*/ 41 h 43"/>
                  <a:gd name="T16" fmla="*/ 12 w 43"/>
                  <a:gd name="T17" fmla="*/ 42 h 43"/>
                  <a:gd name="T18" fmla="*/ 9 w 43"/>
                  <a:gd name="T19" fmla="*/ 43 h 43"/>
                  <a:gd name="T20" fmla="*/ 6 w 43"/>
                  <a:gd name="T21" fmla="*/ 42 h 43"/>
                  <a:gd name="T22" fmla="*/ 2 w 43"/>
                  <a:gd name="T23" fmla="*/ 41 h 43"/>
                  <a:gd name="T24" fmla="*/ 1 w 43"/>
                  <a:gd name="T25" fmla="*/ 37 h 43"/>
                  <a:gd name="T26" fmla="*/ 0 w 43"/>
                  <a:gd name="T27" fmla="*/ 35 h 43"/>
                  <a:gd name="T28" fmla="*/ 1 w 43"/>
                  <a:gd name="T29" fmla="*/ 31 h 43"/>
                  <a:gd name="T30" fmla="*/ 2 w 43"/>
                  <a:gd name="T31" fmla="*/ 28 h 43"/>
                  <a:gd name="T32" fmla="*/ 28 w 43"/>
                  <a:gd name="T33" fmla="*/ 2 h 43"/>
                  <a:gd name="T34" fmla="*/ 31 w 43"/>
                  <a:gd name="T35" fmla="*/ 0 h 43"/>
                  <a:gd name="T36" fmla="*/ 35 w 43"/>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3">
                    <a:moveTo>
                      <a:pt x="35" y="0"/>
                    </a:moveTo>
                    <a:lnTo>
                      <a:pt x="38" y="0"/>
                    </a:lnTo>
                    <a:lnTo>
                      <a:pt x="41" y="2"/>
                    </a:lnTo>
                    <a:lnTo>
                      <a:pt x="43" y="5"/>
                    </a:lnTo>
                    <a:lnTo>
                      <a:pt x="43" y="8"/>
                    </a:lnTo>
                    <a:lnTo>
                      <a:pt x="43" y="12"/>
                    </a:lnTo>
                    <a:lnTo>
                      <a:pt x="41" y="14"/>
                    </a:lnTo>
                    <a:lnTo>
                      <a:pt x="15" y="41"/>
                    </a:lnTo>
                    <a:lnTo>
                      <a:pt x="12" y="42"/>
                    </a:lnTo>
                    <a:lnTo>
                      <a:pt x="9" y="43"/>
                    </a:lnTo>
                    <a:lnTo>
                      <a:pt x="6" y="42"/>
                    </a:lnTo>
                    <a:lnTo>
                      <a:pt x="2" y="41"/>
                    </a:lnTo>
                    <a:lnTo>
                      <a:pt x="1" y="37"/>
                    </a:lnTo>
                    <a:lnTo>
                      <a:pt x="0" y="35"/>
                    </a:lnTo>
                    <a:lnTo>
                      <a:pt x="1" y="31"/>
                    </a:lnTo>
                    <a:lnTo>
                      <a:pt x="2" y="28"/>
                    </a:lnTo>
                    <a:lnTo>
                      <a:pt x="28" y="2"/>
                    </a:lnTo>
                    <a:lnTo>
                      <a:pt x="31" y="0"/>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2" name="Freeform 39"/>
              <p:cNvSpPr>
                <a:spLocks/>
              </p:cNvSpPr>
              <p:nvPr/>
            </p:nvSpPr>
            <p:spPr bwMode="auto">
              <a:xfrm>
                <a:off x="7345363" y="1127125"/>
                <a:ext cx="79375" cy="28575"/>
              </a:xfrm>
              <a:custGeom>
                <a:avLst/>
                <a:gdLst>
                  <a:gd name="T0" fmla="*/ 10 w 50"/>
                  <a:gd name="T1" fmla="*/ 0 h 18"/>
                  <a:gd name="T2" fmla="*/ 40 w 50"/>
                  <a:gd name="T3" fmla="*/ 0 h 18"/>
                  <a:gd name="T4" fmla="*/ 44 w 50"/>
                  <a:gd name="T5" fmla="*/ 2 h 18"/>
                  <a:gd name="T6" fmla="*/ 47 w 50"/>
                  <a:gd name="T7" fmla="*/ 3 h 18"/>
                  <a:gd name="T8" fmla="*/ 49 w 50"/>
                  <a:gd name="T9" fmla="*/ 5 h 18"/>
                  <a:gd name="T10" fmla="*/ 50 w 50"/>
                  <a:gd name="T11" fmla="*/ 9 h 18"/>
                  <a:gd name="T12" fmla="*/ 49 w 50"/>
                  <a:gd name="T13" fmla="*/ 12 h 18"/>
                  <a:gd name="T14" fmla="*/ 47 w 50"/>
                  <a:gd name="T15" fmla="*/ 16 h 18"/>
                  <a:gd name="T16" fmla="*/ 44 w 50"/>
                  <a:gd name="T17" fmla="*/ 17 h 18"/>
                  <a:gd name="T18" fmla="*/ 40 w 50"/>
                  <a:gd name="T19" fmla="*/ 18 h 18"/>
                  <a:gd name="T20" fmla="*/ 10 w 50"/>
                  <a:gd name="T21" fmla="*/ 18 h 18"/>
                  <a:gd name="T22" fmla="*/ 6 w 50"/>
                  <a:gd name="T23" fmla="*/ 17 h 18"/>
                  <a:gd name="T24" fmla="*/ 3 w 50"/>
                  <a:gd name="T25" fmla="*/ 16 h 18"/>
                  <a:gd name="T26" fmla="*/ 2 w 50"/>
                  <a:gd name="T27" fmla="*/ 12 h 18"/>
                  <a:gd name="T28" fmla="*/ 0 w 50"/>
                  <a:gd name="T29" fmla="*/ 9 h 18"/>
                  <a:gd name="T30" fmla="*/ 2 w 50"/>
                  <a:gd name="T31" fmla="*/ 5 h 18"/>
                  <a:gd name="T32" fmla="*/ 3 w 50"/>
                  <a:gd name="T33" fmla="*/ 3 h 18"/>
                  <a:gd name="T34" fmla="*/ 6 w 50"/>
                  <a:gd name="T35" fmla="*/ 2 h 18"/>
                  <a:gd name="T36" fmla="*/ 10 w 50"/>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18">
                    <a:moveTo>
                      <a:pt x="10" y="0"/>
                    </a:moveTo>
                    <a:lnTo>
                      <a:pt x="40" y="0"/>
                    </a:lnTo>
                    <a:lnTo>
                      <a:pt x="44" y="2"/>
                    </a:lnTo>
                    <a:lnTo>
                      <a:pt x="47" y="3"/>
                    </a:lnTo>
                    <a:lnTo>
                      <a:pt x="49" y="5"/>
                    </a:lnTo>
                    <a:lnTo>
                      <a:pt x="50" y="9"/>
                    </a:lnTo>
                    <a:lnTo>
                      <a:pt x="49" y="12"/>
                    </a:lnTo>
                    <a:lnTo>
                      <a:pt x="47" y="16"/>
                    </a:lnTo>
                    <a:lnTo>
                      <a:pt x="44" y="17"/>
                    </a:lnTo>
                    <a:lnTo>
                      <a:pt x="40" y="18"/>
                    </a:lnTo>
                    <a:lnTo>
                      <a:pt x="10" y="18"/>
                    </a:lnTo>
                    <a:lnTo>
                      <a:pt x="6" y="17"/>
                    </a:lnTo>
                    <a:lnTo>
                      <a:pt x="3" y="16"/>
                    </a:lnTo>
                    <a:lnTo>
                      <a:pt x="2" y="12"/>
                    </a:lnTo>
                    <a:lnTo>
                      <a:pt x="0" y="9"/>
                    </a:lnTo>
                    <a:lnTo>
                      <a:pt x="2" y="5"/>
                    </a:lnTo>
                    <a:lnTo>
                      <a:pt x="3" y="3"/>
                    </a:lnTo>
                    <a:lnTo>
                      <a:pt x="6" y="2"/>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3" name="Freeform 40"/>
              <p:cNvSpPr>
                <a:spLocks/>
              </p:cNvSpPr>
              <p:nvPr/>
            </p:nvSpPr>
            <p:spPr bwMode="auto">
              <a:xfrm>
                <a:off x="6931025" y="1127125"/>
                <a:ext cx="76200" cy="28575"/>
              </a:xfrm>
              <a:custGeom>
                <a:avLst/>
                <a:gdLst>
                  <a:gd name="T0" fmla="*/ 8 w 48"/>
                  <a:gd name="T1" fmla="*/ 0 h 18"/>
                  <a:gd name="T2" fmla="*/ 39 w 48"/>
                  <a:gd name="T3" fmla="*/ 0 h 18"/>
                  <a:gd name="T4" fmla="*/ 43 w 48"/>
                  <a:gd name="T5" fmla="*/ 2 h 18"/>
                  <a:gd name="T6" fmla="*/ 45 w 48"/>
                  <a:gd name="T7" fmla="*/ 3 h 18"/>
                  <a:gd name="T8" fmla="*/ 48 w 48"/>
                  <a:gd name="T9" fmla="*/ 5 h 18"/>
                  <a:gd name="T10" fmla="*/ 48 w 48"/>
                  <a:gd name="T11" fmla="*/ 9 h 18"/>
                  <a:gd name="T12" fmla="*/ 48 w 48"/>
                  <a:gd name="T13" fmla="*/ 12 h 18"/>
                  <a:gd name="T14" fmla="*/ 45 w 48"/>
                  <a:gd name="T15" fmla="*/ 16 h 18"/>
                  <a:gd name="T16" fmla="*/ 43 w 48"/>
                  <a:gd name="T17" fmla="*/ 17 h 18"/>
                  <a:gd name="T18" fmla="*/ 39 w 48"/>
                  <a:gd name="T19" fmla="*/ 18 h 18"/>
                  <a:gd name="T20" fmla="*/ 8 w 48"/>
                  <a:gd name="T21" fmla="*/ 18 h 18"/>
                  <a:gd name="T22" fmla="*/ 4 w 48"/>
                  <a:gd name="T23" fmla="*/ 17 h 18"/>
                  <a:gd name="T24" fmla="*/ 2 w 48"/>
                  <a:gd name="T25" fmla="*/ 16 h 18"/>
                  <a:gd name="T26" fmla="*/ 0 w 48"/>
                  <a:gd name="T27" fmla="*/ 12 h 18"/>
                  <a:gd name="T28" fmla="*/ 0 w 48"/>
                  <a:gd name="T29" fmla="*/ 9 h 18"/>
                  <a:gd name="T30" fmla="*/ 0 w 48"/>
                  <a:gd name="T31" fmla="*/ 5 h 18"/>
                  <a:gd name="T32" fmla="*/ 2 w 48"/>
                  <a:gd name="T33" fmla="*/ 3 h 18"/>
                  <a:gd name="T34" fmla="*/ 4 w 48"/>
                  <a:gd name="T35" fmla="*/ 2 h 18"/>
                  <a:gd name="T36" fmla="*/ 8 w 48"/>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18">
                    <a:moveTo>
                      <a:pt x="8" y="0"/>
                    </a:moveTo>
                    <a:lnTo>
                      <a:pt x="39" y="0"/>
                    </a:lnTo>
                    <a:lnTo>
                      <a:pt x="43" y="2"/>
                    </a:lnTo>
                    <a:lnTo>
                      <a:pt x="45" y="3"/>
                    </a:lnTo>
                    <a:lnTo>
                      <a:pt x="48" y="5"/>
                    </a:lnTo>
                    <a:lnTo>
                      <a:pt x="48" y="9"/>
                    </a:lnTo>
                    <a:lnTo>
                      <a:pt x="48" y="12"/>
                    </a:lnTo>
                    <a:lnTo>
                      <a:pt x="45" y="16"/>
                    </a:lnTo>
                    <a:lnTo>
                      <a:pt x="43" y="17"/>
                    </a:lnTo>
                    <a:lnTo>
                      <a:pt x="39" y="18"/>
                    </a:lnTo>
                    <a:lnTo>
                      <a:pt x="8" y="18"/>
                    </a:lnTo>
                    <a:lnTo>
                      <a:pt x="4" y="17"/>
                    </a:lnTo>
                    <a:lnTo>
                      <a:pt x="2" y="16"/>
                    </a:lnTo>
                    <a:lnTo>
                      <a:pt x="0" y="12"/>
                    </a:lnTo>
                    <a:lnTo>
                      <a:pt x="0" y="9"/>
                    </a:lnTo>
                    <a:lnTo>
                      <a:pt x="0" y="5"/>
                    </a:lnTo>
                    <a:lnTo>
                      <a:pt x="2" y="3"/>
                    </a:lnTo>
                    <a:lnTo>
                      <a:pt x="4"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4" name="Freeform 41"/>
              <p:cNvSpPr>
                <a:spLocks/>
              </p:cNvSpPr>
              <p:nvPr/>
            </p:nvSpPr>
            <p:spPr bwMode="auto">
              <a:xfrm>
                <a:off x="6991350" y="957263"/>
                <a:ext cx="69850" cy="68263"/>
              </a:xfrm>
              <a:custGeom>
                <a:avLst/>
                <a:gdLst>
                  <a:gd name="T0" fmla="*/ 10 w 44"/>
                  <a:gd name="T1" fmla="*/ 0 h 43"/>
                  <a:gd name="T2" fmla="*/ 12 w 44"/>
                  <a:gd name="T3" fmla="*/ 0 h 43"/>
                  <a:gd name="T4" fmla="*/ 16 w 44"/>
                  <a:gd name="T5" fmla="*/ 2 h 43"/>
                  <a:gd name="T6" fmla="*/ 41 w 44"/>
                  <a:gd name="T7" fmla="*/ 28 h 43"/>
                  <a:gd name="T8" fmla="*/ 44 w 44"/>
                  <a:gd name="T9" fmla="*/ 31 h 43"/>
                  <a:gd name="T10" fmla="*/ 44 w 44"/>
                  <a:gd name="T11" fmla="*/ 35 h 43"/>
                  <a:gd name="T12" fmla="*/ 44 w 44"/>
                  <a:gd name="T13" fmla="*/ 37 h 43"/>
                  <a:gd name="T14" fmla="*/ 41 w 44"/>
                  <a:gd name="T15" fmla="*/ 41 h 43"/>
                  <a:gd name="T16" fmla="*/ 39 w 44"/>
                  <a:gd name="T17" fmla="*/ 42 h 43"/>
                  <a:gd name="T18" fmla="*/ 35 w 44"/>
                  <a:gd name="T19" fmla="*/ 43 h 43"/>
                  <a:gd name="T20" fmla="*/ 32 w 44"/>
                  <a:gd name="T21" fmla="*/ 42 h 43"/>
                  <a:gd name="T22" fmla="*/ 29 w 44"/>
                  <a:gd name="T23" fmla="*/ 41 h 43"/>
                  <a:gd name="T24" fmla="*/ 3 w 44"/>
                  <a:gd name="T25" fmla="*/ 14 h 43"/>
                  <a:gd name="T26" fmla="*/ 1 w 44"/>
                  <a:gd name="T27" fmla="*/ 12 h 43"/>
                  <a:gd name="T28" fmla="*/ 0 w 44"/>
                  <a:gd name="T29" fmla="*/ 8 h 43"/>
                  <a:gd name="T30" fmla="*/ 1 w 44"/>
                  <a:gd name="T31" fmla="*/ 5 h 43"/>
                  <a:gd name="T32" fmla="*/ 3 w 44"/>
                  <a:gd name="T33" fmla="*/ 2 h 43"/>
                  <a:gd name="T34" fmla="*/ 6 w 44"/>
                  <a:gd name="T35" fmla="*/ 0 h 43"/>
                  <a:gd name="T36" fmla="*/ 10 w 44"/>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3">
                    <a:moveTo>
                      <a:pt x="10" y="0"/>
                    </a:moveTo>
                    <a:lnTo>
                      <a:pt x="12" y="0"/>
                    </a:lnTo>
                    <a:lnTo>
                      <a:pt x="16" y="2"/>
                    </a:lnTo>
                    <a:lnTo>
                      <a:pt x="41" y="28"/>
                    </a:lnTo>
                    <a:lnTo>
                      <a:pt x="44" y="31"/>
                    </a:lnTo>
                    <a:lnTo>
                      <a:pt x="44" y="35"/>
                    </a:lnTo>
                    <a:lnTo>
                      <a:pt x="44" y="37"/>
                    </a:lnTo>
                    <a:lnTo>
                      <a:pt x="41" y="41"/>
                    </a:lnTo>
                    <a:lnTo>
                      <a:pt x="39" y="42"/>
                    </a:lnTo>
                    <a:lnTo>
                      <a:pt x="35" y="43"/>
                    </a:lnTo>
                    <a:lnTo>
                      <a:pt x="32" y="42"/>
                    </a:lnTo>
                    <a:lnTo>
                      <a:pt x="29" y="41"/>
                    </a:lnTo>
                    <a:lnTo>
                      <a:pt x="3" y="14"/>
                    </a:lnTo>
                    <a:lnTo>
                      <a:pt x="1" y="12"/>
                    </a:lnTo>
                    <a:lnTo>
                      <a:pt x="0" y="8"/>
                    </a:lnTo>
                    <a:lnTo>
                      <a:pt x="1" y="5"/>
                    </a:lnTo>
                    <a:lnTo>
                      <a:pt x="3" y="2"/>
                    </a:lnTo>
                    <a:lnTo>
                      <a:pt x="6"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5" name="Freeform 42"/>
              <p:cNvSpPr>
                <a:spLocks/>
              </p:cNvSpPr>
              <p:nvPr/>
            </p:nvSpPr>
            <p:spPr bwMode="auto">
              <a:xfrm>
                <a:off x="7292975" y="1257300"/>
                <a:ext cx="68263" cy="69850"/>
              </a:xfrm>
              <a:custGeom>
                <a:avLst/>
                <a:gdLst>
                  <a:gd name="T0" fmla="*/ 9 w 43"/>
                  <a:gd name="T1" fmla="*/ 0 h 44"/>
                  <a:gd name="T2" fmla="*/ 12 w 43"/>
                  <a:gd name="T3" fmla="*/ 0 h 44"/>
                  <a:gd name="T4" fmla="*/ 15 w 43"/>
                  <a:gd name="T5" fmla="*/ 3 h 44"/>
                  <a:gd name="T6" fmla="*/ 41 w 43"/>
                  <a:gd name="T7" fmla="*/ 28 h 44"/>
                  <a:gd name="T8" fmla="*/ 43 w 43"/>
                  <a:gd name="T9" fmla="*/ 32 h 44"/>
                  <a:gd name="T10" fmla="*/ 43 w 43"/>
                  <a:gd name="T11" fmla="*/ 35 h 44"/>
                  <a:gd name="T12" fmla="*/ 43 w 43"/>
                  <a:gd name="T13" fmla="*/ 38 h 44"/>
                  <a:gd name="T14" fmla="*/ 41 w 43"/>
                  <a:gd name="T15" fmla="*/ 41 h 44"/>
                  <a:gd name="T16" fmla="*/ 38 w 43"/>
                  <a:gd name="T17" fmla="*/ 43 h 44"/>
                  <a:gd name="T18" fmla="*/ 35 w 43"/>
                  <a:gd name="T19" fmla="*/ 44 h 44"/>
                  <a:gd name="T20" fmla="*/ 31 w 43"/>
                  <a:gd name="T21" fmla="*/ 43 h 44"/>
                  <a:gd name="T22" fmla="*/ 28 w 43"/>
                  <a:gd name="T23" fmla="*/ 41 h 44"/>
                  <a:gd name="T24" fmla="*/ 2 w 43"/>
                  <a:gd name="T25" fmla="*/ 15 h 44"/>
                  <a:gd name="T26" fmla="*/ 1 w 43"/>
                  <a:gd name="T27" fmla="*/ 12 h 44"/>
                  <a:gd name="T28" fmla="*/ 0 w 43"/>
                  <a:gd name="T29" fmla="*/ 9 h 44"/>
                  <a:gd name="T30" fmla="*/ 1 w 43"/>
                  <a:gd name="T31" fmla="*/ 5 h 44"/>
                  <a:gd name="T32" fmla="*/ 2 w 43"/>
                  <a:gd name="T33" fmla="*/ 3 h 44"/>
                  <a:gd name="T34" fmla="*/ 6 w 43"/>
                  <a:gd name="T35" fmla="*/ 0 h 44"/>
                  <a:gd name="T36" fmla="*/ 9 w 43"/>
                  <a:gd name="T3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4">
                    <a:moveTo>
                      <a:pt x="9" y="0"/>
                    </a:moveTo>
                    <a:lnTo>
                      <a:pt x="12" y="0"/>
                    </a:lnTo>
                    <a:lnTo>
                      <a:pt x="15" y="3"/>
                    </a:lnTo>
                    <a:lnTo>
                      <a:pt x="41" y="28"/>
                    </a:lnTo>
                    <a:lnTo>
                      <a:pt x="43" y="32"/>
                    </a:lnTo>
                    <a:lnTo>
                      <a:pt x="43" y="35"/>
                    </a:lnTo>
                    <a:lnTo>
                      <a:pt x="43" y="38"/>
                    </a:lnTo>
                    <a:lnTo>
                      <a:pt x="41" y="41"/>
                    </a:lnTo>
                    <a:lnTo>
                      <a:pt x="38" y="43"/>
                    </a:lnTo>
                    <a:lnTo>
                      <a:pt x="35" y="44"/>
                    </a:lnTo>
                    <a:lnTo>
                      <a:pt x="31" y="43"/>
                    </a:lnTo>
                    <a:lnTo>
                      <a:pt x="28" y="41"/>
                    </a:lnTo>
                    <a:lnTo>
                      <a:pt x="2" y="15"/>
                    </a:lnTo>
                    <a:lnTo>
                      <a:pt x="1" y="12"/>
                    </a:lnTo>
                    <a:lnTo>
                      <a:pt x="0" y="9"/>
                    </a:lnTo>
                    <a:lnTo>
                      <a:pt x="1" y="5"/>
                    </a:lnTo>
                    <a:lnTo>
                      <a:pt x="2" y="3"/>
                    </a:lnTo>
                    <a:lnTo>
                      <a:pt x="6" y="0"/>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6" name="Freeform 43"/>
              <p:cNvSpPr>
                <a:spLocks/>
              </p:cNvSpPr>
              <p:nvPr/>
            </p:nvSpPr>
            <p:spPr bwMode="auto">
              <a:xfrm>
                <a:off x="6991350" y="1257300"/>
                <a:ext cx="69850" cy="69850"/>
              </a:xfrm>
              <a:custGeom>
                <a:avLst/>
                <a:gdLst>
                  <a:gd name="T0" fmla="*/ 35 w 44"/>
                  <a:gd name="T1" fmla="*/ 0 h 44"/>
                  <a:gd name="T2" fmla="*/ 39 w 44"/>
                  <a:gd name="T3" fmla="*/ 0 h 44"/>
                  <a:gd name="T4" fmla="*/ 41 w 44"/>
                  <a:gd name="T5" fmla="*/ 3 h 44"/>
                  <a:gd name="T6" fmla="*/ 44 w 44"/>
                  <a:gd name="T7" fmla="*/ 5 h 44"/>
                  <a:gd name="T8" fmla="*/ 44 w 44"/>
                  <a:gd name="T9" fmla="*/ 9 h 44"/>
                  <a:gd name="T10" fmla="*/ 44 w 44"/>
                  <a:gd name="T11" fmla="*/ 12 h 44"/>
                  <a:gd name="T12" fmla="*/ 41 w 44"/>
                  <a:gd name="T13" fmla="*/ 15 h 44"/>
                  <a:gd name="T14" fmla="*/ 16 w 44"/>
                  <a:gd name="T15" fmla="*/ 41 h 44"/>
                  <a:gd name="T16" fmla="*/ 12 w 44"/>
                  <a:gd name="T17" fmla="*/ 43 h 44"/>
                  <a:gd name="T18" fmla="*/ 10 w 44"/>
                  <a:gd name="T19" fmla="*/ 44 h 44"/>
                  <a:gd name="T20" fmla="*/ 6 w 44"/>
                  <a:gd name="T21" fmla="*/ 43 h 44"/>
                  <a:gd name="T22" fmla="*/ 3 w 44"/>
                  <a:gd name="T23" fmla="*/ 41 h 44"/>
                  <a:gd name="T24" fmla="*/ 1 w 44"/>
                  <a:gd name="T25" fmla="*/ 38 h 44"/>
                  <a:gd name="T26" fmla="*/ 0 w 44"/>
                  <a:gd name="T27" fmla="*/ 35 h 44"/>
                  <a:gd name="T28" fmla="*/ 1 w 44"/>
                  <a:gd name="T29" fmla="*/ 32 h 44"/>
                  <a:gd name="T30" fmla="*/ 3 w 44"/>
                  <a:gd name="T31" fmla="*/ 28 h 44"/>
                  <a:gd name="T32" fmla="*/ 29 w 44"/>
                  <a:gd name="T33" fmla="*/ 3 h 44"/>
                  <a:gd name="T34" fmla="*/ 32 w 44"/>
                  <a:gd name="T35" fmla="*/ 0 h 44"/>
                  <a:gd name="T36" fmla="*/ 35 w 44"/>
                  <a:gd name="T3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4">
                    <a:moveTo>
                      <a:pt x="35" y="0"/>
                    </a:moveTo>
                    <a:lnTo>
                      <a:pt x="39" y="0"/>
                    </a:lnTo>
                    <a:lnTo>
                      <a:pt x="41" y="3"/>
                    </a:lnTo>
                    <a:lnTo>
                      <a:pt x="44" y="5"/>
                    </a:lnTo>
                    <a:lnTo>
                      <a:pt x="44" y="9"/>
                    </a:lnTo>
                    <a:lnTo>
                      <a:pt x="44" y="12"/>
                    </a:lnTo>
                    <a:lnTo>
                      <a:pt x="41" y="15"/>
                    </a:lnTo>
                    <a:lnTo>
                      <a:pt x="16" y="41"/>
                    </a:lnTo>
                    <a:lnTo>
                      <a:pt x="12" y="43"/>
                    </a:lnTo>
                    <a:lnTo>
                      <a:pt x="10" y="44"/>
                    </a:lnTo>
                    <a:lnTo>
                      <a:pt x="6" y="43"/>
                    </a:lnTo>
                    <a:lnTo>
                      <a:pt x="3" y="41"/>
                    </a:lnTo>
                    <a:lnTo>
                      <a:pt x="1" y="38"/>
                    </a:lnTo>
                    <a:lnTo>
                      <a:pt x="0" y="35"/>
                    </a:lnTo>
                    <a:lnTo>
                      <a:pt x="1" y="32"/>
                    </a:lnTo>
                    <a:lnTo>
                      <a:pt x="3" y="28"/>
                    </a:lnTo>
                    <a:lnTo>
                      <a:pt x="29" y="3"/>
                    </a:lnTo>
                    <a:lnTo>
                      <a:pt x="32" y="0"/>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7" name="Freeform 44"/>
              <p:cNvSpPr>
                <a:spLocks/>
              </p:cNvSpPr>
              <p:nvPr/>
            </p:nvSpPr>
            <p:spPr bwMode="auto">
              <a:xfrm>
                <a:off x="7073900" y="912813"/>
                <a:ext cx="47625" cy="73025"/>
              </a:xfrm>
              <a:custGeom>
                <a:avLst/>
                <a:gdLst>
                  <a:gd name="T0" fmla="*/ 8 w 30"/>
                  <a:gd name="T1" fmla="*/ 0 h 46"/>
                  <a:gd name="T2" fmla="*/ 12 w 30"/>
                  <a:gd name="T3" fmla="*/ 0 h 46"/>
                  <a:gd name="T4" fmla="*/ 15 w 30"/>
                  <a:gd name="T5" fmla="*/ 3 h 46"/>
                  <a:gd name="T6" fmla="*/ 17 w 30"/>
                  <a:gd name="T7" fmla="*/ 5 h 46"/>
                  <a:gd name="T8" fmla="*/ 29 w 30"/>
                  <a:gd name="T9" fmla="*/ 34 h 46"/>
                  <a:gd name="T10" fmla="*/ 30 w 30"/>
                  <a:gd name="T11" fmla="*/ 38 h 46"/>
                  <a:gd name="T12" fmla="*/ 29 w 30"/>
                  <a:gd name="T13" fmla="*/ 41 h 46"/>
                  <a:gd name="T14" fmla="*/ 27 w 30"/>
                  <a:gd name="T15" fmla="*/ 44 h 46"/>
                  <a:gd name="T16" fmla="*/ 24 w 30"/>
                  <a:gd name="T17" fmla="*/ 46 h 46"/>
                  <a:gd name="T18" fmla="*/ 21 w 30"/>
                  <a:gd name="T19" fmla="*/ 46 h 46"/>
                  <a:gd name="T20" fmla="*/ 17 w 30"/>
                  <a:gd name="T21" fmla="*/ 46 h 46"/>
                  <a:gd name="T22" fmla="*/ 15 w 30"/>
                  <a:gd name="T23" fmla="*/ 44 h 46"/>
                  <a:gd name="T24" fmla="*/ 12 w 30"/>
                  <a:gd name="T25" fmla="*/ 41 h 46"/>
                  <a:gd name="T26" fmla="*/ 0 w 30"/>
                  <a:gd name="T27" fmla="*/ 12 h 46"/>
                  <a:gd name="T28" fmla="*/ 0 w 30"/>
                  <a:gd name="T29" fmla="*/ 9 h 46"/>
                  <a:gd name="T30" fmla="*/ 0 w 30"/>
                  <a:gd name="T31" fmla="*/ 5 h 46"/>
                  <a:gd name="T32" fmla="*/ 2 w 30"/>
                  <a:gd name="T33" fmla="*/ 3 h 46"/>
                  <a:gd name="T34" fmla="*/ 5 w 30"/>
                  <a:gd name="T35" fmla="*/ 0 h 46"/>
                  <a:gd name="T36" fmla="*/ 8 w 30"/>
                  <a:gd name="T3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46">
                    <a:moveTo>
                      <a:pt x="8" y="0"/>
                    </a:moveTo>
                    <a:lnTo>
                      <a:pt x="12" y="0"/>
                    </a:lnTo>
                    <a:lnTo>
                      <a:pt x="15" y="3"/>
                    </a:lnTo>
                    <a:lnTo>
                      <a:pt x="17" y="5"/>
                    </a:lnTo>
                    <a:lnTo>
                      <a:pt x="29" y="34"/>
                    </a:lnTo>
                    <a:lnTo>
                      <a:pt x="30" y="38"/>
                    </a:lnTo>
                    <a:lnTo>
                      <a:pt x="29" y="41"/>
                    </a:lnTo>
                    <a:lnTo>
                      <a:pt x="27" y="44"/>
                    </a:lnTo>
                    <a:lnTo>
                      <a:pt x="24" y="46"/>
                    </a:lnTo>
                    <a:lnTo>
                      <a:pt x="21" y="46"/>
                    </a:lnTo>
                    <a:lnTo>
                      <a:pt x="17" y="46"/>
                    </a:lnTo>
                    <a:lnTo>
                      <a:pt x="15" y="44"/>
                    </a:lnTo>
                    <a:lnTo>
                      <a:pt x="12" y="41"/>
                    </a:lnTo>
                    <a:lnTo>
                      <a:pt x="0" y="12"/>
                    </a:lnTo>
                    <a:lnTo>
                      <a:pt x="0" y="9"/>
                    </a:lnTo>
                    <a:lnTo>
                      <a:pt x="0" y="5"/>
                    </a:lnTo>
                    <a:lnTo>
                      <a:pt x="2" y="3"/>
                    </a:lnTo>
                    <a:lnTo>
                      <a:pt x="5"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8" name="Freeform 45"/>
              <p:cNvSpPr>
                <a:spLocks/>
              </p:cNvSpPr>
              <p:nvPr/>
            </p:nvSpPr>
            <p:spPr bwMode="auto">
              <a:xfrm>
                <a:off x="7232650" y="903288"/>
                <a:ext cx="49213" cy="82550"/>
              </a:xfrm>
              <a:custGeom>
                <a:avLst/>
                <a:gdLst>
                  <a:gd name="T0" fmla="*/ 23 w 31"/>
                  <a:gd name="T1" fmla="*/ 0 h 52"/>
                  <a:gd name="T2" fmla="*/ 27 w 31"/>
                  <a:gd name="T3" fmla="*/ 1 h 52"/>
                  <a:gd name="T4" fmla="*/ 29 w 31"/>
                  <a:gd name="T5" fmla="*/ 4 h 52"/>
                  <a:gd name="T6" fmla="*/ 31 w 31"/>
                  <a:gd name="T7" fmla="*/ 6 h 52"/>
                  <a:gd name="T8" fmla="*/ 31 w 31"/>
                  <a:gd name="T9" fmla="*/ 10 h 52"/>
                  <a:gd name="T10" fmla="*/ 31 w 31"/>
                  <a:gd name="T11" fmla="*/ 13 h 52"/>
                  <a:gd name="T12" fmla="*/ 17 w 31"/>
                  <a:gd name="T13" fmla="*/ 47 h 52"/>
                  <a:gd name="T14" fmla="*/ 16 w 31"/>
                  <a:gd name="T15" fmla="*/ 50 h 52"/>
                  <a:gd name="T16" fmla="*/ 12 w 31"/>
                  <a:gd name="T17" fmla="*/ 52 h 52"/>
                  <a:gd name="T18" fmla="*/ 10 w 31"/>
                  <a:gd name="T19" fmla="*/ 52 h 52"/>
                  <a:gd name="T20" fmla="*/ 6 w 31"/>
                  <a:gd name="T21" fmla="*/ 52 h 52"/>
                  <a:gd name="T22" fmla="*/ 3 w 31"/>
                  <a:gd name="T23" fmla="*/ 50 h 52"/>
                  <a:gd name="T24" fmla="*/ 1 w 31"/>
                  <a:gd name="T25" fmla="*/ 47 h 52"/>
                  <a:gd name="T26" fmla="*/ 0 w 31"/>
                  <a:gd name="T27" fmla="*/ 44 h 52"/>
                  <a:gd name="T28" fmla="*/ 1 w 31"/>
                  <a:gd name="T29" fmla="*/ 40 h 52"/>
                  <a:gd name="T30" fmla="*/ 15 w 31"/>
                  <a:gd name="T31" fmla="*/ 6 h 52"/>
                  <a:gd name="T32" fmla="*/ 17 w 31"/>
                  <a:gd name="T33" fmla="*/ 3 h 52"/>
                  <a:gd name="T34" fmla="*/ 19 w 31"/>
                  <a:gd name="T35" fmla="*/ 1 h 52"/>
                  <a:gd name="T36" fmla="*/ 23 w 31"/>
                  <a:gd name="T3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52">
                    <a:moveTo>
                      <a:pt x="23" y="0"/>
                    </a:moveTo>
                    <a:lnTo>
                      <a:pt x="27" y="1"/>
                    </a:lnTo>
                    <a:lnTo>
                      <a:pt x="29" y="4"/>
                    </a:lnTo>
                    <a:lnTo>
                      <a:pt x="31" y="6"/>
                    </a:lnTo>
                    <a:lnTo>
                      <a:pt x="31" y="10"/>
                    </a:lnTo>
                    <a:lnTo>
                      <a:pt x="31" y="13"/>
                    </a:lnTo>
                    <a:lnTo>
                      <a:pt x="17" y="47"/>
                    </a:lnTo>
                    <a:lnTo>
                      <a:pt x="16" y="50"/>
                    </a:lnTo>
                    <a:lnTo>
                      <a:pt x="12" y="52"/>
                    </a:lnTo>
                    <a:lnTo>
                      <a:pt x="10" y="52"/>
                    </a:lnTo>
                    <a:lnTo>
                      <a:pt x="6" y="52"/>
                    </a:lnTo>
                    <a:lnTo>
                      <a:pt x="3" y="50"/>
                    </a:lnTo>
                    <a:lnTo>
                      <a:pt x="1" y="47"/>
                    </a:lnTo>
                    <a:lnTo>
                      <a:pt x="0" y="44"/>
                    </a:lnTo>
                    <a:lnTo>
                      <a:pt x="1" y="40"/>
                    </a:lnTo>
                    <a:lnTo>
                      <a:pt x="15" y="6"/>
                    </a:lnTo>
                    <a:lnTo>
                      <a:pt x="17" y="3"/>
                    </a:lnTo>
                    <a:lnTo>
                      <a:pt x="19" y="1"/>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89" name="Freeform 46"/>
              <p:cNvSpPr>
                <a:spLocks/>
              </p:cNvSpPr>
              <p:nvPr/>
            </p:nvSpPr>
            <p:spPr bwMode="auto">
              <a:xfrm>
                <a:off x="7332663" y="1038225"/>
                <a:ext cx="74613" cy="47625"/>
              </a:xfrm>
              <a:custGeom>
                <a:avLst/>
                <a:gdLst>
                  <a:gd name="T0" fmla="*/ 37 w 47"/>
                  <a:gd name="T1" fmla="*/ 0 h 30"/>
                  <a:gd name="T2" fmla="*/ 41 w 47"/>
                  <a:gd name="T3" fmla="*/ 1 h 30"/>
                  <a:gd name="T4" fmla="*/ 43 w 47"/>
                  <a:gd name="T5" fmla="*/ 3 h 30"/>
                  <a:gd name="T6" fmla="*/ 46 w 47"/>
                  <a:gd name="T7" fmla="*/ 6 h 30"/>
                  <a:gd name="T8" fmla="*/ 47 w 47"/>
                  <a:gd name="T9" fmla="*/ 9 h 30"/>
                  <a:gd name="T10" fmla="*/ 46 w 47"/>
                  <a:gd name="T11" fmla="*/ 13 h 30"/>
                  <a:gd name="T12" fmla="*/ 43 w 47"/>
                  <a:gd name="T13" fmla="*/ 15 h 30"/>
                  <a:gd name="T14" fmla="*/ 41 w 47"/>
                  <a:gd name="T15" fmla="*/ 18 h 30"/>
                  <a:gd name="T16" fmla="*/ 12 w 47"/>
                  <a:gd name="T17" fmla="*/ 29 h 30"/>
                  <a:gd name="T18" fmla="*/ 8 w 47"/>
                  <a:gd name="T19" fmla="*/ 30 h 30"/>
                  <a:gd name="T20" fmla="*/ 6 w 47"/>
                  <a:gd name="T21" fmla="*/ 29 h 30"/>
                  <a:gd name="T22" fmla="*/ 2 w 47"/>
                  <a:gd name="T23" fmla="*/ 27 h 30"/>
                  <a:gd name="T24" fmla="*/ 1 w 47"/>
                  <a:gd name="T25" fmla="*/ 24 h 30"/>
                  <a:gd name="T26" fmla="*/ 0 w 47"/>
                  <a:gd name="T27" fmla="*/ 21 h 30"/>
                  <a:gd name="T28" fmla="*/ 1 w 47"/>
                  <a:gd name="T29" fmla="*/ 18 h 30"/>
                  <a:gd name="T30" fmla="*/ 2 w 47"/>
                  <a:gd name="T31" fmla="*/ 14 h 30"/>
                  <a:gd name="T32" fmla="*/ 6 w 47"/>
                  <a:gd name="T33" fmla="*/ 13 h 30"/>
                  <a:gd name="T34" fmla="*/ 34 w 47"/>
                  <a:gd name="T35" fmla="*/ 1 h 30"/>
                  <a:gd name="T36" fmla="*/ 37 w 47"/>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0">
                    <a:moveTo>
                      <a:pt x="37" y="0"/>
                    </a:moveTo>
                    <a:lnTo>
                      <a:pt x="41" y="1"/>
                    </a:lnTo>
                    <a:lnTo>
                      <a:pt x="43" y="3"/>
                    </a:lnTo>
                    <a:lnTo>
                      <a:pt x="46" y="6"/>
                    </a:lnTo>
                    <a:lnTo>
                      <a:pt x="47" y="9"/>
                    </a:lnTo>
                    <a:lnTo>
                      <a:pt x="46" y="13"/>
                    </a:lnTo>
                    <a:lnTo>
                      <a:pt x="43" y="15"/>
                    </a:lnTo>
                    <a:lnTo>
                      <a:pt x="41" y="18"/>
                    </a:lnTo>
                    <a:lnTo>
                      <a:pt x="12" y="29"/>
                    </a:lnTo>
                    <a:lnTo>
                      <a:pt x="8" y="30"/>
                    </a:lnTo>
                    <a:lnTo>
                      <a:pt x="6" y="29"/>
                    </a:lnTo>
                    <a:lnTo>
                      <a:pt x="2" y="27"/>
                    </a:lnTo>
                    <a:lnTo>
                      <a:pt x="1" y="24"/>
                    </a:lnTo>
                    <a:lnTo>
                      <a:pt x="0" y="21"/>
                    </a:lnTo>
                    <a:lnTo>
                      <a:pt x="1" y="18"/>
                    </a:lnTo>
                    <a:lnTo>
                      <a:pt x="2" y="14"/>
                    </a:lnTo>
                    <a:lnTo>
                      <a:pt x="6" y="13"/>
                    </a:lnTo>
                    <a:lnTo>
                      <a:pt x="34"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90" name="Freeform 47"/>
              <p:cNvSpPr>
                <a:spLocks/>
              </p:cNvSpPr>
              <p:nvPr/>
            </p:nvSpPr>
            <p:spPr bwMode="auto">
              <a:xfrm>
                <a:off x="6946900" y="1198563"/>
                <a:ext cx="74613" cy="46038"/>
              </a:xfrm>
              <a:custGeom>
                <a:avLst/>
                <a:gdLst>
                  <a:gd name="T0" fmla="*/ 38 w 47"/>
                  <a:gd name="T1" fmla="*/ 0 h 29"/>
                  <a:gd name="T2" fmla="*/ 41 w 47"/>
                  <a:gd name="T3" fmla="*/ 0 h 29"/>
                  <a:gd name="T4" fmla="*/ 44 w 47"/>
                  <a:gd name="T5" fmla="*/ 2 h 29"/>
                  <a:gd name="T6" fmla="*/ 46 w 47"/>
                  <a:gd name="T7" fmla="*/ 5 h 29"/>
                  <a:gd name="T8" fmla="*/ 47 w 47"/>
                  <a:gd name="T9" fmla="*/ 8 h 29"/>
                  <a:gd name="T10" fmla="*/ 46 w 47"/>
                  <a:gd name="T11" fmla="*/ 12 h 29"/>
                  <a:gd name="T12" fmla="*/ 45 w 47"/>
                  <a:gd name="T13" fmla="*/ 14 h 29"/>
                  <a:gd name="T14" fmla="*/ 41 w 47"/>
                  <a:gd name="T15" fmla="*/ 17 h 29"/>
                  <a:gd name="T16" fmla="*/ 13 w 47"/>
                  <a:gd name="T17" fmla="*/ 29 h 29"/>
                  <a:gd name="T18" fmla="*/ 9 w 47"/>
                  <a:gd name="T19" fmla="*/ 29 h 29"/>
                  <a:gd name="T20" fmla="*/ 6 w 47"/>
                  <a:gd name="T21" fmla="*/ 29 h 29"/>
                  <a:gd name="T22" fmla="*/ 3 w 47"/>
                  <a:gd name="T23" fmla="*/ 26 h 29"/>
                  <a:gd name="T24" fmla="*/ 2 w 47"/>
                  <a:gd name="T25" fmla="*/ 24 h 29"/>
                  <a:gd name="T26" fmla="*/ 0 w 47"/>
                  <a:gd name="T27" fmla="*/ 20 h 29"/>
                  <a:gd name="T28" fmla="*/ 2 w 47"/>
                  <a:gd name="T29" fmla="*/ 17 h 29"/>
                  <a:gd name="T30" fmla="*/ 3 w 47"/>
                  <a:gd name="T31" fmla="*/ 14 h 29"/>
                  <a:gd name="T32" fmla="*/ 6 w 47"/>
                  <a:gd name="T33" fmla="*/ 12 h 29"/>
                  <a:gd name="T34" fmla="*/ 34 w 47"/>
                  <a:gd name="T35" fmla="*/ 0 h 29"/>
                  <a:gd name="T36" fmla="*/ 38 w 47"/>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29">
                    <a:moveTo>
                      <a:pt x="38" y="0"/>
                    </a:moveTo>
                    <a:lnTo>
                      <a:pt x="41" y="0"/>
                    </a:lnTo>
                    <a:lnTo>
                      <a:pt x="44" y="2"/>
                    </a:lnTo>
                    <a:lnTo>
                      <a:pt x="46" y="5"/>
                    </a:lnTo>
                    <a:lnTo>
                      <a:pt x="47" y="8"/>
                    </a:lnTo>
                    <a:lnTo>
                      <a:pt x="46" y="12"/>
                    </a:lnTo>
                    <a:lnTo>
                      <a:pt x="45" y="14"/>
                    </a:lnTo>
                    <a:lnTo>
                      <a:pt x="41" y="17"/>
                    </a:lnTo>
                    <a:lnTo>
                      <a:pt x="13" y="29"/>
                    </a:lnTo>
                    <a:lnTo>
                      <a:pt x="9" y="29"/>
                    </a:lnTo>
                    <a:lnTo>
                      <a:pt x="6" y="29"/>
                    </a:lnTo>
                    <a:lnTo>
                      <a:pt x="3" y="26"/>
                    </a:lnTo>
                    <a:lnTo>
                      <a:pt x="2" y="24"/>
                    </a:lnTo>
                    <a:lnTo>
                      <a:pt x="0" y="20"/>
                    </a:lnTo>
                    <a:lnTo>
                      <a:pt x="2" y="17"/>
                    </a:lnTo>
                    <a:lnTo>
                      <a:pt x="3" y="14"/>
                    </a:lnTo>
                    <a:lnTo>
                      <a:pt x="6" y="12"/>
                    </a:lnTo>
                    <a:lnTo>
                      <a:pt x="34" y="0"/>
                    </a:lnTo>
                    <a:lnTo>
                      <a:pt x="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91" name="Freeform 48"/>
              <p:cNvSpPr>
                <a:spLocks/>
              </p:cNvSpPr>
              <p:nvPr/>
            </p:nvSpPr>
            <p:spPr bwMode="auto">
              <a:xfrm>
                <a:off x="6940550" y="1035050"/>
                <a:ext cx="80963" cy="50800"/>
              </a:xfrm>
              <a:custGeom>
                <a:avLst/>
                <a:gdLst>
                  <a:gd name="T0" fmla="*/ 8 w 51"/>
                  <a:gd name="T1" fmla="*/ 0 h 32"/>
                  <a:gd name="T2" fmla="*/ 12 w 51"/>
                  <a:gd name="T3" fmla="*/ 0 h 32"/>
                  <a:gd name="T4" fmla="*/ 45 w 51"/>
                  <a:gd name="T5" fmla="*/ 15 h 32"/>
                  <a:gd name="T6" fmla="*/ 49 w 51"/>
                  <a:gd name="T7" fmla="*/ 16 h 32"/>
                  <a:gd name="T8" fmla="*/ 50 w 51"/>
                  <a:gd name="T9" fmla="*/ 20 h 32"/>
                  <a:gd name="T10" fmla="*/ 51 w 51"/>
                  <a:gd name="T11" fmla="*/ 23 h 32"/>
                  <a:gd name="T12" fmla="*/ 50 w 51"/>
                  <a:gd name="T13" fmla="*/ 26 h 32"/>
                  <a:gd name="T14" fmla="*/ 48 w 51"/>
                  <a:gd name="T15" fmla="*/ 29 h 32"/>
                  <a:gd name="T16" fmla="*/ 45 w 51"/>
                  <a:gd name="T17" fmla="*/ 31 h 32"/>
                  <a:gd name="T18" fmla="*/ 42 w 51"/>
                  <a:gd name="T19" fmla="*/ 32 h 32"/>
                  <a:gd name="T20" fmla="*/ 38 w 51"/>
                  <a:gd name="T21" fmla="*/ 31 h 32"/>
                  <a:gd name="T22" fmla="*/ 4 w 51"/>
                  <a:gd name="T23" fmla="*/ 17 h 32"/>
                  <a:gd name="T24" fmla="*/ 2 w 51"/>
                  <a:gd name="T25" fmla="*/ 15 h 32"/>
                  <a:gd name="T26" fmla="*/ 0 w 51"/>
                  <a:gd name="T27" fmla="*/ 13 h 32"/>
                  <a:gd name="T28" fmla="*/ 0 w 51"/>
                  <a:gd name="T29" fmla="*/ 9 h 32"/>
                  <a:gd name="T30" fmla="*/ 0 w 51"/>
                  <a:gd name="T31" fmla="*/ 5 h 32"/>
                  <a:gd name="T32" fmla="*/ 2 w 51"/>
                  <a:gd name="T33" fmla="*/ 3 h 32"/>
                  <a:gd name="T34" fmla="*/ 4 w 51"/>
                  <a:gd name="T35" fmla="*/ 0 h 32"/>
                  <a:gd name="T36" fmla="*/ 8 w 51"/>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32">
                    <a:moveTo>
                      <a:pt x="8" y="0"/>
                    </a:moveTo>
                    <a:lnTo>
                      <a:pt x="12" y="0"/>
                    </a:lnTo>
                    <a:lnTo>
                      <a:pt x="45" y="15"/>
                    </a:lnTo>
                    <a:lnTo>
                      <a:pt x="49" y="16"/>
                    </a:lnTo>
                    <a:lnTo>
                      <a:pt x="50" y="20"/>
                    </a:lnTo>
                    <a:lnTo>
                      <a:pt x="51" y="23"/>
                    </a:lnTo>
                    <a:lnTo>
                      <a:pt x="50" y="26"/>
                    </a:lnTo>
                    <a:lnTo>
                      <a:pt x="48" y="29"/>
                    </a:lnTo>
                    <a:lnTo>
                      <a:pt x="45" y="31"/>
                    </a:lnTo>
                    <a:lnTo>
                      <a:pt x="42" y="32"/>
                    </a:lnTo>
                    <a:lnTo>
                      <a:pt x="38" y="31"/>
                    </a:lnTo>
                    <a:lnTo>
                      <a:pt x="4" y="17"/>
                    </a:lnTo>
                    <a:lnTo>
                      <a:pt x="2" y="15"/>
                    </a:lnTo>
                    <a:lnTo>
                      <a:pt x="0" y="13"/>
                    </a:lnTo>
                    <a:lnTo>
                      <a:pt x="0" y="9"/>
                    </a:lnTo>
                    <a:lnTo>
                      <a:pt x="0" y="5"/>
                    </a:lnTo>
                    <a:lnTo>
                      <a:pt x="2" y="3"/>
                    </a:lnTo>
                    <a:lnTo>
                      <a:pt x="4"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sp>
            <p:nvSpPr>
              <p:cNvPr id="92" name="Freeform 49"/>
              <p:cNvSpPr>
                <a:spLocks/>
              </p:cNvSpPr>
              <p:nvPr/>
            </p:nvSpPr>
            <p:spPr bwMode="auto">
              <a:xfrm>
                <a:off x="7332663" y="1198563"/>
                <a:ext cx="82550" cy="49213"/>
              </a:xfrm>
              <a:custGeom>
                <a:avLst/>
                <a:gdLst>
                  <a:gd name="T0" fmla="*/ 8 w 52"/>
                  <a:gd name="T1" fmla="*/ 0 h 31"/>
                  <a:gd name="T2" fmla="*/ 12 w 52"/>
                  <a:gd name="T3" fmla="*/ 0 h 31"/>
                  <a:gd name="T4" fmla="*/ 46 w 52"/>
                  <a:gd name="T5" fmla="*/ 14 h 31"/>
                  <a:gd name="T6" fmla="*/ 49 w 52"/>
                  <a:gd name="T7" fmla="*/ 16 h 31"/>
                  <a:gd name="T8" fmla="*/ 51 w 52"/>
                  <a:gd name="T9" fmla="*/ 19 h 31"/>
                  <a:gd name="T10" fmla="*/ 52 w 52"/>
                  <a:gd name="T11" fmla="*/ 23 h 31"/>
                  <a:gd name="T12" fmla="*/ 51 w 52"/>
                  <a:gd name="T13" fmla="*/ 25 h 31"/>
                  <a:gd name="T14" fmla="*/ 49 w 52"/>
                  <a:gd name="T15" fmla="*/ 29 h 31"/>
                  <a:gd name="T16" fmla="*/ 46 w 52"/>
                  <a:gd name="T17" fmla="*/ 30 h 31"/>
                  <a:gd name="T18" fmla="*/ 42 w 52"/>
                  <a:gd name="T19" fmla="*/ 31 h 31"/>
                  <a:gd name="T20" fmla="*/ 40 w 52"/>
                  <a:gd name="T21" fmla="*/ 30 h 31"/>
                  <a:gd name="T22" fmla="*/ 6 w 52"/>
                  <a:gd name="T23" fmla="*/ 17 h 31"/>
                  <a:gd name="T24" fmla="*/ 2 w 52"/>
                  <a:gd name="T25" fmla="*/ 14 h 31"/>
                  <a:gd name="T26" fmla="*/ 1 w 52"/>
                  <a:gd name="T27" fmla="*/ 12 h 31"/>
                  <a:gd name="T28" fmla="*/ 0 w 52"/>
                  <a:gd name="T29" fmla="*/ 8 h 31"/>
                  <a:gd name="T30" fmla="*/ 1 w 52"/>
                  <a:gd name="T31" fmla="*/ 5 h 31"/>
                  <a:gd name="T32" fmla="*/ 2 w 52"/>
                  <a:gd name="T33" fmla="*/ 2 h 31"/>
                  <a:gd name="T34" fmla="*/ 6 w 52"/>
                  <a:gd name="T35" fmla="*/ 0 h 31"/>
                  <a:gd name="T36" fmla="*/ 8 w 52"/>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31">
                    <a:moveTo>
                      <a:pt x="8" y="0"/>
                    </a:moveTo>
                    <a:lnTo>
                      <a:pt x="12" y="0"/>
                    </a:lnTo>
                    <a:lnTo>
                      <a:pt x="46" y="14"/>
                    </a:lnTo>
                    <a:lnTo>
                      <a:pt x="49" y="16"/>
                    </a:lnTo>
                    <a:lnTo>
                      <a:pt x="51" y="19"/>
                    </a:lnTo>
                    <a:lnTo>
                      <a:pt x="52" y="23"/>
                    </a:lnTo>
                    <a:lnTo>
                      <a:pt x="51" y="25"/>
                    </a:lnTo>
                    <a:lnTo>
                      <a:pt x="49" y="29"/>
                    </a:lnTo>
                    <a:lnTo>
                      <a:pt x="46" y="30"/>
                    </a:lnTo>
                    <a:lnTo>
                      <a:pt x="42" y="31"/>
                    </a:lnTo>
                    <a:lnTo>
                      <a:pt x="40" y="30"/>
                    </a:lnTo>
                    <a:lnTo>
                      <a:pt x="6" y="17"/>
                    </a:lnTo>
                    <a:lnTo>
                      <a:pt x="2" y="14"/>
                    </a:lnTo>
                    <a:lnTo>
                      <a:pt x="1" y="12"/>
                    </a:lnTo>
                    <a:lnTo>
                      <a:pt x="0" y="8"/>
                    </a:lnTo>
                    <a:lnTo>
                      <a:pt x="1" y="5"/>
                    </a:lnTo>
                    <a:lnTo>
                      <a:pt x="2" y="2"/>
                    </a:lnTo>
                    <a:lnTo>
                      <a:pt x="6"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grpSp>
      </p:grpSp>
      <p:grpSp>
        <p:nvGrpSpPr>
          <p:cNvPr id="93" name="Grupo 44"/>
          <p:cNvGrpSpPr/>
          <p:nvPr/>
        </p:nvGrpSpPr>
        <p:grpSpPr>
          <a:xfrm>
            <a:off x="4667987" y="4961764"/>
            <a:ext cx="727471" cy="705146"/>
            <a:chOff x="4498976" y="2637366"/>
            <a:chExt cx="895349" cy="895349"/>
          </a:xfrm>
        </p:grpSpPr>
        <p:sp>
          <p:nvSpPr>
            <p:cNvPr id="94" name="Elipse 93"/>
            <p:cNvSpPr/>
            <p:nvPr/>
          </p:nvSpPr>
          <p:spPr>
            <a:xfrm>
              <a:off x="4498976" y="2637366"/>
              <a:ext cx="895349" cy="895349"/>
            </a:xfrm>
            <a:prstGeom prst="ellipse">
              <a:avLst/>
            </a:prstGeom>
            <a:solidFill>
              <a:srgbClr val="BD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24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sp>
          <p:nvSpPr>
            <p:cNvPr id="95" name="Freeform 6977"/>
            <p:cNvSpPr>
              <a:spLocks noEditPoints="1"/>
            </p:cNvSpPr>
            <p:nvPr/>
          </p:nvSpPr>
          <p:spPr bwMode="auto">
            <a:xfrm>
              <a:off x="4722889" y="2861279"/>
              <a:ext cx="447523" cy="447523"/>
            </a:xfrm>
            <a:custGeom>
              <a:avLst/>
              <a:gdLst>
                <a:gd name="T0" fmla="*/ 120 w 302"/>
                <a:gd name="T1" fmla="*/ 150 h 302"/>
                <a:gd name="T2" fmla="*/ 165 w 302"/>
                <a:gd name="T3" fmla="*/ 177 h 302"/>
                <a:gd name="T4" fmla="*/ 165 w 302"/>
                <a:gd name="T5" fmla="*/ 125 h 302"/>
                <a:gd name="T6" fmla="*/ 191 w 302"/>
                <a:gd name="T7" fmla="*/ 111 h 302"/>
                <a:gd name="T8" fmla="*/ 191 w 302"/>
                <a:gd name="T9" fmla="*/ 191 h 302"/>
                <a:gd name="T10" fmla="*/ 111 w 302"/>
                <a:gd name="T11" fmla="*/ 191 h 302"/>
                <a:gd name="T12" fmla="*/ 111 w 302"/>
                <a:gd name="T13" fmla="*/ 111 h 302"/>
                <a:gd name="T14" fmla="*/ 138 w 302"/>
                <a:gd name="T15" fmla="*/ 43 h 302"/>
                <a:gd name="T16" fmla="*/ 126 w 302"/>
                <a:gd name="T17" fmla="*/ 65 h 302"/>
                <a:gd name="T18" fmla="*/ 102 w 302"/>
                <a:gd name="T19" fmla="*/ 74 h 302"/>
                <a:gd name="T20" fmla="*/ 71 w 302"/>
                <a:gd name="T21" fmla="*/ 53 h 302"/>
                <a:gd name="T22" fmla="*/ 72 w 302"/>
                <a:gd name="T23" fmla="*/ 102 h 302"/>
                <a:gd name="T24" fmla="*/ 60 w 302"/>
                <a:gd name="T25" fmla="*/ 131 h 302"/>
                <a:gd name="T26" fmla="*/ 26 w 302"/>
                <a:gd name="T27" fmla="*/ 138 h 302"/>
                <a:gd name="T28" fmla="*/ 62 w 302"/>
                <a:gd name="T29" fmla="*/ 171 h 302"/>
                <a:gd name="T30" fmla="*/ 71 w 302"/>
                <a:gd name="T31" fmla="*/ 209 h 302"/>
                <a:gd name="T32" fmla="*/ 83 w 302"/>
                <a:gd name="T33" fmla="*/ 236 h 302"/>
                <a:gd name="T34" fmla="*/ 122 w 302"/>
                <a:gd name="T35" fmla="*/ 234 h 302"/>
                <a:gd name="T36" fmla="*/ 137 w 302"/>
                <a:gd name="T37" fmla="*/ 252 h 302"/>
                <a:gd name="T38" fmla="*/ 164 w 302"/>
                <a:gd name="T39" fmla="*/ 258 h 302"/>
                <a:gd name="T40" fmla="*/ 174 w 302"/>
                <a:gd name="T41" fmla="*/ 237 h 302"/>
                <a:gd name="T42" fmla="*/ 200 w 302"/>
                <a:gd name="T43" fmla="*/ 228 h 302"/>
                <a:gd name="T44" fmla="*/ 230 w 302"/>
                <a:gd name="T45" fmla="*/ 248 h 302"/>
                <a:gd name="T46" fmla="*/ 228 w 302"/>
                <a:gd name="T47" fmla="*/ 198 h 302"/>
                <a:gd name="T48" fmla="*/ 240 w 302"/>
                <a:gd name="T49" fmla="*/ 170 h 302"/>
                <a:gd name="T50" fmla="*/ 275 w 302"/>
                <a:gd name="T51" fmla="*/ 164 h 302"/>
                <a:gd name="T52" fmla="*/ 239 w 302"/>
                <a:gd name="T53" fmla="*/ 129 h 302"/>
                <a:gd name="T54" fmla="*/ 230 w 302"/>
                <a:gd name="T55" fmla="*/ 92 h 302"/>
                <a:gd name="T56" fmla="*/ 218 w 302"/>
                <a:gd name="T57" fmla="*/ 66 h 302"/>
                <a:gd name="T58" fmla="*/ 180 w 302"/>
                <a:gd name="T59" fmla="*/ 66 h 302"/>
                <a:gd name="T60" fmla="*/ 164 w 302"/>
                <a:gd name="T61" fmla="*/ 50 h 302"/>
                <a:gd name="T62" fmla="*/ 134 w 302"/>
                <a:gd name="T63" fmla="*/ 0 h 302"/>
                <a:gd name="T64" fmla="*/ 185 w 302"/>
                <a:gd name="T65" fmla="*/ 9 h 302"/>
                <a:gd name="T66" fmla="*/ 200 w 302"/>
                <a:gd name="T67" fmla="*/ 47 h 302"/>
                <a:gd name="T68" fmla="*/ 230 w 302"/>
                <a:gd name="T69" fmla="*/ 25 h 302"/>
                <a:gd name="T70" fmla="*/ 269 w 302"/>
                <a:gd name="T71" fmla="*/ 56 h 302"/>
                <a:gd name="T72" fmla="*/ 275 w 302"/>
                <a:gd name="T73" fmla="*/ 77 h 302"/>
                <a:gd name="T74" fmla="*/ 258 w 302"/>
                <a:gd name="T75" fmla="*/ 111 h 302"/>
                <a:gd name="T76" fmla="*/ 297 w 302"/>
                <a:gd name="T77" fmla="*/ 122 h 302"/>
                <a:gd name="T78" fmla="*/ 300 w 302"/>
                <a:gd name="T79" fmla="*/ 174 h 302"/>
                <a:gd name="T80" fmla="*/ 279 w 302"/>
                <a:gd name="T81" fmla="*/ 189 h 302"/>
                <a:gd name="T82" fmla="*/ 272 w 302"/>
                <a:gd name="T83" fmla="*/ 219 h 302"/>
                <a:gd name="T84" fmla="*/ 272 w 302"/>
                <a:gd name="T85" fmla="*/ 242 h 302"/>
                <a:gd name="T86" fmla="*/ 224 w 302"/>
                <a:gd name="T87" fmla="*/ 275 h 302"/>
                <a:gd name="T88" fmla="*/ 189 w 302"/>
                <a:gd name="T89" fmla="*/ 279 h 302"/>
                <a:gd name="T90" fmla="*/ 174 w 302"/>
                <a:gd name="T91" fmla="*/ 300 h 302"/>
                <a:gd name="T92" fmla="*/ 122 w 302"/>
                <a:gd name="T93" fmla="*/ 297 h 302"/>
                <a:gd name="T94" fmla="*/ 113 w 302"/>
                <a:gd name="T95" fmla="*/ 258 h 302"/>
                <a:gd name="T96" fmla="*/ 65 w 302"/>
                <a:gd name="T97" fmla="*/ 275 h 302"/>
                <a:gd name="T98" fmla="*/ 27 w 302"/>
                <a:gd name="T99" fmla="*/ 236 h 302"/>
                <a:gd name="T100" fmla="*/ 32 w 302"/>
                <a:gd name="T101" fmla="*/ 215 h 302"/>
                <a:gd name="T102" fmla="*/ 15 w 302"/>
                <a:gd name="T103" fmla="*/ 188 h 302"/>
                <a:gd name="T104" fmla="*/ 0 w 302"/>
                <a:gd name="T105" fmla="*/ 167 h 302"/>
                <a:gd name="T106" fmla="*/ 9 w 302"/>
                <a:gd name="T107" fmla="*/ 117 h 302"/>
                <a:gd name="T108" fmla="*/ 47 w 302"/>
                <a:gd name="T109" fmla="*/ 102 h 302"/>
                <a:gd name="T110" fmla="*/ 26 w 302"/>
                <a:gd name="T111" fmla="*/ 71 h 302"/>
                <a:gd name="T112" fmla="*/ 56 w 302"/>
                <a:gd name="T113" fmla="*/ 33 h 302"/>
                <a:gd name="T114" fmla="*/ 102 w 302"/>
                <a:gd name="T115" fmla="*/ 48 h 302"/>
                <a:gd name="T116" fmla="*/ 116 w 302"/>
                <a:gd name="T117" fmla="*/ 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 h="302">
                  <a:moveTo>
                    <a:pt x="150" y="120"/>
                  </a:moveTo>
                  <a:lnTo>
                    <a:pt x="135" y="125"/>
                  </a:lnTo>
                  <a:lnTo>
                    <a:pt x="125" y="135"/>
                  </a:lnTo>
                  <a:lnTo>
                    <a:pt x="120" y="150"/>
                  </a:lnTo>
                  <a:lnTo>
                    <a:pt x="125" y="167"/>
                  </a:lnTo>
                  <a:lnTo>
                    <a:pt x="135" y="177"/>
                  </a:lnTo>
                  <a:lnTo>
                    <a:pt x="150" y="182"/>
                  </a:lnTo>
                  <a:lnTo>
                    <a:pt x="165" y="177"/>
                  </a:lnTo>
                  <a:lnTo>
                    <a:pt x="177" y="167"/>
                  </a:lnTo>
                  <a:lnTo>
                    <a:pt x="182" y="150"/>
                  </a:lnTo>
                  <a:lnTo>
                    <a:pt x="177" y="135"/>
                  </a:lnTo>
                  <a:lnTo>
                    <a:pt x="165" y="125"/>
                  </a:lnTo>
                  <a:lnTo>
                    <a:pt x="150" y="120"/>
                  </a:lnTo>
                  <a:close/>
                  <a:moveTo>
                    <a:pt x="150" y="95"/>
                  </a:moveTo>
                  <a:lnTo>
                    <a:pt x="173" y="99"/>
                  </a:lnTo>
                  <a:lnTo>
                    <a:pt x="191" y="111"/>
                  </a:lnTo>
                  <a:lnTo>
                    <a:pt x="203" y="129"/>
                  </a:lnTo>
                  <a:lnTo>
                    <a:pt x="207" y="150"/>
                  </a:lnTo>
                  <a:lnTo>
                    <a:pt x="203" y="173"/>
                  </a:lnTo>
                  <a:lnTo>
                    <a:pt x="191" y="191"/>
                  </a:lnTo>
                  <a:lnTo>
                    <a:pt x="173" y="203"/>
                  </a:lnTo>
                  <a:lnTo>
                    <a:pt x="150" y="207"/>
                  </a:lnTo>
                  <a:lnTo>
                    <a:pt x="129" y="203"/>
                  </a:lnTo>
                  <a:lnTo>
                    <a:pt x="111" y="191"/>
                  </a:lnTo>
                  <a:lnTo>
                    <a:pt x="99" y="173"/>
                  </a:lnTo>
                  <a:lnTo>
                    <a:pt x="95" y="150"/>
                  </a:lnTo>
                  <a:lnTo>
                    <a:pt x="99" y="129"/>
                  </a:lnTo>
                  <a:lnTo>
                    <a:pt x="111" y="111"/>
                  </a:lnTo>
                  <a:lnTo>
                    <a:pt x="129" y="99"/>
                  </a:lnTo>
                  <a:lnTo>
                    <a:pt x="150" y="95"/>
                  </a:lnTo>
                  <a:close/>
                  <a:moveTo>
                    <a:pt x="138" y="25"/>
                  </a:moveTo>
                  <a:lnTo>
                    <a:pt x="138" y="43"/>
                  </a:lnTo>
                  <a:lnTo>
                    <a:pt x="137" y="50"/>
                  </a:lnTo>
                  <a:lnTo>
                    <a:pt x="135" y="56"/>
                  </a:lnTo>
                  <a:lnTo>
                    <a:pt x="131" y="60"/>
                  </a:lnTo>
                  <a:lnTo>
                    <a:pt x="126" y="65"/>
                  </a:lnTo>
                  <a:lnTo>
                    <a:pt x="120" y="68"/>
                  </a:lnTo>
                  <a:lnTo>
                    <a:pt x="111" y="71"/>
                  </a:lnTo>
                  <a:lnTo>
                    <a:pt x="107" y="72"/>
                  </a:lnTo>
                  <a:lnTo>
                    <a:pt x="102" y="74"/>
                  </a:lnTo>
                  <a:lnTo>
                    <a:pt x="95" y="72"/>
                  </a:lnTo>
                  <a:lnTo>
                    <a:pt x="89" y="69"/>
                  </a:lnTo>
                  <a:lnTo>
                    <a:pt x="83" y="66"/>
                  </a:lnTo>
                  <a:lnTo>
                    <a:pt x="71" y="53"/>
                  </a:lnTo>
                  <a:lnTo>
                    <a:pt x="53" y="71"/>
                  </a:lnTo>
                  <a:lnTo>
                    <a:pt x="66" y="84"/>
                  </a:lnTo>
                  <a:lnTo>
                    <a:pt x="71" y="92"/>
                  </a:lnTo>
                  <a:lnTo>
                    <a:pt x="72" y="102"/>
                  </a:lnTo>
                  <a:lnTo>
                    <a:pt x="71" y="113"/>
                  </a:lnTo>
                  <a:lnTo>
                    <a:pt x="66" y="122"/>
                  </a:lnTo>
                  <a:lnTo>
                    <a:pt x="65" y="126"/>
                  </a:lnTo>
                  <a:lnTo>
                    <a:pt x="60" y="131"/>
                  </a:lnTo>
                  <a:lnTo>
                    <a:pt x="54" y="135"/>
                  </a:lnTo>
                  <a:lnTo>
                    <a:pt x="50" y="137"/>
                  </a:lnTo>
                  <a:lnTo>
                    <a:pt x="44" y="138"/>
                  </a:lnTo>
                  <a:lnTo>
                    <a:pt x="26" y="138"/>
                  </a:lnTo>
                  <a:lnTo>
                    <a:pt x="26" y="164"/>
                  </a:lnTo>
                  <a:lnTo>
                    <a:pt x="44" y="164"/>
                  </a:lnTo>
                  <a:lnTo>
                    <a:pt x="53" y="165"/>
                  </a:lnTo>
                  <a:lnTo>
                    <a:pt x="62" y="171"/>
                  </a:lnTo>
                  <a:lnTo>
                    <a:pt x="68" y="180"/>
                  </a:lnTo>
                  <a:lnTo>
                    <a:pt x="71" y="189"/>
                  </a:lnTo>
                  <a:lnTo>
                    <a:pt x="72" y="198"/>
                  </a:lnTo>
                  <a:lnTo>
                    <a:pt x="71" y="209"/>
                  </a:lnTo>
                  <a:lnTo>
                    <a:pt x="66" y="218"/>
                  </a:lnTo>
                  <a:lnTo>
                    <a:pt x="53" y="230"/>
                  </a:lnTo>
                  <a:lnTo>
                    <a:pt x="71" y="248"/>
                  </a:lnTo>
                  <a:lnTo>
                    <a:pt x="83" y="236"/>
                  </a:lnTo>
                  <a:lnTo>
                    <a:pt x="92" y="230"/>
                  </a:lnTo>
                  <a:lnTo>
                    <a:pt x="102" y="228"/>
                  </a:lnTo>
                  <a:lnTo>
                    <a:pt x="113" y="231"/>
                  </a:lnTo>
                  <a:lnTo>
                    <a:pt x="122" y="234"/>
                  </a:lnTo>
                  <a:lnTo>
                    <a:pt x="126" y="237"/>
                  </a:lnTo>
                  <a:lnTo>
                    <a:pt x="131" y="242"/>
                  </a:lnTo>
                  <a:lnTo>
                    <a:pt x="135" y="246"/>
                  </a:lnTo>
                  <a:lnTo>
                    <a:pt x="137" y="252"/>
                  </a:lnTo>
                  <a:lnTo>
                    <a:pt x="138" y="258"/>
                  </a:lnTo>
                  <a:lnTo>
                    <a:pt x="138" y="276"/>
                  </a:lnTo>
                  <a:lnTo>
                    <a:pt x="164" y="276"/>
                  </a:lnTo>
                  <a:lnTo>
                    <a:pt x="164" y="258"/>
                  </a:lnTo>
                  <a:lnTo>
                    <a:pt x="164" y="252"/>
                  </a:lnTo>
                  <a:lnTo>
                    <a:pt x="167" y="246"/>
                  </a:lnTo>
                  <a:lnTo>
                    <a:pt x="170" y="242"/>
                  </a:lnTo>
                  <a:lnTo>
                    <a:pt x="174" y="237"/>
                  </a:lnTo>
                  <a:lnTo>
                    <a:pt x="180" y="234"/>
                  </a:lnTo>
                  <a:lnTo>
                    <a:pt x="189" y="231"/>
                  </a:lnTo>
                  <a:lnTo>
                    <a:pt x="194" y="230"/>
                  </a:lnTo>
                  <a:lnTo>
                    <a:pt x="200" y="228"/>
                  </a:lnTo>
                  <a:lnTo>
                    <a:pt x="206" y="230"/>
                  </a:lnTo>
                  <a:lnTo>
                    <a:pt x="212" y="231"/>
                  </a:lnTo>
                  <a:lnTo>
                    <a:pt x="218" y="236"/>
                  </a:lnTo>
                  <a:lnTo>
                    <a:pt x="230" y="248"/>
                  </a:lnTo>
                  <a:lnTo>
                    <a:pt x="248" y="230"/>
                  </a:lnTo>
                  <a:lnTo>
                    <a:pt x="236" y="218"/>
                  </a:lnTo>
                  <a:lnTo>
                    <a:pt x="230" y="209"/>
                  </a:lnTo>
                  <a:lnTo>
                    <a:pt x="228" y="198"/>
                  </a:lnTo>
                  <a:lnTo>
                    <a:pt x="231" y="189"/>
                  </a:lnTo>
                  <a:lnTo>
                    <a:pt x="234" y="180"/>
                  </a:lnTo>
                  <a:lnTo>
                    <a:pt x="237" y="174"/>
                  </a:lnTo>
                  <a:lnTo>
                    <a:pt x="240" y="170"/>
                  </a:lnTo>
                  <a:lnTo>
                    <a:pt x="246" y="167"/>
                  </a:lnTo>
                  <a:lnTo>
                    <a:pt x="252" y="164"/>
                  </a:lnTo>
                  <a:lnTo>
                    <a:pt x="258" y="164"/>
                  </a:lnTo>
                  <a:lnTo>
                    <a:pt x="275" y="164"/>
                  </a:lnTo>
                  <a:lnTo>
                    <a:pt x="275" y="138"/>
                  </a:lnTo>
                  <a:lnTo>
                    <a:pt x="258" y="138"/>
                  </a:lnTo>
                  <a:lnTo>
                    <a:pt x="248" y="135"/>
                  </a:lnTo>
                  <a:lnTo>
                    <a:pt x="239" y="129"/>
                  </a:lnTo>
                  <a:lnTo>
                    <a:pt x="234" y="120"/>
                  </a:lnTo>
                  <a:lnTo>
                    <a:pt x="230" y="113"/>
                  </a:lnTo>
                  <a:lnTo>
                    <a:pt x="228" y="102"/>
                  </a:lnTo>
                  <a:lnTo>
                    <a:pt x="230" y="92"/>
                  </a:lnTo>
                  <a:lnTo>
                    <a:pt x="236" y="84"/>
                  </a:lnTo>
                  <a:lnTo>
                    <a:pt x="248" y="71"/>
                  </a:lnTo>
                  <a:lnTo>
                    <a:pt x="230" y="53"/>
                  </a:lnTo>
                  <a:lnTo>
                    <a:pt x="218" y="66"/>
                  </a:lnTo>
                  <a:lnTo>
                    <a:pt x="209" y="71"/>
                  </a:lnTo>
                  <a:lnTo>
                    <a:pt x="198" y="72"/>
                  </a:lnTo>
                  <a:lnTo>
                    <a:pt x="188" y="71"/>
                  </a:lnTo>
                  <a:lnTo>
                    <a:pt x="180" y="66"/>
                  </a:lnTo>
                  <a:lnTo>
                    <a:pt x="174" y="65"/>
                  </a:lnTo>
                  <a:lnTo>
                    <a:pt x="170" y="60"/>
                  </a:lnTo>
                  <a:lnTo>
                    <a:pt x="167" y="56"/>
                  </a:lnTo>
                  <a:lnTo>
                    <a:pt x="164" y="50"/>
                  </a:lnTo>
                  <a:lnTo>
                    <a:pt x="164" y="43"/>
                  </a:lnTo>
                  <a:lnTo>
                    <a:pt x="164" y="25"/>
                  </a:lnTo>
                  <a:lnTo>
                    <a:pt x="138" y="25"/>
                  </a:lnTo>
                  <a:close/>
                  <a:moveTo>
                    <a:pt x="134" y="0"/>
                  </a:moveTo>
                  <a:lnTo>
                    <a:pt x="167" y="0"/>
                  </a:lnTo>
                  <a:lnTo>
                    <a:pt x="174" y="1"/>
                  </a:lnTo>
                  <a:lnTo>
                    <a:pt x="180" y="4"/>
                  </a:lnTo>
                  <a:lnTo>
                    <a:pt x="185" y="9"/>
                  </a:lnTo>
                  <a:lnTo>
                    <a:pt x="188" y="15"/>
                  </a:lnTo>
                  <a:lnTo>
                    <a:pt x="189" y="21"/>
                  </a:lnTo>
                  <a:lnTo>
                    <a:pt x="189" y="43"/>
                  </a:lnTo>
                  <a:lnTo>
                    <a:pt x="200" y="47"/>
                  </a:lnTo>
                  <a:lnTo>
                    <a:pt x="215" y="33"/>
                  </a:lnTo>
                  <a:lnTo>
                    <a:pt x="219" y="28"/>
                  </a:lnTo>
                  <a:lnTo>
                    <a:pt x="224" y="27"/>
                  </a:lnTo>
                  <a:lnTo>
                    <a:pt x="230" y="25"/>
                  </a:lnTo>
                  <a:lnTo>
                    <a:pt x="236" y="27"/>
                  </a:lnTo>
                  <a:lnTo>
                    <a:pt x="240" y="28"/>
                  </a:lnTo>
                  <a:lnTo>
                    <a:pt x="245" y="33"/>
                  </a:lnTo>
                  <a:lnTo>
                    <a:pt x="269" y="56"/>
                  </a:lnTo>
                  <a:lnTo>
                    <a:pt x="272" y="60"/>
                  </a:lnTo>
                  <a:lnTo>
                    <a:pt x="275" y="66"/>
                  </a:lnTo>
                  <a:lnTo>
                    <a:pt x="275" y="71"/>
                  </a:lnTo>
                  <a:lnTo>
                    <a:pt x="275" y="77"/>
                  </a:lnTo>
                  <a:lnTo>
                    <a:pt x="272" y="83"/>
                  </a:lnTo>
                  <a:lnTo>
                    <a:pt x="269" y="87"/>
                  </a:lnTo>
                  <a:lnTo>
                    <a:pt x="254" y="102"/>
                  </a:lnTo>
                  <a:lnTo>
                    <a:pt x="258" y="111"/>
                  </a:lnTo>
                  <a:lnTo>
                    <a:pt x="279" y="113"/>
                  </a:lnTo>
                  <a:lnTo>
                    <a:pt x="287" y="114"/>
                  </a:lnTo>
                  <a:lnTo>
                    <a:pt x="293" y="117"/>
                  </a:lnTo>
                  <a:lnTo>
                    <a:pt x="297" y="122"/>
                  </a:lnTo>
                  <a:lnTo>
                    <a:pt x="300" y="128"/>
                  </a:lnTo>
                  <a:lnTo>
                    <a:pt x="302" y="134"/>
                  </a:lnTo>
                  <a:lnTo>
                    <a:pt x="302" y="167"/>
                  </a:lnTo>
                  <a:lnTo>
                    <a:pt x="300" y="174"/>
                  </a:lnTo>
                  <a:lnTo>
                    <a:pt x="297" y="180"/>
                  </a:lnTo>
                  <a:lnTo>
                    <a:pt x="293" y="185"/>
                  </a:lnTo>
                  <a:lnTo>
                    <a:pt x="287" y="188"/>
                  </a:lnTo>
                  <a:lnTo>
                    <a:pt x="279" y="189"/>
                  </a:lnTo>
                  <a:lnTo>
                    <a:pt x="258" y="189"/>
                  </a:lnTo>
                  <a:lnTo>
                    <a:pt x="254" y="200"/>
                  </a:lnTo>
                  <a:lnTo>
                    <a:pt x="269" y="215"/>
                  </a:lnTo>
                  <a:lnTo>
                    <a:pt x="272" y="219"/>
                  </a:lnTo>
                  <a:lnTo>
                    <a:pt x="275" y="224"/>
                  </a:lnTo>
                  <a:lnTo>
                    <a:pt x="275" y="230"/>
                  </a:lnTo>
                  <a:lnTo>
                    <a:pt x="275" y="236"/>
                  </a:lnTo>
                  <a:lnTo>
                    <a:pt x="272" y="242"/>
                  </a:lnTo>
                  <a:lnTo>
                    <a:pt x="269" y="246"/>
                  </a:lnTo>
                  <a:lnTo>
                    <a:pt x="245" y="269"/>
                  </a:lnTo>
                  <a:lnTo>
                    <a:pt x="236" y="275"/>
                  </a:lnTo>
                  <a:lnTo>
                    <a:pt x="224" y="275"/>
                  </a:lnTo>
                  <a:lnTo>
                    <a:pt x="215" y="269"/>
                  </a:lnTo>
                  <a:lnTo>
                    <a:pt x="200" y="254"/>
                  </a:lnTo>
                  <a:lnTo>
                    <a:pt x="189" y="258"/>
                  </a:lnTo>
                  <a:lnTo>
                    <a:pt x="189" y="279"/>
                  </a:lnTo>
                  <a:lnTo>
                    <a:pt x="188" y="287"/>
                  </a:lnTo>
                  <a:lnTo>
                    <a:pt x="185" y="293"/>
                  </a:lnTo>
                  <a:lnTo>
                    <a:pt x="180" y="297"/>
                  </a:lnTo>
                  <a:lnTo>
                    <a:pt x="174" y="300"/>
                  </a:lnTo>
                  <a:lnTo>
                    <a:pt x="167" y="302"/>
                  </a:lnTo>
                  <a:lnTo>
                    <a:pt x="134" y="302"/>
                  </a:lnTo>
                  <a:lnTo>
                    <a:pt x="128" y="300"/>
                  </a:lnTo>
                  <a:lnTo>
                    <a:pt x="122" y="297"/>
                  </a:lnTo>
                  <a:lnTo>
                    <a:pt x="116" y="293"/>
                  </a:lnTo>
                  <a:lnTo>
                    <a:pt x="113" y="287"/>
                  </a:lnTo>
                  <a:lnTo>
                    <a:pt x="113" y="279"/>
                  </a:lnTo>
                  <a:lnTo>
                    <a:pt x="113" y="258"/>
                  </a:lnTo>
                  <a:lnTo>
                    <a:pt x="102" y="254"/>
                  </a:lnTo>
                  <a:lnTo>
                    <a:pt x="87" y="269"/>
                  </a:lnTo>
                  <a:lnTo>
                    <a:pt x="77" y="275"/>
                  </a:lnTo>
                  <a:lnTo>
                    <a:pt x="65" y="275"/>
                  </a:lnTo>
                  <a:lnTo>
                    <a:pt x="56" y="269"/>
                  </a:lnTo>
                  <a:lnTo>
                    <a:pt x="32" y="246"/>
                  </a:lnTo>
                  <a:lnTo>
                    <a:pt x="29" y="242"/>
                  </a:lnTo>
                  <a:lnTo>
                    <a:pt x="27" y="236"/>
                  </a:lnTo>
                  <a:lnTo>
                    <a:pt x="26" y="230"/>
                  </a:lnTo>
                  <a:lnTo>
                    <a:pt x="27" y="224"/>
                  </a:lnTo>
                  <a:lnTo>
                    <a:pt x="29" y="219"/>
                  </a:lnTo>
                  <a:lnTo>
                    <a:pt x="32" y="215"/>
                  </a:lnTo>
                  <a:lnTo>
                    <a:pt x="47" y="200"/>
                  </a:lnTo>
                  <a:lnTo>
                    <a:pt x="44" y="189"/>
                  </a:lnTo>
                  <a:lnTo>
                    <a:pt x="21" y="189"/>
                  </a:lnTo>
                  <a:lnTo>
                    <a:pt x="15" y="188"/>
                  </a:lnTo>
                  <a:lnTo>
                    <a:pt x="9" y="185"/>
                  </a:lnTo>
                  <a:lnTo>
                    <a:pt x="5" y="180"/>
                  </a:lnTo>
                  <a:lnTo>
                    <a:pt x="0" y="174"/>
                  </a:lnTo>
                  <a:lnTo>
                    <a:pt x="0" y="167"/>
                  </a:lnTo>
                  <a:lnTo>
                    <a:pt x="0" y="134"/>
                  </a:lnTo>
                  <a:lnTo>
                    <a:pt x="0" y="128"/>
                  </a:lnTo>
                  <a:lnTo>
                    <a:pt x="5" y="122"/>
                  </a:lnTo>
                  <a:lnTo>
                    <a:pt x="9" y="117"/>
                  </a:lnTo>
                  <a:lnTo>
                    <a:pt x="15" y="114"/>
                  </a:lnTo>
                  <a:lnTo>
                    <a:pt x="21" y="113"/>
                  </a:lnTo>
                  <a:lnTo>
                    <a:pt x="44" y="113"/>
                  </a:lnTo>
                  <a:lnTo>
                    <a:pt x="47" y="102"/>
                  </a:lnTo>
                  <a:lnTo>
                    <a:pt x="32" y="87"/>
                  </a:lnTo>
                  <a:lnTo>
                    <a:pt x="29" y="83"/>
                  </a:lnTo>
                  <a:lnTo>
                    <a:pt x="27" y="77"/>
                  </a:lnTo>
                  <a:lnTo>
                    <a:pt x="26" y="71"/>
                  </a:lnTo>
                  <a:lnTo>
                    <a:pt x="27" y="66"/>
                  </a:lnTo>
                  <a:lnTo>
                    <a:pt x="29" y="60"/>
                  </a:lnTo>
                  <a:lnTo>
                    <a:pt x="32" y="56"/>
                  </a:lnTo>
                  <a:lnTo>
                    <a:pt x="56" y="33"/>
                  </a:lnTo>
                  <a:lnTo>
                    <a:pt x="65" y="27"/>
                  </a:lnTo>
                  <a:lnTo>
                    <a:pt x="77" y="27"/>
                  </a:lnTo>
                  <a:lnTo>
                    <a:pt x="87" y="33"/>
                  </a:lnTo>
                  <a:lnTo>
                    <a:pt x="102" y="48"/>
                  </a:lnTo>
                  <a:lnTo>
                    <a:pt x="111" y="43"/>
                  </a:lnTo>
                  <a:lnTo>
                    <a:pt x="113" y="21"/>
                  </a:lnTo>
                  <a:lnTo>
                    <a:pt x="113" y="15"/>
                  </a:lnTo>
                  <a:lnTo>
                    <a:pt x="116" y="9"/>
                  </a:lnTo>
                  <a:lnTo>
                    <a:pt x="122" y="4"/>
                  </a:lnTo>
                  <a:lnTo>
                    <a:pt x="128" y="1"/>
                  </a:lnTo>
                  <a:lnTo>
                    <a:pt x="13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srgbClr val="00264A"/>
                </a:solidFill>
                <a:effectLst/>
                <a:uLnTx/>
                <a:uFillTx/>
                <a:latin typeface="Arial" panose="020B0604020202020204" pitchFamily="34" charset="0"/>
                <a:ea typeface="+mn-ea"/>
                <a:cs typeface="Arial" panose="020B0604020202020204" pitchFamily="34" charset="0"/>
              </a:endParaRPr>
            </a:p>
          </p:txBody>
        </p:sp>
      </p:grpSp>
      <p:sp>
        <p:nvSpPr>
          <p:cNvPr id="9" name="Text Placeholder 8">
            <a:extLst>
              <a:ext uri="{FF2B5EF4-FFF2-40B4-BE49-F238E27FC236}">
                <a16:creationId xmlns:a16="http://schemas.microsoft.com/office/drawing/2014/main" id="{82EA0A2E-75DB-4578-93F8-C9DBA84997C7}"/>
              </a:ext>
            </a:extLst>
          </p:cNvPr>
          <p:cNvSpPr>
            <a:spLocks noGrp="1"/>
          </p:cNvSpPr>
          <p:nvPr>
            <p:ph type="body" sz="quarter" idx="38"/>
          </p:nvPr>
        </p:nvSpPr>
        <p:spPr>
          <a:xfrm>
            <a:off x="4043932" y="250175"/>
            <a:ext cx="4869618" cy="2993216"/>
          </a:xfrm>
        </p:spPr>
        <p:txBody>
          <a:bodyPr/>
          <a:lstStyle/>
          <a:p>
            <a:r>
              <a:rPr lang="en-US" b="1">
                <a:solidFill>
                  <a:srgbClr val="00A0D6"/>
                </a:solidFill>
              </a:rPr>
              <a:t>We value our people. In particular, we believe in three things:</a:t>
            </a:r>
          </a:p>
          <a:p>
            <a:endParaRPr lang="en-US" b="1">
              <a:solidFill>
                <a:srgbClr val="00A0D6"/>
              </a:solidFill>
            </a:endParaRPr>
          </a:p>
        </p:txBody>
      </p:sp>
      <p:sp>
        <p:nvSpPr>
          <p:cNvPr id="2" name="Title 1"/>
          <p:cNvSpPr>
            <a:spLocks noGrp="1"/>
          </p:cNvSpPr>
          <p:nvPr>
            <p:ph type="title"/>
          </p:nvPr>
        </p:nvSpPr>
        <p:spPr>
          <a:xfrm>
            <a:off x="331490" y="404813"/>
            <a:ext cx="2164237" cy="1584027"/>
          </a:xfrm>
        </p:spPr>
        <p:txBody>
          <a:bodyPr/>
          <a:lstStyle/>
          <a:p>
            <a:r>
              <a:rPr lang="en-US" b="1" dirty="0"/>
              <a:t>Your Journey with us</a:t>
            </a:r>
          </a:p>
        </p:txBody>
      </p:sp>
      <p:sp>
        <p:nvSpPr>
          <p:cNvPr id="5" name="Text Placeholder 4">
            <a:extLst>
              <a:ext uri="{FF2B5EF4-FFF2-40B4-BE49-F238E27FC236}">
                <a16:creationId xmlns:a16="http://schemas.microsoft.com/office/drawing/2014/main" id="{074D9EB6-DC34-4F8C-9B60-B88125E06713}"/>
              </a:ext>
            </a:extLst>
          </p:cNvPr>
          <p:cNvSpPr>
            <a:spLocks noGrp="1"/>
          </p:cNvSpPr>
          <p:nvPr>
            <p:ph type="body" sz="quarter" idx="32"/>
          </p:nvPr>
        </p:nvSpPr>
        <p:spPr/>
        <p:txBody>
          <a:bodyPr anchor="ctr"/>
          <a:lstStyle/>
          <a:p>
            <a:r>
              <a:rPr lang="pt-PT" sz="1800">
                <a:solidFill>
                  <a:srgbClr val="324146"/>
                </a:solidFill>
                <a:ea typeface="Segoe UI" panose="020B0502040204020203" pitchFamily="34" charset="0"/>
                <a:cs typeface="Arial" panose="020B0604020202020204" pitchFamily="34" charset="0"/>
              </a:rPr>
              <a:t>You should </a:t>
            </a:r>
          </a:p>
          <a:p>
            <a:r>
              <a:rPr lang="pt-PT" sz="2000" b="1">
                <a:solidFill>
                  <a:srgbClr val="324146"/>
                </a:solidFill>
                <a:ea typeface="Segoe UI" panose="020B0502040204020203" pitchFamily="34" charset="0"/>
                <a:cs typeface="Arial" panose="020B0604020202020204" pitchFamily="34" charset="0"/>
              </a:rPr>
              <a:t>Grow</a:t>
            </a:r>
          </a:p>
          <a:p>
            <a:endParaRPr lang="en-US" sz="1600"/>
          </a:p>
        </p:txBody>
      </p:sp>
      <p:sp>
        <p:nvSpPr>
          <p:cNvPr id="11" name="Text Placeholder 10">
            <a:extLst>
              <a:ext uri="{FF2B5EF4-FFF2-40B4-BE49-F238E27FC236}">
                <a16:creationId xmlns:a16="http://schemas.microsoft.com/office/drawing/2014/main" id="{D79D3A55-616D-41BF-8C98-F2F89BB3DDC5}"/>
              </a:ext>
            </a:extLst>
          </p:cNvPr>
          <p:cNvSpPr>
            <a:spLocks noGrp="1"/>
          </p:cNvSpPr>
          <p:nvPr>
            <p:ph type="body" sz="quarter" idx="40"/>
          </p:nvPr>
        </p:nvSpPr>
        <p:spPr/>
        <p:txBody>
          <a:bodyPr anchor="ctr"/>
          <a:lstStyle/>
          <a:p>
            <a:r>
              <a:rPr lang="pt-PT" sz="1600" b="1">
                <a:solidFill>
                  <a:srgbClr val="324146"/>
                </a:solidFill>
                <a:ea typeface="Segoe UI" panose="020B0502040204020203" pitchFamily="34" charset="0"/>
                <a:cs typeface="Arial" panose="020B0604020202020204" pitchFamily="34" charset="0"/>
              </a:rPr>
              <a:t>You Own </a:t>
            </a:r>
          </a:p>
          <a:p>
            <a:r>
              <a:rPr lang="pt-PT" sz="1600">
                <a:solidFill>
                  <a:srgbClr val="324146"/>
                </a:solidFill>
                <a:ea typeface="Segoe UI" panose="020B0502040204020203" pitchFamily="34" charset="0"/>
                <a:cs typeface="Arial" panose="020B0604020202020204" pitchFamily="34" charset="0"/>
              </a:rPr>
              <a:t>your  </a:t>
            </a:r>
            <a:r>
              <a:rPr lang="pt-PT" sz="1800" b="1">
                <a:solidFill>
                  <a:srgbClr val="324146"/>
                </a:solidFill>
                <a:ea typeface="Segoe UI" panose="020B0502040204020203" pitchFamily="34" charset="0"/>
                <a:cs typeface="Arial" panose="020B0604020202020204" pitchFamily="34" charset="0"/>
              </a:rPr>
              <a:t>Career</a:t>
            </a:r>
            <a:endParaRPr lang="pt-PT" sz="1600" b="1">
              <a:solidFill>
                <a:srgbClr val="324146"/>
              </a:solidFill>
              <a:ea typeface="Segoe UI" panose="020B0502040204020203" pitchFamily="34" charset="0"/>
              <a:cs typeface="Arial" panose="020B0604020202020204" pitchFamily="34" charset="0"/>
            </a:endParaRPr>
          </a:p>
          <a:p>
            <a:endParaRPr lang="en-US" sz="1400"/>
          </a:p>
        </p:txBody>
      </p:sp>
      <p:sp>
        <p:nvSpPr>
          <p:cNvPr id="13" name="Text Placeholder 12">
            <a:extLst>
              <a:ext uri="{FF2B5EF4-FFF2-40B4-BE49-F238E27FC236}">
                <a16:creationId xmlns:a16="http://schemas.microsoft.com/office/drawing/2014/main" id="{974C88AB-1212-4461-BD4B-2A851FF6D69A}"/>
              </a:ext>
            </a:extLst>
          </p:cNvPr>
          <p:cNvSpPr>
            <a:spLocks noGrp="1"/>
          </p:cNvSpPr>
          <p:nvPr>
            <p:ph type="body" sz="quarter" idx="42"/>
          </p:nvPr>
        </p:nvSpPr>
        <p:spPr>
          <a:xfrm>
            <a:off x="5620784" y="4815940"/>
            <a:ext cx="3953725" cy="996793"/>
          </a:xfrm>
        </p:spPr>
        <p:txBody>
          <a:bodyPr anchor="ctr"/>
          <a:lstStyle/>
          <a:p>
            <a:r>
              <a:rPr lang="en-US" sz="1800"/>
              <a:t>No </a:t>
            </a:r>
          </a:p>
          <a:p>
            <a:r>
              <a:rPr lang="en-US" sz="1800" b="1"/>
              <a:t>One Way</a:t>
            </a:r>
          </a:p>
        </p:txBody>
      </p:sp>
    </p:spTree>
    <p:extLst>
      <p:ext uri="{BB962C8B-B14F-4D97-AF65-F5344CB8AC3E}">
        <p14:creationId xmlns:p14="http://schemas.microsoft.com/office/powerpoint/2010/main" val="60658398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career as a jungle gy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5385060" y="-30500"/>
            <a:ext cx="2936720" cy="2031325"/>
          </a:xfrm>
          <a:prstGeom prst="rect">
            <a:avLst/>
          </a:prstGeom>
          <a:noFill/>
        </p:spPr>
        <p:txBody>
          <a:bodyPr wrap="square">
            <a:spAutoFit/>
          </a:bodyPr>
          <a:lstStyle/>
          <a:p>
            <a:endParaRPr lang="en-US" sz="1800">
              <a:solidFill>
                <a:schemeClr val="accent4">
                  <a:lumMod val="75000"/>
                </a:schemeClr>
              </a:solidFill>
            </a:endParaRPr>
          </a:p>
          <a:p>
            <a:pPr marL="114300"/>
            <a:r>
              <a:rPr lang="en-US" sz="2400" b="1">
                <a:solidFill>
                  <a:schemeClr val="accent5"/>
                </a:solidFill>
              </a:rPr>
              <a:t>Your career can be like a jungle gym.</a:t>
            </a:r>
            <a:endParaRPr lang="en-US" sz="2400">
              <a:solidFill>
                <a:schemeClr val="accent5"/>
              </a:solidFill>
            </a:endParaRPr>
          </a:p>
          <a:p>
            <a:endParaRPr lang="en-US" sz="1800" b="1">
              <a:solidFill>
                <a:schemeClr val="accent4">
                  <a:lumMod val="75000"/>
                </a:schemeClr>
              </a:solidFill>
            </a:endParaRPr>
          </a:p>
          <a:p>
            <a:pPr marL="114300"/>
            <a:endParaRPr lang="en-US" sz="1800">
              <a:solidFill>
                <a:schemeClr val="accent4">
                  <a:lumMod val="75000"/>
                </a:schemeClr>
              </a:solidFill>
            </a:endParaRPr>
          </a:p>
        </p:txBody>
      </p:sp>
      <p:pic>
        <p:nvPicPr>
          <p:cNvPr id="7" name="Graphic 5">
            <a:extLst>
              <a:ext uri="{FF2B5EF4-FFF2-40B4-BE49-F238E27FC236}">
                <a16:creationId xmlns:a16="http://schemas.microsoft.com/office/drawing/2014/main" id="{01B34A94-4E4A-48DD-81DD-67C7CDDD122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0880" b="30671"/>
          <a:stretch/>
        </p:blipFill>
        <p:spPr>
          <a:xfrm rot="10800000" flipH="1" flipV="1">
            <a:off x="0" y="2924930"/>
            <a:ext cx="6086502" cy="4429930"/>
          </a:xfrm>
          <a:prstGeom prst="rect">
            <a:avLst/>
          </a:prstGeom>
        </p:spPr>
      </p:pic>
      <p:sp>
        <p:nvSpPr>
          <p:cNvPr id="3" name="Rectangle 2">
            <a:extLst>
              <a:ext uri="{FF2B5EF4-FFF2-40B4-BE49-F238E27FC236}">
                <a16:creationId xmlns:a16="http://schemas.microsoft.com/office/drawing/2014/main" id="{61F78CE5-93E6-4761-9EE0-86447FA70776}"/>
              </a:ext>
            </a:extLst>
          </p:cNvPr>
          <p:cNvSpPr/>
          <p:nvPr/>
        </p:nvSpPr>
        <p:spPr>
          <a:xfrm>
            <a:off x="155575" y="3933070"/>
            <a:ext cx="4953000" cy="2585323"/>
          </a:xfrm>
          <a:prstGeom prst="rect">
            <a:avLst/>
          </a:prstGeom>
        </p:spPr>
        <p:txBody>
          <a:bodyPr>
            <a:spAutoFit/>
          </a:bodyPr>
          <a:lstStyle/>
          <a:p>
            <a:pPr marL="114300"/>
            <a:r>
              <a:rPr lang="en-US" sz="1800" b="1">
                <a:solidFill>
                  <a:schemeClr val="bg1"/>
                </a:solidFill>
              </a:rPr>
              <a:t>Career framework – </a:t>
            </a:r>
          </a:p>
          <a:p>
            <a:pPr marL="114300"/>
            <a:r>
              <a:rPr lang="en-US" sz="1800" b="1">
                <a:solidFill>
                  <a:schemeClr val="bg1"/>
                </a:solidFill>
              </a:rPr>
              <a:t>the foundation of your journey </a:t>
            </a:r>
          </a:p>
          <a:p>
            <a:pPr marL="114300"/>
            <a:r>
              <a:rPr lang="en-US" sz="1800" b="1">
                <a:solidFill>
                  <a:schemeClr val="bg1"/>
                </a:solidFill>
              </a:rPr>
              <a:t>at Capgemini</a:t>
            </a:r>
          </a:p>
          <a:p>
            <a:pPr marL="114300"/>
            <a:r>
              <a:rPr lang="en-US" sz="1800">
                <a:solidFill>
                  <a:schemeClr val="bg1"/>
                </a:solidFill>
              </a:rPr>
              <a:t>It helps you to own your aspirations and motivations for what you want to do professionally. </a:t>
            </a:r>
            <a:r>
              <a:rPr lang="en-US" sz="1800" b="1">
                <a:solidFill>
                  <a:schemeClr val="bg1"/>
                </a:solidFill>
              </a:rPr>
              <a:t>It means you can be clear on what you do, how you fit in and what you need to do to progress.</a:t>
            </a:r>
          </a:p>
        </p:txBody>
      </p:sp>
    </p:spTree>
    <p:extLst>
      <p:ext uri="{BB962C8B-B14F-4D97-AF65-F5344CB8AC3E}">
        <p14:creationId xmlns:p14="http://schemas.microsoft.com/office/powerpoint/2010/main" val="3652439875"/>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2"/>
          <p:cNvSpPr>
            <a:spLocks noGrp="1"/>
          </p:cNvSpPr>
          <p:nvPr>
            <p:ph type="title"/>
          </p:nvPr>
        </p:nvSpPr>
        <p:spPr>
          <a:xfrm>
            <a:off x="335561" y="190394"/>
            <a:ext cx="8892484" cy="863600"/>
          </a:xfrm>
        </p:spPr>
        <p:txBody>
          <a:bodyPr vert="horz" lIns="91440" tIns="45720" rIns="91440" bIns="45720" rtlCol="0" anchor="t">
            <a:normAutofit fontScale="90000"/>
          </a:bodyPr>
          <a:lstStyle/>
          <a:p>
            <a:r>
              <a:rPr lang="en-US" sz="2400" b="1">
                <a:solidFill>
                  <a:srgbClr val="00A0D6"/>
                </a:solidFill>
                <a:latin typeface="Arial"/>
                <a:cs typeface="Arial"/>
              </a:rPr>
              <a:t>Career Framework: </a:t>
            </a:r>
            <a:r>
              <a:rPr lang="en-US" sz="2200" b="1">
                <a:solidFill>
                  <a:srgbClr val="00A0D6"/>
                </a:solidFill>
                <a:latin typeface="Arial"/>
                <a:cs typeface="Arial"/>
              </a:rPr>
              <a:t>Roles&gt;Competencies&gt;Proficiencies&gt;Learning Maps</a:t>
            </a:r>
            <a:br>
              <a:rPr lang="en-US" sz="2400" b="1">
                <a:latin typeface="Arial" pitchFamily="34" charset="0"/>
              </a:rPr>
            </a:br>
            <a:r>
              <a:rPr lang="en-US" sz="1800" b="1">
                <a:solidFill>
                  <a:srgbClr val="00A0D6"/>
                </a:solidFill>
                <a:latin typeface="Arial"/>
                <a:cs typeface="Arial"/>
              </a:rPr>
              <a:t>Direct Link: </a:t>
            </a:r>
            <a:r>
              <a:rPr lang="en-GB" sz="2000">
                <a:solidFill>
                  <a:srgbClr val="00A0D6"/>
                </a:solidFill>
                <a:hlinkClick r:id="rId3"/>
              </a:rPr>
              <a:t>https://careerframework.fs.capgemini.com/</a:t>
            </a:r>
            <a:r>
              <a:rPr lang="en-GB" sz="2000">
                <a:solidFill>
                  <a:srgbClr val="00A0D6"/>
                </a:solidFill>
              </a:rPr>
              <a:t> </a:t>
            </a:r>
            <a:br>
              <a:rPr lang="en-GB" sz="2000">
                <a:solidFill>
                  <a:srgbClr val="00A0D6"/>
                </a:solidFill>
              </a:rPr>
            </a:br>
            <a:endParaRPr lang="en-US" sz="2400" b="1">
              <a:solidFill>
                <a:srgbClr val="00A0D6"/>
              </a:solidFill>
              <a:latin typeface="Arial" pitchFamily="34" charset="0"/>
            </a:endParaRPr>
          </a:p>
        </p:txBody>
      </p:sp>
      <p:grpSp>
        <p:nvGrpSpPr>
          <p:cNvPr id="2" name="Group 1">
            <a:extLst>
              <a:ext uri="{FF2B5EF4-FFF2-40B4-BE49-F238E27FC236}">
                <a16:creationId xmlns:a16="http://schemas.microsoft.com/office/drawing/2014/main" id="{9D27F853-86D7-468D-B5A3-9AC723A71905}"/>
              </a:ext>
            </a:extLst>
          </p:cNvPr>
          <p:cNvGrpSpPr/>
          <p:nvPr/>
        </p:nvGrpSpPr>
        <p:grpSpPr>
          <a:xfrm>
            <a:off x="2832800" y="3918889"/>
            <a:ext cx="1188720" cy="1310861"/>
            <a:chOff x="4553561" y="3977008"/>
            <a:chExt cx="1188720" cy="1310861"/>
          </a:xfrm>
        </p:grpSpPr>
        <p:sp>
          <p:nvSpPr>
            <p:cNvPr id="16" name="Rectangle 15"/>
            <p:cNvSpPr/>
            <p:nvPr/>
          </p:nvSpPr>
          <p:spPr>
            <a:xfrm>
              <a:off x="4553561" y="3977008"/>
              <a:ext cx="1188720" cy="171450"/>
            </a:xfrm>
            <a:prstGeom prst="rect">
              <a:avLst/>
            </a:prstGeom>
            <a:solidFill>
              <a:schemeClr val="accent4"/>
            </a:solidFill>
            <a:ln w="19050"/>
          </p:spPr>
          <p:style>
            <a:lnRef idx="3">
              <a:schemeClr val="lt1"/>
            </a:lnRef>
            <a:fillRef idx="1">
              <a:schemeClr val="accent6"/>
            </a:fillRef>
            <a:effectRef idx="1">
              <a:schemeClr val="accent6"/>
            </a:effectRef>
            <a:fontRef idx="minor">
              <a:schemeClr val="lt1"/>
            </a:fontRef>
          </p:style>
          <p:txBody>
            <a:bodyPr rtlCol="0" anchor="ctr"/>
            <a:lstStyle/>
            <a:p>
              <a:pPr algn="ctr"/>
              <a:r>
                <a:rPr lang="en-US" sz="1100" b="1">
                  <a:latin typeface="Arial" pitchFamily="34" charset="0"/>
                  <a:cs typeface="Arial" pitchFamily="34" charset="0"/>
                </a:rPr>
                <a:t>Your Role</a:t>
              </a:r>
            </a:p>
          </p:txBody>
        </p:sp>
        <p:cxnSp>
          <p:nvCxnSpPr>
            <p:cNvPr id="17" name="Straight Arrow Connector 16"/>
            <p:cNvCxnSpPr/>
            <p:nvPr/>
          </p:nvCxnSpPr>
          <p:spPr>
            <a:xfrm>
              <a:off x="5213633" y="4207234"/>
              <a:ext cx="0" cy="457200"/>
            </a:xfrm>
            <a:prstGeom prst="straightConnector1">
              <a:avLst/>
            </a:prstGeom>
            <a:ln w="28575">
              <a:solidFill>
                <a:schemeClr val="bg1"/>
              </a:solidFill>
              <a:tailEnd type="arrow"/>
            </a:ln>
          </p:spPr>
          <p:style>
            <a:lnRef idx="2">
              <a:schemeClr val="accent3"/>
            </a:lnRef>
            <a:fillRef idx="0">
              <a:schemeClr val="accent3"/>
            </a:fillRef>
            <a:effectRef idx="1">
              <a:schemeClr val="accent3"/>
            </a:effectRef>
            <a:fontRef idx="minor">
              <a:schemeClr val="tx1"/>
            </a:fontRef>
          </p:style>
        </p:cxnSp>
        <p:sp>
          <p:nvSpPr>
            <p:cNvPr id="18" name="Rectangle 17"/>
            <p:cNvSpPr/>
            <p:nvPr/>
          </p:nvSpPr>
          <p:spPr>
            <a:xfrm>
              <a:off x="4879278" y="4669249"/>
              <a:ext cx="720080" cy="618620"/>
            </a:xfrm>
            <a:prstGeom prst="rect">
              <a:avLst/>
            </a:prstGeom>
            <a:solidFill>
              <a:schemeClr val="accent4"/>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800" b="1">
                  <a:latin typeface="Arial" pitchFamily="34" charset="0"/>
                  <a:cs typeface="Arial" pitchFamily="34" charset="0"/>
                </a:rPr>
                <a:t>Software Consultant Lead</a:t>
              </a:r>
            </a:p>
          </p:txBody>
        </p:sp>
      </p:grpSp>
      <p:sp>
        <p:nvSpPr>
          <p:cNvPr id="19" name="Rounded Rectangle 18"/>
          <p:cNvSpPr/>
          <p:nvPr/>
        </p:nvSpPr>
        <p:spPr>
          <a:xfrm>
            <a:off x="184293" y="6276819"/>
            <a:ext cx="4768707" cy="309010"/>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sz="1400">
                <a:latin typeface="Arial" pitchFamily="34" charset="0"/>
                <a:cs typeface="Arial" pitchFamily="34" charset="0"/>
              </a:rPr>
              <a:t>For queries, please email </a:t>
            </a:r>
            <a:r>
              <a:rPr lang="en-US" sz="1400">
                <a:latin typeface="Arial" pitchFamily="34" charset="0"/>
                <a:cs typeface="Arial" pitchFamily="34" charset="0"/>
                <a:hlinkClick r:id="rId4"/>
              </a:rPr>
              <a:t>talent.fssbu@capgemini.com</a:t>
            </a:r>
            <a:endParaRPr lang="en-US" sz="1400">
              <a:latin typeface="Arial" pitchFamily="34" charset="0"/>
              <a:cs typeface="Arial" pitchFamily="34" charset="0"/>
            </a:endParaRPr>
          </a:p>
        </p:txBody>
      </p:sp>
      <p:grpSp>
        <p:nvGrpSpPr>
          <p:cNvPr id="22" name="Group 21">
            <a:extLst>
              <a:ext uri="{FF2B5EF4-FFF2-40B4-BE49-F238E27FC236}">
                <a16:creationId xmlns:a16="http://schemas.microsoft.com/office/drawing/2014/main" id="{1BCEDB19-3957-441E-8A84-DC822FB45A63}"/>
              </a:ext>
            </a:extLst>
          </p:cNvPr>
          <p:cNvGrpSpPr/>
          <p:nvPr/>
        </p:nvGrpSpPr>
        <p:grpSpPr>
          <a:xfrm>
            <a:off x="1629172" y="5266949"/>
            <a:ext cx="6064505" cy="873191"/>
            <a:chOff x="7398155" y="5642122"/>
            <a:chExt cx="6064505" cy="873191"/>
          </a:xfrm>
        </p:grpSpPr>
        <p:sp>
          <p:nvSpPr>
            <p:cNvPr id="10" name="Freeform 9"/>
            <p:cNvSpPr/>
            <p:nvPr/>
          </p:nvSpPr>
          <p:spPr>
            <a:xfrm>
              <a:off x="7617370" y="5642122"/>
              <a:ext cx="5845290" cy="873191"/>
            </a:xfrm>
            <a:custGeom>
              <a:avLst/>
              <a:gdLst>
                <a:gd name="connsiteX0" fmla="*/ 0 w 5845290"/>
                <a:gd name="connsiteY0" fmla="*/ 87319 h 873191"/>
                <a:gd name="connsiteX1" fmla="*/ 87319 w 5845290"/>
                <a:gd name="connsiteY1" fmla="*/ 0 h 873191"/>
                <a:gd name="connsiteX2" fmla="*/ 5757971 w 5845290"/>
                <a:gd name="connsiteY2" fmla="*/ 0 h 873191"/>
                <a:gd name="connsiteX3" fmla="*/ 5845290 w 5845290"/>
                <a:gd name="connsiteY3" fmla="*/ 87319 h 873191"/>
                <a:gd name="connsiteX4" fmla="*/ 5845290 w 5845290"/>
                <a:gd name="connsiteY4" fmla="*/ 785872 h 873191"/>
                <a:gd name="connsiteX5" fmla="*/ 5757971 w 5845290"/>
                <a:gd name="connsiteY5" fmla="*/ 873191 h 873191"/>
                <a:gd name="connsiteX6" fmla="*/ 87319 w 5845290"/>
                <a:gd name="connsiteY6" fmla="*/ 873191 h 873191"/>
                <a:gd name="connsiteX7" fmla="*/ 0 w 5845290"/>
                <a:gd name="connsiteY7" fmla="*/ 785872 h 873191"/>
                <a:gd name="connsiteX8" fmla="*/ 0 w 5845290"/>
                <a:gd name="connsiteY8" fmla="*/ 87319 h 8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5290" h="873191">
                  <a:moveTo>
                    <a:pt x="0" y="87319"/>
                  </a:moveTo>
                  <a:cubicBezTo>
                    <a:pt x="0" y="39094"/>
                    <a:pt x="39094" y="0"/>
                    <a:pt x="87319" y="0"/>
                  </a:cubicBezTo>
                  <a:lnTo>
                    <a:pt x="5757971" y="0"/>
                  </a:lnTo>
                  <a:cubicBezTo>
                    <a:pt x="5806196" y="0"/>
                    <a:pt x="5845290" y="39094"/>
                    <a:pt x="5845290" y="87319"/>
                  </a:cubicBezTo>
                  <a:lnTo>
                    <a:pt x="5845290" y="785872"/>
                  </a:lnTo>
                  <a:cubicBezTo>
                    <a:pt x="5845290" y="834097"/>
                    <a:pt x="5806196" y="873191"/>
                    <a:pt x="5757971" y="873191"/>
                  </a:cubicBezTo>
                  <a:lnTo>
                    <a:pt x="87319" y="873191"/>
                  </a:lnTo>
                  <a:cubicBezTo>
                    <a:pt x="39094" y="873191"/>
                    <a:pt x="0" y="834097"/>
                    <a:pt x="0" y="785872"/>
                  </a:cubicBezTo>
                  <a:lnTo>
                    <a:pt x="0" y="87319"/>
                  </a:lnTo>
                  <a:close/>
                </a:path>
              </a:pathLst>
            </a:custGeom>
            <a:ln>
              <a:solidFill>
                <a:srgbClr val="00A0D6"/>
              </a:solidFill>
            </a:ln>
          </p:spPr>
          <p:style>
            <a:lnRef idx="3">
              <a:scrgbClr r="0" g="0" b="0"/>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6535" tIns="86535" rIns="1090608" bIns="86535" numCol="1" spcCol="1270" anchor="ctr" anchorCtr="0">
              <a:noAutofit/>
            </a:bodyPr>
            <a:lstStyle/>
            <a:p>
              <a:pPr marL="228600" lvl="0" indent="0" algn="l" defTabSz="711200" rtl="0">
                <a:lnSpc>
                  <a:spcPct val="90000"/>
                </a:lnSpc>
                <a:spcBef>
                  <a:spcPct val="0"/>
                </a:spcBef>
                <a:spcAft>
                  <a:spcPct val="35000"/>
                </a:spcAft>
              </a:pPr>
              <a:r>
                <a:rPr lang="en-US" sz="1400" b="0" kern="1200">
                  <a:solidFill>
                    <a:srgbClr val="00A0D6"/>
                  </a:solidFill>
                  <a:latin typeface="Arial" pitchFamily="34" charset="0"/>
                  <a:ea typeface="+mn-ea"/>
                  <a:cs typeface="Arial" pitchFamily="34" charset="0"/>
                </a:rPr>
                <a:t>To track your learning completions, go to </a:t>
              </a:r>
              <a:r>
                <a:rPr lang="en-US" sz="1400" b="1" kern="1200">
                  <a:latin typeface="Arial" pitchFamily="34" charset="0"/>
                  <a:ea typeface="+mn-ea"/>
                  <a:cs typeface="Arial" pitchFamily="34" charset="0"/>
                </a:rPr>
                <a:t>Track Your Journey</a:t>
              </a:r>
              <a:r>
                <a:rPr lang="en-US" sz="1400" b="1" kern="1200">
                  <a:latin typeface="Arial" pitchFamily="34" charset="0"/>
                  <a:ea typeface="+mn-ea"/>
                  <a:cs typeface="Arial" pitchFamily="34" charset="0"/>
                  <a:sym typeface="Wingdings" pitchFamily="2" charset="2"/>
                </a:rPr>
                <a:t></a:t>
              </a:r>
              <a:r>
                <a:rPr lang="en-US" sz="1400" b="1" kern="1200">
                  <a:latin typeface="Arial" pitchFamily="34" charset="0"/>
                  <a:ea typeface="+mn-ea"/>
                  <a:cs typeface="Arial" pitchFamily="34" charset="0"/>
                </a:rPr>
                <a:t> Learning Health Index.</a:t>
              </a:r>
            </a:p>
          </p:txBody>
        </p:sp>
        <p:grpSp>
          <p:nvGrpSpPr>
            <p:cNvPr id="25" name="Groupe 368"/>
            <p:cNvGrpSpPr>
              <a:grpSpLocks noChangeAspect="1"/>
            </p:cNvGrpSpPr>
            <p:nvPr/>
          </p:nvGrpSpPr>
          <p:grpSpPr>
            <a:xfrm>
              <a:off x="12794948" y="5787341"/>
              <a:ext cx="484744" cy="563624"/>
              <a:chOff x="1311275" y="1838325"/>
              <a:chExt cx="184151" cy="273050"/>
            </a:xfrm>
          </p:grpSpPr>
          <p:sp>
            <p:nvSpPr>
              <p:cNvPr id="26" name="Freeform 889"/>
              <p:cNvSpPr>
                <a:spLocks/>
              </p:cNvSpPr>
              <p:nvPr/>
            </p:nvSpPr>
            <p:spPr bwMode="auto">
              <a:xfrm>
                <a:off x="1311275" y="1898650"/>
                <a:ext cx="79375" cy="212725"/>
              </a:xfrm>
              <a:custGeom>
                <a:avLst/>
                <a:gdLst/>
                <a:ahLst/>
                <a:cxnLst>
                  <a:cxn ang="0">
                    <a:pos x="31" y="160"/>
                  </a:cxn>
                  <a:cxn ang="0">
                    <a:pos x="52" y="137"/>
                  </a:cxn>
                  <a:cxn ang="0">
                    <a:pos x="58" y="113"/>
                  </a:cxn>
                  <a:cxn ang="0">
                    <a:pos x="4" y="37"/>
                  </a:cxn>
                  <a:cxn ang="0">
                    <a:pos x="14" y="0"/>
                  </a:cxn>
                  <a:cxn ang="0">
                    <a:pos x="29" y="19"/>
                  </a:cxn>
                  <a:cxn ang="0">
                    <a:pos x="29" y="52"/>
                  </a:cxn>
                  <a:cxn ang="0">
                    <a:pos x="58" y="113"/>
                  </a:cxn>
                </a:cxnLst>
                <a:rect l="0" t="0" r="r" b="b"/>
                <a:pathLst>
                  <a:path w="60" h="160">
                    <a:moveTo>
                      <a:pt x="31" y="160"/>
                    </a:moveTo>
                    <a:cubicBezTo>
                      <a:pt x="31" y="149"/>
                      <a:pt x="45" y="149"/>
                      <a:pt x="52" y="137"/>
                    </a:cubicBezTo>
                    <a:cubicBezTo>
                      <a:pt x="60" y="126"/>
                      <a:pt x="58" y="113"/>
                      <a:pt x="58" y="113"/>
                    </a:cubicBezTo>
                    <a:cubicBezTo>
                      <a:pt x="58" y="113"/>
                      <a:pt x="9" y="67"/>
                      <a:pt x="4" y="37"/>
                    </a:cubicBezTo>
                    <a:cubicBezTo>
                      <a:pt x="0" y="6"/>
                      <a:pt x="9" y="0"/>
                      <a:pt x="14" y="0"/>
                    </a:cubicBezTo>
                    <a:cubicBezTo>
                      <a:pt x="26" y="0"/>
                      <a:pt x="29" y="19"/>
                      <a:pt x="29" y="19"/>
                    </a:cubicBezTo>
                    <a:cubicBezTo>
                      <a:pt x="29" y="19"/>
                      <a:pt x="26" y="31"/>
                      <a:pt x="29" y="52"/>
                    </a:cubicBezTo>
                    <a:cubicBezTo>
                      <a:pt x="31" y="72"/>
                      <a:pt x="58" y="113"/>
                      <a:pt x="58" y="113"/>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chemeClr val="accent1"/>
                  </a:solidFill>
                  <a:latin typeface="Arial"/>
                </a:endParaRPr>
              </a:p>
            </p:txBody>
          </p:sp>
          <p:sp>
            <p:nvSpPr>
              <p:cNvPr id="27" name="Freeform 890"/>
              <p:cNvSpPr>
                <a:spLocks/>
              </p:cNvSpPr>
              <p:nvPr/>
            </p:nvSpPr>
            <p:spPr bwMode="auto">
              <a:xfrm>
                <a:off x="1354138" y="1838325"/>
                <a:ext cx="49213" cy="84138"/>
              </a:xfrm>
              <a:custGeom>
                <a:avLst/>
                <a:gdLst/>
                <a:ahLst/>
                <a:cxnLst>
                  <a:cxn ang="0">
                    <a:pos x="37" y="0"/>
                  </a:cxn>
                  <a:cxn ang="0">
                    <a:pos x="32" y="12"/>
                  </a:cxn>
                  <a:cxn ang="0">
                    <a:pos x="35" y="25"/>
                  </a:cxn>
                  <a:cxn ang="0">
                    <a:pos x="21" y="34"/>
                  </a:cxn>
                  <a:cxn ang="0">
                    <a:pos x="11" y="47"/>
                  </a:cxn>
                  <a:cxn ang="0">
                    <a:pos x="13" y="56"/>
                  </a:cxn>
                  <a:cxn ang="0">
                    <a:pos x="0" y="63"/>
                  </a:cxn>
                </a:cxnLst>
                <a:rect l="0" t="0" r="r" b="b"/>
                <a:pathLst>
                  <a:path w="37" h="63">
                    <a:moveTo>
                      <a:pt x="37" y="0"/>
                    </a:moveTo>
                    <a:cubicBezTo>
                      <a:pt x="37" y="0"/>
                      <a:pt x="32" y="3"/>
                      <a:pt x="32" y="12"/>
                    </a:cubicBezTo>
                    <a:cubicBezTo>
                      <a:pt x="32" y="21"/>
                      <a:pt x="35" y="25"/>
                      <a:pt x="35" y="25"/>
                    </a:cubicBezTo>
                    <a:cubicBezTo>
                      <a:pt x="35" y="25"/>
                      <a:pt x="23" y="26"/>
                      <a:pt x="21" y="34"/>
                    </a:cubicBezTo>
                    <a:cubicBezTo>
                      <a:pt x="19" y="42"/>
                      <a:pt x="17" y="47"/>
                      <a:pt x="11" y="47"/>
                    </a:cubicBezTo>
                    <a:cubicBezTo>
                      <a:pt x="5" y="47"/>
                      <a:pt x="16" y="50"/>
                      <a:pt x="13" y="56"/>
                    </a:cubicBezTo>
                    <a:cubicBezTo>
                      <a:pt x="9" y="62"/>
                      <a:pt x="0" y="63"/>
                      <a:pt x="0" y="63"/>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chemeClr val="accent1"/>
                  </a:solidFill>
                  <a:latin typeface="Arial"/>
                </a:endParaRPr>
              </a:p>
            </p:txBody>
          </p:sp>
          <p:sp>
            <p:nvSpPr>
              <p:cNvPr id="29" name="Freeform 891"/>
              <p:cNvSpPr>
                <a:spLocks/>
              </p:cNvSpPr>
              <p:nvPr/>
            </p:nvSpPr>
            <p:spPr bwMode="auto">
              <a:xfrm>
                <a:off x="1417638" y="1898650"/>
                <a:ext cx="77788" cy="212725"/>
              </a:xfrm>
              <a:custGeom>
                <a:avLst/>
                <a:gdLst/>
                <a:ahLst/>
                <a:cxnLst>
                  <a:cxn ang="0">
                    <a:pos x="28" y="160"/>
                  </a:cxn>
                  <a:cxn ang="0">
                    <a:pos x="7" y="137"/>
                  </a:cxn>
                  <a:cxn ang="0">
                    <a:pos x="2" y="113"/>
                  </a:cxn>
                  <a:cxn ang="0">
                    <a:pos x="55" y="37"/>
                  </a:cxn>
                  <a:cxn ang="0">
                    <a:pos x="45" y="0"/>
                  </a:cxn>
                  <a:cxn ang="0">
                    <a:pos x="30" y="19"/>
                  </a:cxn>
                  <a:cxn ang="0">
                    <a:pos x="31" y="52"/>
                  </a:cxn>
                  <a:cxn ang="0">
                    <a:pos x="2" y="113"/>
                  </a:cxn>
                </a:cxnLst>
                <a:rect l="0" t="0" r="r" b="b"/>
                <a:pathLst>
                  <a:path w="59" h="160">
                    <a:moveTo>
                      <a:pt x="28" y="160"/>
                    </a:moveTo>
                    <a:cubicBezTo>
                      <a:pt x="28" y="149"/>
                      <a:pt x="14" y="149"/>
                      <a:pt x="7" y="137"/>
                    </a:cubicBezTo>
                    <a:cubicBezTo>
                      <a:pt x="0" y="126"/>
                      <a:pt x="2" y="113"/>
                      <a:pt x="2" y="113"/>
                    </a:cubicBezTo>
                    <a:cubicBezTo>
                      <a:pt x="2" y="113"/>
                      <a:pt x="50" y="67"/>
                      <a:pt x="55" y="37"/>
                    </a:cubicBezTo>
                    <a:cubicBezTo>
                      <a:pt x="59" y="6"/>
                      <a:pt x="51" y="0"/>
                      <a:pt x="45" y="0"/>
                    </a:cubicBezTo>
                    <a:cubicBezTo>
                      <a:pt x="33" y="0"/>
                      <a:pt x="30" y="19"/>
                      <a:pt x="30" y="19"/>
                    </a:cubicBezTo>
                    <a:cubicBezTo>
                      <a:pt x="30" y="19"/>
                      <a:pt x="33" y="31"/>
                      <a:pt x="31" y="52"/>
                    </a:cubicBezTo>
                    <a:cubicBezTo>
                      <a:pt x="28" y="72"/>
                      <a:pt x="2" y="113"/>
                      <a:pt x="2" y="113"/>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chemeClr val="accent1"/>
                  </a:solidFill>
                  <a:latin typeface="Arial"/>
                </a:endParaRPr>
              </a:p>
            </p:txBody>
          </p:sp>
          <p:sp>
            <p:nvSpPr>
              <p:cNvPr id="30" name="Freeform 892"/>
              <p:cNvSpPr>
                <a:spLocks/>
              </p:cNvSpPr>
              <p:nvPr/>
            </p:nvSpPr>
            <p:spPr bwMode="auto">
              <a:xfrm>
                <a:off x="1403350" y="1838325"/>
                <a:ext cx="49213" cy="84138"/>
              </a:xfrm>
              <a:custGeom>
                <a:avLst/>
                <a:gdLst/>
                <a:ahLst/>
                <a:cxnLst>
                  <a:cxn ang="0">
                    <a:pos x="0" y="0"/>
                  </a:cxn>
                  <a:cxn ang="0">
                    <a:pos x="4" y="12"/>
                  </a:cxn>
                  <a:cxn ang="0">
                    <a:pos x="1" y="25"/>
                  </a:cxn>
                  <a:cxn ang="0">
                    <a:pos x="15" y="34"/>
                  </a:cxn>
                  <a:cxn ang="0">
                    <a:pos x="25" y="47"/>
                  </a:cxn>
                  <a:cxn ang="0">
                    <a:pos x="23" y="56"/>
                  </a:cxn>
                  <a:cxn ang="0">
                    <a:pos x="36" y="63"/>
                  </a:cxn>
                </a:cxnLst>
                <a:rect l="0" t="0" r="r" b="b"/>
                <a:pathLst>
                  <a:path w="36" h="63">
                    <a:moveTo>
                      <a:pt x="0" y="0"/>
                    </a:moveTo>
                    <a:cubicBezTo>
                      <a:pt x="0" y="0"/>
                      <a:pt x="4" y="3"/>
                      <a:pt x="4" y="12"/>
                    </a:cubicBezTo>
                    <a:cubicBezTo>
                      <a:pt x="4" y="21"/>
                      <a:pt x="1" y="25"/>
                      <a:pt x="1" y="25"/>
                    </a:cubicBezTo>
                    <a:cubicBezTo>
                      <a:pt x="1" y="25"/>
                      <a:pt x="13" y="26"/>
                      <a:pt x="15" y="34"/>
                    </a:cubicBezTo>
                    <a:cubicBezTo>
                      <a:pt x="17" y="42"/>
                      <a:pt x="19" y="47"/>
                      <a:pt x="25" y="47"/>
                    </a:cubicBezTo>
                    <a:cubicBezTo>
                      <a:pt x="31" y="47"/>
                      <a:pt x="20" y="50"/>
                      <a:pt x="23" y="56"/>
                    </a:cubicBezTo>
                    <a:cubicBezTo>
                      <a:pt x="27" y="62"/>
                      <a:pt x="36" y="63"/>
                      <a:pt x="36" y="63"/>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chemeClr val="accent1"/>
                  </a:solidFill>
                  <a:latin typeface="Arial"/>
                </a:endParaRPr>
              </a:p>
            </p:txBody>
          </p:sp>
          <p:sp>
            <p:nvSpPr>
              <p:cNvPr id="31" name="Line 893"/>
              <p:cNvSpPr>
                <a:spLocks noChangeShapeType="1"/>
              </p:cNvSpPr>
              <p:nvPr/>
            </p:nvSpPr>
            <p:spPr bwMode="auto">
              <a:xfrm flipH="1">
                <a:off x="1352550" y="1924050"/>
                <a:ext cx="103188" cy="1588"/>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chemeClr val="accent1"/>
                  </a:solidFill>
                  <a:latin typeface="Arial"/>
                </a:endParaRPr>
              </a:p>
            </p:txBody>
          </p:sp>
        </p:grpSp>
        <p:sp>
          <p:nvSpPr>
            <p:cNvPr id="52" name="Oval 51"/>
            <p:cNvSpPr/>
            <p:nvPr/>
          </p:nvSpPr>
          <p:spPr>
            <a:xfrm>
              <a:off x="7398155" y="5845739"/>
              <a:ext cx="432049" cy="432048"/>
            </a:xfrm>
            <a:prstGeom prst="ellipse">
              <a:avLst/>
            </a:prstGeom>
            <a:solidFill>
              <a:srgbClr val="002060"/>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US" b="1">
                  <a:latin typeface="Arial" pitchFamily="34" charset="0"/>
                  <a:cs typeface="Arial" pitchFamily="34" charset="0"/>
                </a:rPr>
                <a:t>5</a:t>
              </a:r>
            </a:p>
          </p:txBody>
        </p:sp>
      </p:grpSp>
      <p:grpSp>
        <p:nvGrpSpPr>
          <p:cNvPr id="21" name="Group 20">
            <a:extLst>
              <a:ext uri="{FF2B5EF4-FFF2-40B4-BE49-F238E27FC236}">
                <a16:creationId xmlns:a16="http://schemas.microsoft.com/office/drawing/2014/main" id="{64A218D0-C5CF-42A3-8E3F-575590A69001}"/>
              </a:ext>
            </a:extLst>
          </p:cNvPr>
          <p:cNvGrpSpPr/>
          <p:nvPr/>
        </p:nvGrpSpPr>
        <p:grpSpPr>
          <a:xfrm>
            <a:off x="1638135" y="4284024"/>
            <a:ext cx="6066395" cy="1200638"/>
            <a:chOff x="7372583" y="4647653"/>
            <a:chExt cx="6066395" cy="1200638"/>
          </a:xfrm>
        </p:grpSpPr>
        <p:sp>
          <p:nvSpPr>
            <p:cNvPr id="9" name="Freeform 8"/>
            <p:cNvSpPr/>
            <p:nvPr/>
          </p:nvSpPr>
          <p:spPr>
            <a:xfrm>
              <a:off x="7593688" y="4647653"/>
              <a:ext cx="5845290" cy="873191"/>
            </a:xfrm>
            <a:custGeom>
              <a:avLst/>
              <a:gdLst>
                <a:gd name="connsiteX0" fmla="*/ 0 w 5845290"/>
                <a:gd name="connsiteY0" fmla="*/ 87319 h 873191"/>
                <a:gd name="connsiteX1" fmla="*/ 87319 w 5845290"/>
                <a:gd name="connsiteY1" fmla="*/ 0 h 873191"/>
                <a:gd name="connsiteX2" fmla="*/ 5757971 w 5845290"/>
                <a:gd name="connsiteY2" fmla="*/ 0 h 873191"/>
                <a:gd name="connsiteX3" fmla="*/ 5845290 w 5845290"/>
                <a:gd name="connsiteY3" fmla="*/ 87319 h 873191"/>
                <a:gd name="connsiteX4" fmla="*/ 5845290 w 5845290"/>
                <a:gd name="connsiteY4" fmla="*/ 785872 h 873191"/>
                <a:gd name="connsiteX5" fmla="*/ 5757971 w 5845290"/>
                <a:gd name="connsiteY5" fmla="*/ 873191 h 873191"/>
                <a:gd name="connsiteX6" fmla="*/ 87319 w 5845290"/>
                <a:gd name="connsiteY6" fmla="*/ 873191 h 873191"/>
                <a:gd name="connsiteX7" fmla="*/ 0 w 5845290"/>
                <a:gd name="connsiteY7" fmla="*/ 785872 h 873191"/>
                <a:gd name="connsiteX8" fmla="*/ 0 w 5845290"/>
                <a:gd name="connsiteY8" fmla="*/ 87319 h 8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5290" h="873191">
                  <a:moveTo>
                    <a:pt x="0" y="87319"/>
                  </a:moveTo>
                  <a:cubicBezTo>
                    <a:pt x="0" y="39094"/>
                    <a:pt x="39094" y="0"/>
                    <a:pt x="87319" y="0"/>
                  </a:cubicBezTo>
                  <a:lnTo>
                    <a:pt x="5757971" y="0"/>
                  </a:lnTo>
                  <a:cubicBezTo>
                    <a:pt x="5806196" y="0"/>
                    <a:pt x="5845290" y="39094"/>
                    <a:pt x="5845290" y="87319"/>
                  </a:cubicBezTo>
                  <a:lnTo>
                    <a:pt x="5845290" y="785872"/>
                  </a:lnTo>
                  <a:cubicBezTo>
                    <a:pt x="5845290" y="834097"/>
                    <a:pt x="5806196" y="873191"/>
                    <a:pt x="5757971" y="873191"/>
                  </a:cubicBezTo>
                  <a:lnTo>
                    <a:pt x="87319" y="873191"/>
                  </a:lnTo>
                  <a:cubicBezTo>
                    <a:pt x="39094" y="873191"/>
                    <a:pt x="0" y="834097"/>
                    <a:pt x="0" y="785872"/>
                  </a:cubicBezTo>
                  <a:lnTo>
                    <a:pt x="0" y="87319"/>
                  </a:lnTo>
                  <a:close/>
                </a:path>
              </a:pathLst>
            </a:custGeom>
            <a:ln>
              <a:solidFill>
                <a:srgbClr val="00A0D6"/>
              </a:solidFill>
            </a:ln>
          </p:spPr>
          <p:style>
            <a:lnRef idx="3">
              <a:scrgbClr r="0" g="0" b="0"/>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391335" tIns="391335" rIns="1395408" bIns="391335" numCol="1" spcCol="1270" anchor="ctr" anchorCtr="0">
              <a:noAutofit/>
            </a:bodyPr>
            <a:lstStyle/>
            <a:p>
              <a:pPr lvl="0" algn="l" defTabSz="711200">
                <a:lnSpc>
                  <a:spcPct val="90000"/>
                </a:lnSpc>
                <a:spcBef>
                  <a:spcPct val="0"/>
                </a:spcBef>
                <a:spcAft>
                  <a:spcPct val="35000"/>
                </a:spcAft>
              </a:pPr>
              <a:r>
                <a:rPr lang="en-US" sz="1400" b="0" kern="1200">
                  <a:solidFill>
                    <a:srgbClr val="00A0D6"/>
                  </a:solidFill>
                  <a:latin typeface="Arial" pitchFamily="34" charset="0"/>
                  <a:ea typeface="+mn-ea"/>
                  <a:cs typeface="Arial" pitchFamily="34" charset="0"/>
                </a:rPr>
                <a:t>Register for and complete the </a:t>
              </a:r>
              <a:r>
                <a:rPr lang="en-US" sz="1400" b="1" kern="1200">
                  <a:latin typeface="Arial" pitchFamily="34" charset="0"/>
                  <a:ea typeface="+mn-ea"/>
                  <a:cs typeface="Arial" pitchFamily="34" charset="0"/>
                </a:rPr>
                <a:t>Learning Programs </a:t>
              </a:r>
              <a:r>
                <a:rPr lang="en-US" sz="1400" b="0" kern="1200">
                  <a:solidFill>
                    <a:srgbClr val="00A0D6"/>
                  </a:solidFill>
                  <a:latin typeface="Arial" pitchFamily="34" charset="0"/>
                  <a:ea typeface="+mn-ea"/>
                  <a:cs typeface="Arial" pitchFamily="34" charset="0"/>
                </a:rPr>
                <a:t>mapped to the Learning Journeys.</a:t>
              </a:r>
            </a:p>
          </p:txBody>
        </p:sp>
        <p:sp>
          <p:nvSpPr>
            <p:cNvPr id="14" name="Freeform 13"/>
            <p:cNvSpPr/>
            <p:nvPr/>
          </p:nvSpPr>
          <p:spPr>
            <a:xfrm>
              <a:off x="12871404" y="5280717"/>
              <a:ext cx="567574" cy="567574"/>
            </a:xfrm>
            <a:custGeom>
              <a:avLst/>
              <a:gdLst>
                <a:gd name="connsiteX0" fmla="*/ 0 w 567574"/>
                <a:gd name="connsiteY0" fmla="*/ 312166 h 567574"/>
                <a:gd name="connsiteX1" fmla="*/ 127704 w 567574"/>
                <a:gd name="connsiteY1" fmla="*/ 312166 h 567574"/>
                <a:gd name="connsiteX2" fmla="*/ 127704 w 567574"/>
                <a:gd name="connsiteY2" fmla="*/ 0 h 567574"/>
                <a:gd name="connsiteX3" fmla="*/ 439870 w 567574"/>
                <a:gd name="connsiteY3" fmla="*/ 0 h 567574"/>
                <a:gd name="connsiteX4" fmla="*/ 439870 w 567574"/>
                <a:gd name="connsiteY4" fmla="*/ 312166 h 567574"/>
                <a:gd name="connsiteX5" fmla="*/ 567574 w 567574"/>
                <a:gd name="connsiteY5" fmla="*/ 312166 h 567574"/>
                <a:gd name="connsiteX6" fmla="*/ 283787 w 567574"/>
                <a:gd name="connsiteY6" fmla="*/ 567574 h 567574"/>
                <a:gd name="connsiteX7" fmla="*/ 0 w 567574"/>
                <a:gd name="connsiteY7" fmla="*/ 312166 h 56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574" h="567574">
                  <a:moveTo>
                    <a:pt x="0" y="312166"/>
                  </a:moveTo>
                  <a:lnTo>
                    <a:pt x="127704" y="312166"/>
                  </a:lnTo>
                  <a:lnTo>
                    <a:pt x="127704" y="0"/>
                  </a:lnTo>
                  <a:lnTo>
                    <a:pt x="439870" y="0"/>
                  </a:lnTo>
                  <a:lnTo>
                    <a:pt x="439870" y="312166"/>
                  </a:lnTo>
                  <a:lnTo>
                    <a:pt x="567574" y="312166"/>
                  </a:lnTo>
                  <a:lnTo>
                    <a:pt x="283787" y="567574"/>
                  </a:lnTo>
                  <a:lnTo>
                    <a:pt x="0" y="312166"/>
                  </a:lnTo>
                  <a:close/>
                </a:path>
              </a:pathLst>
            </a:custGeom>
            <a:solidFill>
              <a:srgbClr val="FFC000">
                <a:alpha val="90000"/>
              </a:srgbClr>
            </a:solidFill>
            <a:ln>
              <a:solidFill>
                <a:srgbClr val="00A0D6"/>
              </a:solidFill>
            </a:ln>
          </p:spPr>
          <p:style>
            <a:lnRef idx="2">
              <a:scrgbClr r="0" g="0" b="0"/>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8024" tIns="20320" rIns="148024" bIns="160795" numCol="1" spcCol="1270" anchor="ctr" anchorCtr="0">
              <a:noAutofit/>
            </a:bodyPr>
            <a:lstStyle/>
            <a:p>
              <a:pPr lvl="0" algn="l" defTabSz="711200">
                <a:lnSpc>
                  <a:spcPct val="90000"/>
                </a:lnSpc>
                <a:spcBef>
                  <a:spcPct val="0"/>
                </a:spcBef>
                <a:spcAft>
                  <a:spcPct val="35000"/>
                </a:spcAft>
              </a:pPr>
              <a:endParaRPr lang="en-US" sz="1600" kern="1200">
                <a:solidFill>
                  <a:sysClr val="windowText" lastClr="000000"/>
                </a:solidFill>
                <a:latin typeface="Gill Sans MT"/>
                <a:ea typeface="+mn-ea"/>
                <a:cs typeface="+mn-cs"/>
              </a:endParaRPr>
            </a:p>
          </p:txBody>
        </p:sp>
        <p:sp>
          <p:nvSpPr>
            <p:cNvPr id="24" name="Freeform 710"/>
            <p:cNvSpPr>
              <a:spLocks noChangeAspect="1" noEditPoints="1"/>
            </p:cNvSpPr>
            <p:nvPr/>
          </p:nvSpPr>
          <p:spPr bwMode="auto">
            <a:xfrm>
              <a:off x="12794303" y="4786142"/>
              <a:ext cx="376592" cy="418643"/>
            </a:xfrm>
            <a:custGeom>
              <a:avLst/>
              <a:gdLst/>
              <a:ahLst/>
              <a:cxnLst>
                <a:cxn ang="0">
                  <a:pos x="18" y="87"/>
                </a:cxn>
                <a:cxn ang="0">
                  <a:pos x="18" y="43"/>
                </a:cxn>
                <a:cxn ang="0">
                  <a:pos x="0" y="41"/>
                </a:cxn>
                <a:cxn ang="0">
                  <a:pos x="0" y="169"/>
                </a:cxn>
                <a:cxn ang="0">
                  <a:pos x="36" y="87"/>
                </a:cxn>
                <a:cxn ang="0">
                  <a:pos x="36" y="20"/>
                </a:cxn>
                <a:cxn ang="0">
                  <a:pos x="18" y="18"/>
                </a:cxn>
                <a:cxn ang="0">
                  <a:pos x="18" y="87"/>
                </a:cxn>
                <a:cxn ang="0">
                  <a:pos x="54" y="87"/>
                </a:cxn>
                <a:cxn ang="0">
                  <a:pos x="54" y="12"/>
                </a:cxn>
                <a:cxn ang="0">
                  <a:pos x="36" y="11"/>
                </a:cxn>
                <a:cxn ang="0">
                  <a:pos x="36" y="87"/>
                </a:cxn>
                <a:cxn ang="0">
                  <a:pos x="72" y="99"/>
                </a:cxn>
                <a:cxn ang="0">
                  <a:pos x="72" y="32"/>
                </a:cxn>
                <a:cxn ang="0">
                  <a:pos x="54" y="30"/>
                </a:cxn>
                <a:cxn ang="0">
                  <a:pos x="54" y="87"/>
                </a:cxn>
                <a:cxn ang="0">
                  <a:pos x="69" y="173"/>
                </a:cxn>
                <a:cxn ang="0">
                  <a:pos x="94" y="131"/>
                </a:cxn>
                <a:cxn ang="0">
                  <a:pos x="94" y="69"/>
                </a:cxn>
                <a:cxn ang="0">
                  <a:pos x="72" y="87"/>
                </a:cxn>
                <a:cxn ang="0">
                  <a:pos x="72" y="107"/>
                </a:cxn>
                <a:cxn ang="0">
                  <a:pos x="42" y="134"/>
                </a:cxn>
              </a:cxnLst>
              <a:rect l="0" t="0" r="r" b="b"/>
              <a:pathLst>
                <a:path w="94" h="173">
                  <a:moveTo>
                    <a:pt x="18" y="87"/>
                  </a:moveTo>
                  <a:cubicBezTo>
                    <a:pt x="18" y="43"/>
                    <a:pt x="18" y="43"/>
                    <a:pt x="18" y="43"/>
                  </a:cubicBezTo>
                  <a:cubicBezTo>
                    <a:pt x="18" y="30"/>
                    <a:pt x="0" y="31"/>
                    <a:pt x="0" y="41"/>
                  </a:cubicBezTo>
                  <a:cubicBezTo>
                    <a:pt x="0" y="169"/>
                    <a:pt x="0" y="169"/>
                    <a:pt x="0" y="169"/>
                  </a:cubicBezTo>
                  <a:moveTo>
                    <a:pt x="36" y="87"/>
                  </a:moveTo>
                  <a:cubicBezTo>
                    <a:pt x="36" y="20"/>
                    <a:pt x="36" y="20"/>
                    <a:pt x="36" y="20"/>
                  </a:cubicBezTo>
                  <a:cubicBezTo>
                    <a:pt x="36" y="8"/>
                    <a:pt x="18" y="9"/>
                    <a:pt x="18" y="18"/>
                  </a:cubicBezTo>
                  <a:cubicBezTo>
                    <a:pt x="18" y="87"/>
                    <a:pt x="18" y="87"/>
                    <a:pt x="18" y="87"/>
                  </a:cubicBezTo>
                  <a:moveTo>
                    <a:pt x="54" y="87"/>
                  </a:moveTo>
                  <a:cubicBezTo>
                    <a:pt x="54" y="12"/>
                    <a:pt x="54" y="12"/>
                    <a:pt x="54" y="12"/>
                  </a:cubicBezTo>
                  <a:cubicBezTo>
                    <a:pt x="54" y="0"/>
                    <a:pt x="36" y="1"/>
                    <a:pt x="36" y="11"/>
                  </a:cubicBezTo>
                  <a:cubicBezTo>
                    <a:pt x="36" y="87"/>
                    <a:pt x="36" y="87"/>
                    <a:pt x="36" y="87"/>
                  </a:cubicBezTo>
                  <a:moveTo>
                    <a:pt x="72" y="99"/>
                  </a:moveTo>
                  <a:cubicBezTo>
                    <a:pt x="72" y="32"/>
                    <a:pt x="72" y="32"/>
                    <a:pt x="72" y="32"/>
                  </a:cubicBezTo>
                  <a:cubicBezTo>
                    <a:pt x="72" y="19"/>
                    <a:pt x="54" y="20"/>
                    <a:pt x="54" y="30"/>
                  </a:cubicBezTo>
                  <a:cubicBezTo>
                    <a:pt x="54" y="87"/>
                    <a:pt x="54" y="87"/>
                    <a:pt x="54" y="87"/>
                  </a:cubicBezTo>
                  <a:moveTo>
                    <a:pt x="69" y="173"/>
                  </a:moveTo>
                  <a:cubicBezTo>
                    <a:pt x="94" y="131"/>
                    <a:pt x="94" y="131"/>
                    <a:pt x="94" y="131"/>
                  </a:cubicBezTo>
                  <a:cubicBezTo>
                    <a:pt x="94" y="69"/>
                    <a:pt x="94" y="69"/>
                    <a:pt x="94" y="69"/>
                  </a:cubicBezTo>
                  <a:cubicBezTo>
                    <a:pt x="94" y="69"/>
                    <a:pt x="72" y="73"/>
                    <a:pt x="72" y="87"/>
                  </a:cubicBezTo>
                  <a:cubicBezTo>
                    <a:pt x="72" y="107"/>
                    <a:pt x="72" y="107"/>
                    <a:pt x="72" y="107"/>
                  </a:cubicBezTo>
                  <a:cubicBezTo>
                    <a:pt x="72" y="107"/>
                    <a:pt x="42" y="117"/>
                    <a:pt x="42" y="134"/>
                  </a:cubicBezTo>
                </a:path>
              </a:pathLst>
            </a:custGeom>
            <a:noFill/>
            <a:ln w="19050" cap="rnd">
              <a:solidFill>
                <a:schemeClr val="accent3">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51" name="Oval 50"/>
            <p:cNvSpPr/>
            <p:nvPr/>
          </p:nvSpPr>
          <p:spPr>
            <a:xfrm>
              <a:off x="7372583" y="4871424"/>
              <a:ext cx="432049" cy="432048"/>
            </a:xfrm>
            <a:prstGeom prst="ellipse">
              <a:avLst/>
            </a:prstGeom>
            <a:solidFill>
              <a:srgbClr val="FFC000"/>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US" b="1">
                  <a:latin typeface="Arial" pitchFamily="34" charset="0"/>
                  <a:cs typeface="Arial" pitchFamily="34" charset="0"/>
                </a:rPr>
                <a:t>4</a:t>
              </a:r>
            </a:p>
          </p:txBody>
        </p:sp>
      </p:grpSp>
      <p:grpSp>
        <p:nvGrpSpPr>
          <p:cNvPr id="15" name="Group 14">
            <a:extLst>
              <a:ext uri="{FF2B5EF4-FFF2-40B4-BE49-F238E27FC236}">
                <a16:creationId xmlns:a16="http://schemas.microsoft.com/office/drawing/2014/main" id="{7BDC6125-85F2-47AE-94F2-A0D9727F733C}"/>
              </a:ext>
            </a:extLst>
          </p:cNvPr>
          <p:cNvGrpSpPr/>
          <p:nvPr/>
        </p:nvGrpSpPr>
        <p:grpSpPr>
          <a:xfrm>
            <a:off x="1653154" y="3364700"/>
            <a:ext cx="6063580" cy="1190936"/>
            <a:chOff x="7374730" y="3647000"/>
            <a:chExt cx="6063580" cy="1190936"/>
          </a:xfrm>
        </p:grpSpPr>
        <p:sp>
          <p:nvSpPr>
            <p:cNvPr id="8" name="Freeform 7"/>
            <p:cNvSpPr/>
            <p:nvPr/>
          </p:nvSpPr>
          <p:spPr>
            <a:xfrm>
              <a:off x="7593020" y="3647000"/>
              <a:ext cx="5845290" cy="873191"/>
            </a:xfrm>
            <a:custGeom>
              <a:avLst/>
              <a:gdLst>
                <a:gd name="connsiteX0" fmla="*/ 0 w 5845290"/>
                <a:gd name="connsiteY0" fmla="*/ 87319 h 873191"/>
                <a:gd name="connsiteX1" fmla="*/ 87319 w 5845290"/>
                <a:gd name="connsiteY1" fmla="*/ 0 h 873191"/>
                <a:gd name="connsiteX2" fmla="*/ 5757971 w 5845290"/>
                <a:gd name="connsiteY2" fmla="*/ 0 h 873191"/>
                <a:gd name="connsiteX3" fmla="*/ 5845290 w 5845290"/>
                <a:gd name="connsiteY3" fmla="*/ 87319 h 873191"/>
                <a:gd name="connsiteX4" fmla="*/ 5845290 w 5845290"/>
                <a:gd name="connsiteY4" fmla="*/ 785872 h 873191"/>
                <a:gd name="connsiteX5" fmla="*/ 5757971 w 5845290"/>
                <a:gd name="connsiteY5" fmla="*/ 873191 h 873191"/>
                <a:gd name="connsiteX6" fmla="*/ 87319 w 5845290"/>
                <a:gd name="connsiteY6" fmla="*/ 873191 h 873191"/>
                <a:gd name="connsiteX7" fmla="*/ 0 w 5845290"/>
                <a:gd name="connsiteY7" fmla="*/ 785872 h 873191"/>
                <a:gd name="connsiteX8" fmla="*/ 0 w 5845290"/>
                <a:gd name="connsiteY8" fmla="*/ 87319 h 8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5290" h="873191">
                  <a:moveTo>
                    <a:pt x="0" y="87319"/>
                  </a:moveTo>
                  <a:cubicBezTo>
                    <a:pt x="0" y="39094"/>
                    <a:pt x="39094" y="0"/>
                    <a:pt x="87319" y="0"/>
                  </a:cubicBezTo>
                  <a:lnTo>
                    <a:pt x="5757971" y="0"/>
                  </a:lnTo>
                  <a:cubicBezTo>
                    <a:pt x="5806196" y="0"/>
                    <a:pt x="5845290" y="39094"/>
                    <a:pt x="5845290" y="87319"/>
                  </a:cubicBezTo>
                  <a:lnTo>
                    <a:pt x="5845290" y="785872"/>
                  </a:lnTo>
                  <a:cubicBezTo>
                    <a:pt x="5845290" y="834097"/>
                    <a:pt x="5806196" y="873191"/>
                    <a:pt x="5757971" y="873191"/>
                  </a:cubicBezTo>
                  <a:lnTo>
                    <a:pt x="87319" y="873191"/>
                  </a:lnTo>
                  <a:cubicBezTo>
                    <a:pt x="39094" y="873191"/>
                    <a:pt x="0" y="834097"/>
                    <a:pt x="0" y="785872"/>
                  </a:cubicBezTo>
                  <a:lnTo>
                    <a:pt x="0" y="87319"/>
                  </a:lnTo>
                  <a:close/>
                </a:path>
              </a:pathLst>
            </a:custGeom>
            <a:ln>
              <a:solidFill>
                <a:srgbClr val="00A0D6"/>
              </a:solidFill>
            </a:ln>
          </p:spPr>
          <p:style>
            <a:lnRef idx="3">
              <a:scrgbClr r="0" g="0" b="0"/>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6535" tIns="86535" rIns="1090608" bIns="86535" numCol="1" spcCol="1270" anchor="ctr" anchorCtr="0">
              <a:noAutofit/>
            </a:bodyPr>
            <a:lstStyle/>
            <a:p>
              <a:pPr marL="288925" lvl="0" indent="0" algn="l" defTabSz="914400" rtl="0" eaLnBrk="1" latinLnBrk="0" hangingPunct="1">
                <a:lnSpc>
                  <a:spcPct val="90000"/>
                </a:lnSpc>
                <a:spcBef>
                  <a:spcPct val="0"/>
                </a:spcBef>
                <a:spcAft>
                  <a:spcPct val="35000"/>
                </a:spcAft>
              </a:pPr>
              <a:r>
                <a:rPr lang="en-US" sz="1400" b="0" kern="1200">
                  <a:solidFill>
                    <a:srgbClr val="00A0D6"/>
                  </a:solidFill>
                  <a:latin typeface="Arial" pitchFamily="34" charset="0"/>
                  <a:ea typeface="+mn-ea"/>
                  <a:cs typeface="Arial" pitchFamily="34" charset="0"/>
                </a:rPr>
                <a:t>Click </a:t>
              </a:r>
              <a:r>
                <a:rPr lang="en-US" sz="1400" b="1" kern="1200">
                  <a:latin typeface="Arial" pitchFamily="34" charset="0"/>
                  <a:ea typeface="+mn-ea"/>
                  <a:cs typeface="Arial" pitchFamily="34" charset="0"/>
                </a:rPr>
                <a:t>Courses</a:t>
              </a:r>
              <a:r>
                <a:rPr lang="en-US" sz="1400" b="0" kern="1200">
                  <a:latin typeface="Arial" pitchFamily="34" charset="0"/>
                  <a:ea typeface="+mn-ea"/>
                  <a:cs typeface="Arial" pitchFamily="34" charset="0"/>
                </a:rPr>
                <a:t> </a:t>
              </a:r>
              <a:r>
                <a:rPr lang="en-US" sz="1400" b="0" kern="1200">
                  <a:solidFill>
                    <a:srgbClr val="00A0D6"/>
                  </a:solidFill>
                  <a:latin typeface="Arial" pitchFamily="34" charset="0"/>
                  <a:ea typeface="+mn-ea"/>
                  <a:cs typeface="Arial" pitchFamily="34" charset="0"/>
                </a:rPr>
                <a:t>to explore the </a:t>
              </a:r>
              <a:r>
                <a:rPr lang="en-US" sz="1400" b="0" i="1" kern="1200">
                  <a:solidFill>
                    <a:srgbClr val="00A0D6"/>
                  </a:solidFill>
                  <a:latin typeface="Arial" pitchFamily="34" charset="0"/>
                  <a:ea typeface="+mn-ea"/>
                  <a:cs typeface="Arial" pitchFamily="34" charset="0"/>
                </a:rPr>
                <a:t>Learning Journeys</a:t>
              </a:r>
              <a:r>
                <a:rPr lang="en-US" sz="1400" b="0" kern="1200">
                  <a:solidFill>
                    <a:srgbClr val="00A0D6"/>
                  </a:solidFill>
                  <a:latin typeface="Arial" pitchFamily="34" charset="0"/>
                  <a:ea typeface="+mn-ea"/>
                  <a:cs typeface="Arial" pitchFamily="34" charset="0"/>
                </a:rPr>
                <a:t> aligned to the competencies required for your role.</a:t>
              </a:r>
            </a:p>
          </p:txBody>
        </p:sp>
        <p:sp>
          <p:nvSpPr>
            <p:cNvPr id="13" name="Freeform 12"/>
            <p:cNvSpPr/>
            <p:nvPr/>
          </p:nvSpPr>
          <p:spPr>
            <a:xfrm>
              <a:off x="12870736" y="4270362"/>
              <a:ext cx="567574" cy="567574"/>
            </a:xfrm>
            <a:custGeom>
              <a:avLst/>
              <a:gdLst>
                <a:gd name="connsiteX0" fmla="*/ 0 w 567574"/>
                <a:gd name="connsiteY0" fmla="*/ 312166 h 567574"/>
                <a:gd name="connsiteX1" fmla="*/ 127704 w 567574"/>
                <a:gd name="connsiteY1" fmla="*/ 312166 h 567574"/>
                <a:gd name="connsiteX2" fmla="*/ 127704 w 567574"/>
                <a:gd name="connsiteY2" fmla="*/ 0 h 567574"/>
                <a:gd name="connsiteX3" fmla="*/ 439870 w 567574"/>
                <a:gd name="connsiteY3" fmla="*/ 0 h 567574"/>
                <a:gd name="connsiteX4" fmla="*/ 439870 w 567574"/>
                <a:gd name="connsiteY4" fmla="*/ 312166 h 567574"/>
                <a:gd name="connsiteX5" fmla="*/ 567574 w 567574"/>
                <a:gd name="connsiteY5" fmla="*/ 312166 h 567574"/>
                <a:gd name="connsiteX6" fmla="*/ 283787 w 567574"/>
                <a:gd name="connsiteY6" fmla="*/ 567574 h 567574"/>
                <a:gd name="connsiteX7" fmla="*/ 0 w 567574"/>
                <a:gd name="connsiteY7" fmla="*/ 312166 h 56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574" h="567574">
                  <a:moveTo>
                    <a:pt x="0" y="312166"/>
                  </a:moveTo>
                  <a:lnTo>
                    <a:pt x="127704" y="312166"/>
                  </a:lnTo>
                  <a:lnTo>
                    <a:pt x="127704" y="0"/>
                  </a:lnTo>
                  <a:lnTo>
                    <a:pt x="439870" y="0"/>
                  </a:lnTo>
                  <a:lnTo>
                    <a:pt x="439870" y="312166"/>
                  </a:lnTo>
                  <a:lnTo>
                    <a:pt x="567574" y="312166"/>
                  </a:lnTo>
                  <a:lnTo>
                    <a:pt x="283787" y="567574"/>
                  </a:lnTo>
                  <a:lnTo>
                    <a:pt x="0" y="312166"/>
                  </a:lnTo>
                  <a:close/>
                </a:path>
              </a:pathLst>
            </a:custGeom>
            <a:solidFill>
              <a:schemeClr val="accent4">
                <a:lumMod val="60000"/>
                <a:lumOff val="40000"/>
                <a:alpha val="90000"/>
              </a:schemeClr>
            </a:solidFill>
            <a:ln>
              <a:solidFill>
                <a:srgbClr val="00A0D6"/>
              </a:solidFill>
            </a:ln>
          </p:spPr>
          <p:style>
            <a:lnRef idx="2">
              <a:scrgbClr r="0" g="0" b="0"/>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8024" tIns="20320" rIns="148024" bIns="160795" numCol="1" spcCol="1270" anchor="ctr" anchorCtr="0">
              <a:noAutofit/>
            </a:bodyPr>
            <a:lstStyle/>
            <a:p>
              <a:pPr lvl="0" algn="l" defTabSz="711200">
                <a:lnSpc>
                  <a:spcPct val="90000"/>
                </a:lnSpc>
                <a:spcBef>
                  <a:spcPct val="0"/>
                </a:spcBef>
                <a:spcAft>
                  <a:spcPct val="35000"/>
                </a:spcAft>
              </a:pPr>
              <a:endParaRPr lang="en-US" sz="1600" kern="1200">
                <a:solidFill>
                  <a:sysClr val="windowText" lastClr="000000"/>
                </a:solidFill>
                <a:latin typeface="Gill Sans MT"/>
                <a:ea typeface="+mn-ea"/>
                <a:cs typeface="+mn-cs"/>
              </a:endParaRPr>
            </a:p>
          </p:txBody>
        </p:sp>
        <p:grpSp>
          <p:nvGrpSpPr>
            <p:cNvPr id="32" name="Group 52"/>
            <p:cNvGrpSpPr/>
            <p:nvPr/>
          </p:nvGrpSpPr>
          <p:grpSpPr>
            <a:xfrm>
              <a:off x="12795416" y="3838384"/>
              <a:ext cx="511884" cy="330507"/>
              <a:chOff x="8153400" y="3352800"/>
              <a:chExt cx="2897984" cy="2438400"/>
            </a:xfrm>
          </p:grpSpPr>
          <p:sp>
            <p:nvSpPr>
              <p:cNvPr id="33" name="Freeform 776"/>
              <p:cNvSpPr>
                <a:spLocks noChangeAspect="1"/>
              </p:cNvSpPr>
              <p:nvPr/>
            </p:nvSpPr>
            <p:spPr bwMode="auto">
              <a:xfrm>
                <a:off x="10119430" y="3748563"/>
                <a:ext cx="268099" cy="1008552"/>
              </a:xfrm>
              <a:custGeom>
                <a:avLst/>
                <a:gdLst/>
                <a:ahLst/>
                <a:cxnLst>
                  <a:cxn ang="0">
                    <a:pos x="22" y="94"/>
                  </a:cxn>
                  <a:cxn ang="0">
                    <a:pos x="25" y="67"/>
                  </a:cxn>
                  <a:cxn ang="0">
                    <a:pos x="0" y="0"/>
                  </a:cxn>
                </a:cxnLst>
                <a:rect l="0" t="0" r="r" b="b"/>
                <a:pathLst>
                  <a:path w="25" h="94">
                    <a:moveTo>
                      <a:pt x="22" y="94"/>
                    </a:moveTo>
                    <a:cubicBezTo>
                      <a:pt x="24" y="85"/>
                      <a:pt x="25" y="76"/>
                      <a:pt x="25" y="67"/>
                    </a:cubicBezTo>
                    <a:cubicBezTo>
                      <a:pt x="25" y="42"/>
                      <a:pt x="16" y="18"/>
                      <a:pt x="0" y="0"/>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34" name="Freeform 777"/>
              <p:cNvSpPr>
                <a:spLocks/>
              </p:cNvSpPr>
              <p:nvPr/>
            </p:nvSpPr>
            <p:spPr bwMode="auto">
              <a:xfrm>
                <a:off x="8153400" y="3761326"/>
                <a:ext cx="1123446" cy="1825603"/>
              </a:xfrm>
              <a:custGeom>
                <a:avLst/>
                <a:gdLst/>
                <a:ahLst/>
                <a:cxnLst>
                  <a:cxn ang="0">
                    <a:pos x="24" y="0"/>
                  </a:cxn>
                  <a:cxn ang="0">
                    <a:pos x="0" y="66"/>
                  </a:cxn>
                  <a:cxn ang="0">
                    <a:pos x="104" y="170"/>
                  </a:cxn>
                </a:cxnLst>
                <a:rect l="0" t="0" r="r" b="b"/>
                <a:pathLst>
                  <a:path w="104" h="170">
                    <a:moveTo>
                      <a:pt x="24" y="0"/>
                    </a:moveTo>
                    <a:cubicBezTo>
                      <a:pt x="9" y="18"/>
                      <a:pt x="0" y="41"/>
                      <a:pt x="0" y="66"/>
                    </a:cubicBezTo>
                    <a:cubicBezTo>
                      <a:pt x="0" y="124"/>
                      <a:pt x="47" y="170"/>
                      <a:pt x="104" y="170"/>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35" name="Freeform 778"/>
              <p:cNvSpPr>
                <a:spLocks/>
              </p:cNvSpPr>
              <p:nvPr/>
            </p:nvSpPr>
            <p:spPr bwMode="auto">
              <a:xfrm>
                <a:off x="8408729" y="3352800"/>
                <a:ext cx="1710702" cy="408526"/>
              </a:xfrm>
              <a:custGeom>
                <a:avLst/>
                <a:gdLst/>
                <a:ahLst/>
                <a:cxnLst>
                  <a:cxn ang="0">
                    <a:pos x="0" y="38"/>
                  </a:cxn>
                  <a:cxn ang="0">
                    <a:pos x="80" y="0"/>
                  </a:cxn>
                  <a:cxn ang="0">
                    <a:pos x="159" y="37"/>
                  </a:cxn>
                </a:cxnLst>
                <a:rect l="0" t="0" r="r" b="b"/>
                <a:pathLst>
                  <a:path w="159" h="38">
                    <a:moveTo>
                      <a:pt x="0" y="38"/>
                    </a:moveTo>
                    <a:cubicBezTo>
                      <a:pt x="19" y="15"/>
                      <a:pt x="48" y="0"/>
                      <a:pt x="80" y="0"/>
                    </a:cubicBezTo>
                    <a:cubicBezTo>
                      <a:pt x="112" y="0"/>
                      <a:pt x="140" y="15"/>
                      <a:pt x="159" y="37"/>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36" name="Freeform 779"/>
              <p:cNvSpPr>
                <a:spLocks/>
              </p:cNvSpPr>
              <p:nvPr/>
            </p:nvSpPr>
            <p:spPr bwMode="auto">
              <a:xfrm>
                <a:off x="8408729" y="3748563"/>
                <a:ext cx="1710702" cy="204263"/>
              </a:xfrm>
              <a:custGeom>
                <a:avLst/>
                <a:gdLst/>
                <a:ahLst/>
                <a:cxnLst>
                  <a:cxn ang="0">
                    <a:pos x="0" y="1"/>
                  </a:cxn>
                  <a:cxn ang="0">
                    <a:pos x="80" y="19"/>
                  </a:cxn>
                  <a:cxn ang="0">
                    <a:pos x="159" y="0"/>
                  </a:cxn>
                </a:cxnLst>
                <a:rect l="0" t="0" r="r" b="b"/>
                <a:pathLst>
                  <a:path w="159" h="19">
                    <a:moveTo>
                      <a:pt x="0" y="1"/>
                    </a:moveTo>
                    <a:cubicBezTo>
                      <a:pt x="19" y="12"/>
                      <a:pt x="48" y="19"/>
                      <a:pt x="80" y="19"/>
                    </a:cubicBezTo>
                    <a:cubicBezTo>
                      <a:pt x="112" y="19"/>
                      <a:pt x="140" y="11"/>
                      <a:pt x="159" y="0"/>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37" name="Freeform 780"/>
              <p:cNvSpPr>
                <a:spLocks/>
              </p:cNvSpPr>
              <p:nvPr/>
            </p:nvSpPr>
            <p:spPr bwMode="auto">
              <a:xfrm>
                <a:off x="8408729" y="4986903"/>
                <a:ext cx="1097913" cy="204263"/>
              </a:xfrm>
              <a:custGeom>
                <a:avLst/>
                <a:gdLst/>
                <a:ahLst/>
                <a:cxnLst>
                  <a:cxn ang="0">
                    <a:pos x="102" y="1"/>
                  </a:cxn>
                  <a:cxn ang="0">
                    <a:pos x="80" y="0"/>
                  </a:cxn>
                  <a:cxn ang="0">
                    <a:pos x="0" y="18"/>
                  </a:cxn>
                </a:cxnLst>
                <a:rect l="0" t="0" r="r" b="b"/>
                <a:pathLst>
                  <a:path w="102" h="18">
                    <a:moveTo>
                      <a:pt x="102" y="1"/>
                    </a:moveTo>
                    <a:cubicBezTo>
                      <a:pt x="95" y="0"/>
                      <a:pt x="88" y="0"/>
                      <a:pt x="80" y="0"/>
                    </a:cubicBezTo>
                    <a:cubicBezTo>
                      <a:pt x="48" y="0"/>
                      <a:pt x="19" y="7"/>
                      <a:pt x="0" y="18"/>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0" name="Freeform 781"/>
              <p:cNvSpPr>
                <a:spLocks/>
              </p:cNvSpPr>
              <p:nvPr/>
            </p:nvSpPr>
            <p:spPr bwMode="auto">
              <a:xfrm>
                <a:off x="8676828" y="3352800"/>
                <a:ext cx="1200045" cy="2234129"/>
              </a:xfrm>
              <a:custGeom>
                <a:avLst/>
                <a:gdLst/>
                <a:ahLst/>
                <a:cxnLst>
                  <a:cxn ang="0">
                    <a:pos x="55" y="208"/>
                  </a:cxn>
                  <a:cxn ang="0">
                    <a:pos x="0" y="104"/>
                  </a:cxn>
                  <a:cxn ang="0">
                    <a:pos x="56" y="0"/>
                  </a:cxn>
                  <a:cxn ang="0">
                    <a:pos x="112" y="104"/>
                  </a:cxn>
                  <a:cxn ang="0">
                    <a:pos x="110" y="131"/>
                  </a:cxn>
                </a:cxnLst>
                <a:rect l="0" t="0" r="r" b="b"/>
                <a:pathLst>
                  <a:path w="112" h="208">
                    <a:moveTo>
                      <a:pt x="55" y="208"/>
                    </a:moveTo>
                    <a:cubicBezTo>
                      <a:pt x="24" y="207"/>
                      <a:pt x="0" y="161"/>
                      <a:pt x="0" y="104"/>
                    </a:cubicBezTo>
                    <a:cubicBezTo>
                      <a:pt x="0" y="47"/>
                      <a:pt x="25" y="0"/>
                      <a:pt x="56" y="0"/>
                    </a:cubicBezTo>
                    <a:cubicBezTo>
                      <a:pt x="87" y="0"/>
                      <a:pt x="112" y="47"/>
                      <a:pt x="112" y="104"/>
                    </a:cubicBezTo>
                    <a:cubicBezTo>
                      <a:pt x="112" y="114"/>
                      <a:pt x="112" y="123"/>
                      <a:pt x="110" y="131"/>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1" name="Freeform 782"/>
              <p:cNvSpPr>
                <a:spLocks/>
              </p:cNvSpPr>
              <p:nvPr/>
            </p:nvSpPr>
            <p:spPr bwMode="auto">
              <a:xfrm>
                <a:off x="9851339" y="4757107"/>
                <a:ext cx="12770" cy="25533"/>
              </a:xfrm>
              <a:custGeom>
                <a:avLst/>
                <a:gdLst/>
                <a:ahLst/>
                <a:cxnLst>
                  <a:cxn ang="0">
                    <a:pos x="0" y="0"/>
                  </a:cxn>
                  <a:cxn ang="0">
                    <a:pos x="0" y="2"/>
                  </a:cxn>
                </a:cxnLst>
                <a:rect l="0" t="0" r="r" b="b"/>
                <a:pathLst>
                  <a:path h="2">
                    <a:moveTo>
                      <a:pt x="0" y="0"/>
                    </a:moveTo>
                    <a:cubicBezTo>
                      <a:pt x="0" y="1"/>
                      <a:pt x="0" y="1"/>
                      <a:pt x="0" y="2"/>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2" name="Line 783"/>
              <p:cNvSpPr>
                <a:spLocks noChangeShapeType="1"/>
              </p:cNvSpPr>
              <p:nvPr/>
            </p:nvSpPr>
            <p:spPr bwMode="auto">
              <a:xfrm>
                <a:off x="8153400" y="4463483"/>
                <a:ext cx="2234130" cy="12770"/>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3" name="Line 784"/>
              <p:cNvSpPr>
                <a:spLocks noChangeShapeType="1"/>
              </p:cNvSpPr>
              <p:nvPr/>
            </p:nvSpPr>
            <p:spPr bwMode="auto">
              <a:xfrm flipV="1">
                <a:off x="9276846" y="3352800"/>
                <a:ext cx="12770" cy="1902202"/>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4" name="Freeform 785"/>
              <p:cNvSpPr>
                <a:spLocks/>
              </p:cNvSpPr>
              <p:nvPr/>
            </p:nvSpPr>
            <p:spPr bwMode="auto">
              <a:xfrm>
                <a:off x="9251313" y="4769886"/>
                <a:ext cx="1800071" cy="1021314"/>
              </a:xfrm>
              <a:custGeom>
                <a:avLst/>
                <a:gdLst/>
                <a:ahLst/>
                <a:cxnLst>
                  <a:cxn ang="0">
                    <a:pos x="94" y="67"/>
                  </a:cxn>
                  <a:cxn ang="0">
                    <a:pos x="130" y="95"/>
                  </a:cxn>
                  <a:cxn ang="0">
                    <a:pos x="167" y="58"/>
                  </a:cxn>
                  <a:cxn ang="0">
                    <a:pos x="150" y="27"/>
                  </a:cxn>
                  <a:cxn ang="0">
                    <a:pos x="116" y="11"/>
                  </a:cxn>
                  <a:cxn ang="0">
                    <a:pos x="103" y="0"/>
                  </a:cxn>
                  <a:cxn ang="0">
                    <a:pos x="92" y="7"/>
                  </a:cxn>
                  <a:cxn ang="0">
                    <a:pos x="82" y="7"/>
                  </a:cxn>
                  <a:cxn ang="0">
                    <a:pos x="75" y="7"/>
                  </a:cxn>
                  <a:cxn ang="0">
                    <a:pos x="64" y="0"/>
                  </a:cxn>
                  <a:cxn ang="0">
                    <a:pos x="51" y="11"/>
                  </a:cxn>
                  <a:cxn ang="0">
                    <a:pos x="10" y="33"/>
                  </a:cxn>
                  <a:cxn ang="0">
                    <a:pos x="0" y="58"/>
                  </a:cxn>
                  <a:cxn ang="0">
                    <a:pos x="37" y="95"/>
                  </a:cxn>
                  <a:cxn ang="0">
                    <a:pos x="73" y="67"/>
                  </a:cxn>
                </a:cxnLst>
                <a:rect l="0" t="0" r="r" b="b"/>
                <a:pathLst>
                  <a:path w="167" h="95">
                    <a:moveTo>
                      <a:pt x="94" y="67"/>
                    </a:moveTo>
                    <a:cubicBezTo>
                      <a:pt x="98" y="83"/>
                      <a:pt x="113" y="95"/>
                      <a:pt x="130" y="95"/>
                    </a:cubicBezTo>
                    <a:cubicBezTo>
                      <a:pt x="150" y="95"/>
                      <a:pt x="167" y="79"/>
                      <a:pt x="167" y="58"/>
                    </a:cubicBezTo>
                    <a:cubicBezTo>
                      <a:pt x="167" y="45"/>
                      <a:pt x="160" y="34"/>
                      <a:pt x="150" y="27"/>
                    </a:cubicBezTo>
                    <a:cubicBezTo>
                      <a:pt x="143" y="22"/>
                      <a:pt x="132" y="15"/>
                      <a:pt x="116" y="11"/>
                    </a:cubicBezTo>
                    <a:cubicBezTo>
                      <a:pt x="115" y="5"/>
                      <a:pt x="110" y="0"/>
                      <a:pt x="103" y="0"/>
                    </a:cubicBezTo>
                    <a:cubicBezTo>
                      <a:pt x="98" y="0"/>
                      <a:pt x="94" y="3"/>
                      <a:pt x="92" y="7"/>
                    </a:cubicBezTo>
                    <a:cubicBezTo>
                      <a:pt x="89" y="7"/>
                      <a:pt x="85" y="7"/>
                      <a:pt x="82" y="7"/>
                    </a:cubicBezTo>
                    <a:cubicBezTo>
                      <a:pt x="80" y="7"/>
                      <a:pt x="77" y="7"/>
                      <a:pt x="75" y="7"/>
                    </a:cubicBezTo>
                    <a:cubicBezTo>
                      <a:pt x="73" y="3"/>
                      <a:pt x="69" y="0"/>
                      <a:pt x="64" y="0"/>
                    </a:cubicBezTo>
                    <a:cubicBezTo>
                      <a:pt x="57" y="0"/>
                      <a:pt x="52" y="5"/>
                      <a:pt x="51" y="11"/>
                    </a:cubicBezTo>
                    <a:cubicBezTo>
                      <a:pt x="23" y="18"/>
                      <a:pt x="12" y="32"/>
                      <a:pt x="10" y="33"/>
                    </a:cubicBezTo>
                    <a:cubicBezTo>
                      <a:pt x="4" y="40"/>
                      <a:pt x="0" y="49"/>
                      <a:pt x="0" y="58"/>
                    </a:cubicBezTo>
                    <a:cubicBezTo>
                      <a:pt x="0" y="79"/>
                      <a:pt x="17" y="95"/>
                      <a:pt x="37" y="95"/>
                    </a:cubicBezTo>
                    <a:cubicBezTo>
                      <a:pt x="54" y="95"/>
                      <a:pt x="69" y="83"/>
                      <a:pt x="73" y="67"/>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5" name="Freeform 786"/>
              <p:cNvSpPr>
                <a:spLocks/>
              </p:cNvSpPr>
              <p:nvPr/>
            </p:nvSpPr>
            <p:spPr bwMode="auto">
              <a:xfrm>
                <a:off x="10017299" y="5114575"/>
                <a:ext cx="255329" cy="229796"/>
              </a:xfrm>
              <a:custGeom>
                <a:avLst/>
                <a:gdLst/>
                <a:ahLst/>
                <a:cxnLst>
                  <a:cxn ang="0">
                    <a:pos x="12" y="0"/>
                  </a:cxn>
                  <a:cxn ang="0">
                    <a:pos x="24" y="12"/>
                  </a:cxn>
                  <a:cxn ang="0">
                    <a:pos x="22" y="21"/>
                  </a:cxn>
                  <a:cxn ang="0">
                    <a:pos x="2" y="21"/>
                  </a:cxn>
                  <a:cxn ang="0">
                    <a:pos x="0" y="12"/>
                  </a:cxn>
                  <a:cxn ang="0">
                    <a:pos x="12" y="0"/>
                  </a:cxn>
                </a:cxnLst>
                <a:rect l="0" t="0" r="r" b="b"/>
                <a:pathLst>
                  <a:path w="24" h="21">
                    <a:moveTo>
                      <a:pt x="12" y="0"/>
                    </a:moveTo>
                    <a:cubicBezTo>
                      <a:pt x="19" y="0"/>
                      <a:pt x="24" y="6"/>
                      <a:pt x="24" y="12"/>
                    </a:cubicBezTo>
                    <a:cubicBezTo>
                      <a:pt x="24" y="13"/>
                      <a:pt x="23" y="19"/>
                      <a:pt x="22" y="21"/>
                    </a:cubicBezTo>
                    <a:cubicBezTo>
                      <a:pt x="2" y="21"/>
                      <a:pt x="2" y="21"/>
                      <a:pt x="2" y="21"/>
                    </a:cubicBezTo>
                    <a:cubicBezTo>
                      <a:pt x="2" y="18"/>
                      <a:pt x="0" y="12"/>
                      <a:pt x="0" y="12"/>
                    </a:cubicBezTo>
                    <a:cubicBezTo>
                      <a:pt x="0" y="6"/>
                      <a:pt x="6" y="0"/>
                      <a:pt x="12" y="0"/>
                    </a:cubicBezTo>
                    <a:close/>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6" name="Oval 787"/>
              <p:cNvSpPr>
                <a:spLocks noChangeArrowheads="1"/>
              </p:cNvSpPr>
              <p:nvPr/>
            </p:nvSpPr>
            <p:spPr bwMode="auto">
              <a:xfrm>
                <a:off x="9378977" y="5114575"/>
                <a:ext cx="536190" cy="548960"/>
              </a:xfrm>
              <a:prstGeom prst="ellips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7" name="Oval 788"/>
              <p:cNvSpPr>
                <a:spLocks noChangeArrowheads="1"/>
              </p:cNvSpPr>
              <p:nvPr/>
            </p:nvSpPr>
            <p:spPr bwMode="auto">
              <a:xfrm>
                <a:off x="10374767" y="5127362"/>
                <a:ext cx="536190" cy="536190"/>
              </a:xfrm>
              <a:prstGeom prst="ellips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grpSp>
        <p:sp>
          <p:nvSpPr>
            <p:cNvPr id="50" name="Oval 49"/>
            <p:cNvSpPr/>
            <p:nvPr/>
          </p:nvSpPr>
          <p:spPr>
            <a:xfrm>
              <a:off x="7374730" y="3859051"/>
              <a:ext cx="432049" cy="432048"/>
            </a:xfrm>
            <a:prstGeom prst="ellipse">
              <a:avLst/>
            </a:prstGeom>
            <a:solidFill>
              <a:schemeClr val="accent4">
                <a:lumMod val="60000"/>
                <a:lumOff val="4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US" b="1">
                  <a:latin typeface="Arial" pitchFamily="34" charset="0"/>
                  <a:cs typeface="Arial" pitchFamily="34" charset="0"/>
                </a:rPr>
                <a:t>3</a:t>
              </a:r>
            </a:p>
          </p:txBody>
        </p:sp>
      </p:grpSp>
      <p:grpSp>
        <p:nvGrpSpPr>
          <p:cNvPr id="7" name="Group 6">
            <a:extLst>
              <a:ext uri="{FF2B5EF4-FFF2-40B4-BE49-F238E27FC236}">
                <a16:creationId xmlns:a16="http://schemas.microsoft.com/office/drawing/2014/main" id="{97263003-96E5-4350-AE5C-AF6E66579C2A}"/>
              </a:ext>
            </a:extLst>
          </p:cNvPr>
          <p:cNvGrpSpPr/>
          <p:nvPr/>
        </p:nvGrpSpPr>
        <p:grpSpPr>
          <a:xfrm>
            <a:off x="1669594" y="2421658"/>
            <a:ext cx="6097472" cy="1191586"/>
            <a:chOff x="7372973" y="2652531"/>
            <a:chExt cx="6097472" cy="1191586"/>
          </a:xfrm>
        </p:grpSpPr>
        <p:sp>
          <p:nvSpPr>
            <p:cNvPr id="6" name="Freeform 5"/>
            <p:cNvSpPr/>
            <p:nvPr/>
          </p:nvSpPr>
          <p:spPr>
            <a:xfrm>
              <a:off x="7593020" y="2652531"/>
              <a:ext cx="5845290" cy="873191"/>
            </a:xfrm>
            <a:custGeom>
              <a:avLst/>
              <a:gdLst>
                <a:gd name="connsiteX0" fmla="*/ 0 w 5845290"/>
                <a:gd name="connsiteY0" fmla="*/ 87319 h 873191"/>
                <a:gd name="connsiteX1" fmla="*/ 87319 w 5845290"/>
                <a:gd name="connsiteY1" fmla="*/ 0 h 873191"/>
                <a:gd name="connsiteX2" fmla="*/ 5757971 w 5845290"/>
                <a:gd name="connsiteY2" fmla="*/ 0 h 873191"/>
                <a:gd name="connsiteX3" fmla="*/ 5845290 w 5845290"/>
                <a:gd name="connsiteY3" fmla="*/ 87319 h 873191"/>
                <a:gd name="connsiteX4" fmla="*/ 5845290 w 5845290"/>
                <a:gd name="connsiteY4" fmla="*/ 785872 h 873191"/>
                <a:gd name="connsiteX5" fmla="*/ 5757971 w 5845290"/>
                <a:gd name="connsiteY5" fmla="*/ 873191 h 873191"/>
                <a:gd name="connsiteX6" fmla="*/ 87319 w 5845290"/>
                <a:gd name="connsiteY6" fmla="*/ 873191 h 873191"/>
                <a:gd name="connsiteX7" fmla="*/ 0 w 5845290"/>
                <a:gd name="connsiteY7" fmla="*/ 785872 h 873191"/>
                <a:gd name="connsiteX8" fmla="*/ 0 w 5845290"/>
                <a:gd name="connsiteY8" fmla="*/ 87319 h 8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5290" h="873191">
                  <a:moveTo>
                    <a:pt x="0" y="87319"/>
                  </a:moveTo>
                  <a:cubicBezTo>
                    <a:pt x="0" y="39094"/>
                    <a:pt x="39094" y="0"/>
                    <a:pt x="87319" y="0"/>
                  </a:cubicBezTo>
                  <a:lnTo>
                    <a:pt x="5757971" y="0"/>
                  </a:lnTo>
                  <a:cubicBezTo>
                    <a:pt x="5806196" y="0"/>
                    <a:pt x="5845290" y="39094"/>
                    <a:pt x="5845290" y="87319"/>
                  </a:cubicBezTo>
                  <a:lnTo>
                    <a:pt x="5845290" y="785872"/>
                  </a:lnTo>
                  <a:cubicBezTo>
                    <a:pt x="5845290" y="834097"/>
                    <a:pt x="5806196" y="873191"/>
                    <a:pt x="5757971" y="873191"/>
                  </a:cubicBezTo>
                  <a:lnTo>
                    <a:pt x="87319" y="873191"/>
                  </a:lnTo>
                  <a:cubicBezTo>
                    <a:pt x="39094" y="873191"/>
                    <a:pt x="0" y="834097"/>
                    <a:pt x="0" y="785872"/>
                  </a:cubicBezTo>
                  <a:lnTo>
                    <a:pt x="0" y="87319"/>
                  </a:lnTo>
                  <a:close/>
                </a:path>
              </a:pathLst>
            </a:custGeom>
            <a:ln>
              <a:solidFill>
                <a:srgbClr val="00A0D6"/>
              </a:solidFill>
            </a:ln>
          </p:spPr>
          <p:style>
            <a:lnRef idx="3">
              <a:scrgbClr r="0" g="0" b="0"/>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391335" tIns="391335" rIns="1395408" bIns="391335" numCol="1" spcCol="1270" anchor="ctr" anchorCtr="0">
              <a:noAutofit/>
            </a:bodyPr>
            <a:lstStyle/>
            <a:p>
              <a:pPr marL="0" lvl="0" algn="l" defTabSz="914400" rtl="0" eaLnBrk="1" latinLnBrk="0" hangingPunct="1">
                <a:lnSpc>
                  <a:spcPct val="90000"/>
                </a:lnSpc>
                <a:spcBef>
                  <a:spcPct val="0"/>
                </a:spcBef>
                <a:spcAft>
                  <a:spcPct val="35000"/>
                </a:spcAft>
              </a:pPr>
              <a:r>
                <a:rPr lang="en-US" sz="1400" b="0" kern="1200">
                  <a:solidFill>
                    <a:srgbClr val="00A0D6"/>
                  </a:solidFill>
                  <a:latin typeface="Arial" pitchFamily="34" charset="0"/>
                  <a:ea typeface="+mn-ea"/>
                  <a:cs typeface="Arial" pitchFamily="34" charset="0"/>
                </a:rPr>
                <a:t>Click your </a:t>
              </a:r>
              <a:r>
                <a:rPr lang="en-US" sz="1400" b="1" kern="1200">
                  <a:latin typeface="Arial" pitchFamily="34" charset="0"/>
                  <a:ea typeface="+mn-ea"/>
                  <a:cs typeface="Arial" pitchFamily="34" charset="0"/>
                </a:rPr>
                <a:t>Role</a:t>
              </a:r>
              <a:r>
                <a:rPr lang="en-US" sz="1400" b="0" kern="1200">
                  <a:latin typeface="Arial" pitchFamily="34" charset="0"/>
                  <a:ea typeface="+mn-ea"/>
                  <a:cs typeface="Arial" pitchFamily="34" charset="0"/>
                </a:rPr>
                <a:t> </a:t>
              </a:r>
              <a:r>
                <a:rPr lang="en-US" sz="1400" b="0" kern="1200">
                  <a:solidFill>
                    <a:srgbClr val="00A0D6"/>
                  </a:solidFill>
                  <a:latin typeface="Arial" pitchFamily="34" charset="0"/>
                  <a:ea typeface="+mn-ea"/>
                  <a:cs typeface="Arial" pitchFamily="34" charset="0"/>
                </a:rPr>
                <a:t>to view the role </a:t>
              </a:r>
              <a:r>
                <a:rPr lang="en-US" sz="1400" b="1" i="1" kern="1200">
                  <a:solidFill>
                    <a:srgbClr val="00A0D6"/>
                  </a:solidFill>
                  <a:latin typeface="Arial" pitchFamily="34" charset="0"/>
                  <a:ea typeface="+mn-ea"/>
                  <a:cs typeface="Arial" pitchFamily="34" charset="0"/>
                </a:rPr>
                <a:t>description, competencies, and proficiencies </a:t>
              </a:r>
              <a:r>
                <a:rPr lang="en-US" sz="1400" b="0" kern="1200">
                  <a:solidFill>
                    <a:srgbClr val="00A0D6"/>
                  </a:solidFill>
                  <a:latin typeface="Arial" pitchFamily="34" charset="0"/>
                  <a:ea typeface="+mn-ea"/>
                  <a:cs typeface="Arial" pitchFamily="34" charset="0"/>
                </a:rPr>
                <a:t>for each competency.</a:t>
              </a:r>
            </a:p>
          </p:txBody>
        </p:sp>
        <p:sp>
          <p:nvSpPr>
            <p:cNvPr id="23" name="Freeform 721"/>
            <p:cNvSpPr>
              <a:spLocks noChangeAspect="1" noEditPoints="1"/>
            </p:cNvSpPr>
            <p:nvPr/>
          </p:nvSpPr>
          <p:spPr bwMode="auto">
            <a:xfrm>
              <a:off x="12813156" y="2835857"/>
              <a:ext cx="431688" cy="358765"/>
            </a:xfrm>
            <a:custGeom>
              <a:avLst/>
              <a:gdLst/>
              <a:ahLst/>
              <a:cxnLst>
                <a:cxn ang="0">
                  <a:pos x="72" y="15"/>
                </a:cxn>
                <a:cxn ang="0">
                  <a:pos x="75"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5" y="25"/>
                    <a:pt x="75" y="31"/>
                  </a:cubicBezTo>
                  <a:cubicBezTo>
                    <a:pt x="75"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000000"/>
                </a:solidFill>
                <a:latin typeface="Arial"/>
              </a:endParaRPr>
            </a:p>
          </p:txBody>
        </p:sp>
        <p:sp>
          <p:nvSpPr>
            <p:cNvPr id="49" name="Oval 48"/>
            <p:cNvSpPr/>
            <p:nvPr/>
          </p:nvSpPr>
          <p:spPr>
            <a:xfrm>
              <a:off x="7372973" y="2878553"/>
              <a:ext cx="432049" cy="432048"/>
            </a:xfrm>
            <a:prstGeom prst="ellipse">
              <a:avLst/>
            </a:prstGeom>
            <a:solidFill>
              <a:schemeClr val="accent6"/>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US" b="1">
                  <a:latin typeface="Arial" pitchFamily="34" charset="0"/>
                  <a:cs typeface="Arial" pitchFamily="34" charset="0"/>
                </a:rPr>
                <a:t>2</a:t>
              </a:r>
            </a:p>
          </p:txBody>
        </p:sp>
        <p:sp>
          <p:nvSpPr>
            <p:cNvPr id="12" name="Freeform 11"/>
            <p:cNvSpPr/>
            <p:nvPr/>
          </p:nvSpPr>
          <p:spPr>
            <a:xfrm>
              <a:off x="12902871" y="3276543"/>
              <a:ext cx="567574" cy="567574"/>
            </a:xfrm>
            <a:custGeom>
              <a:avLst/>
              <a:gdLst>
                <a:gd name="connsiteX0" fmla="*/ 0 w 567574"/>
                <a:gd name="connsiteY0" fmla="*/ 312166 h 567574"/>
                <a:gd name="connsiteX1" fmla="*/ 127704 w 567574"/>
                <a:gd name="connsiteY1" fmla="*/ 312166 h 567574"/>
                <a:gd name="connsiteX2" fmla="*/ 127704 w 567574"/>
                <a:gd name="connsiteY2" fmla="*/ 0 h 567574"/>
                <a:gd name="connsiteX3" fmla="*/ 439870 w 567574"/>
                <a:gd name="connsiteY3" fmla="*/ 0 h 567574"/>
                <a:gd name="connsiteX4" fmla="*/ 439870 w 567574"/>
                <a:gd name="connsiteY4" fmla="*/ 312166 h 567574"/>
                <a:gd name="connsiteX5" fmla="*/ 567574 w 567574"/>
                <a:gd name="connsiteY5" fmla="*/ 312166 h 567574"/>
                <a:gd name="connsiteX6" fmla="*/ 283787 w 567574"/>
                <a:gd name="connsiteY6" fmla="*/ 567574 h 567574"/>
                <a:gd name="connsiteX7" fmla="*/ 0 w 567574"/>
                <a:gd name="connsiteY7" fmla="*/ 312166 h 56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574" h="567574">
                  <a:moveTo>
                    <a:pt x="0" y="312166"/>
                  </a:moveTo>
                  <a:lnTo>
                    <a:pt x="127704" y="312166"/>
                  </a:lnTo>
                  <a:lnTo>
                    <a:pt x="127704" y="0"/>
                  </a:lnTo>
                  <a:lnTo>
                    <a:pt x="439870" y="0"/>
                  </a:lnTo>
                  <a:lnTo>
                    <a:pt x="439870" y="312166"/>
                  </a:lnTo>
                  <a:lnTo>
                    <a:pt x="567574" y="312166"/>
                  </a:lnTo>
                  <a:lnTo>
                    <a:pt x="283787" y="567574"/>
                  </a:lnTo>
                  <a:lnTo>
                    <a:pt x="0" y="312166"/>
                  </a:lnTo>
                  <a:close/>
                </a:path>
              </a:pathLst>
            </a:custGeom>
            <a:solidFill>
              <a:schemeClr val="accent6">
                <a:alpha val="90000"/>
              </a:schemeClr>
            </a:solidFill>
            <a:ln>
              <a:solidFill>
                <a:srgbClr val="00A0D6"/>
              </a:solidFill>
            </a:ln>
          </p:spPr>
          <p:style>
            <a:lnRef idx="2">
              <a:scrgbClr r="0" g="0" b="0"/>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8024" tIns="20320" rIns="148024" bIns="160795" numCol="1" spcCol="1270" anchor="ctr" anchorCtr="0">
              <a:noAutofit/>
            </a:bodyPr>
            <a:lstStyle/>
            <a:p>
              <a:pPr lvl="0" algn="l" defTabSz="711200">
                <a:lnSpc>
                  <a:spcPct val="90000"/>
                </a:lnSpc>
                <a:spcBef>
                  <a:spcPct val="0"/>
                </a:spcBef>
                <a:spcAft>
                  <a:spcPct val="35000"/>
                </a:spcAft>
              </a:pPr>
              <a:endParaRPr lang="en-US" sz="1600" kern="1200">
                <a:solidFill>
                  <a:sysClr val="windowText" lastClr="000000"/>
                </a:solidFill>
                <a:latin typeface="Gill Sans MT"/>
                <a:ea typeface="+mn-ea"/>
                <a:cs typeface="+mn-cs"/>
              </a:endParaRPr>
            </a:p>
          </p:txBody>
        </p:sp>
      </p:grpSp>
      <p:grpSp>
        <p:nvGrpSpPr>
          <p:cNvPr id="3" name="Group 2">
            <a:extLst>
              <a:ext uri="{FF2B5EF4-FFF2-40B4-BE49-F238E27FC236}">
                <a16:creationId xmlns:a16="http://schemas.microsoft.com/office/drawing/2014/main" id="{3B9771E6-7E64-4A69-8E47-398CC4128FCB}"/>
              </a:ext>
            </a:extLst>
          </p:cNvPr>
          <p:cNvGrpSpPr/>
          <p:nvPr/>
        </p:nvGrpSpPr>
        <p:grpSpPr>
          <a:xfrm>
            <a:off x="1653154" y="1455838"/>
            <a:ext cx="6066289" cy="1205489"/>
            <a:chOff x="7372021" y="1658063"/>
            <a:chExt cx="6066289" cy="1205489"/>
          </a:xfrm>
        </p:grpSpPr>
        <p:sp>
          <p:nvSpPr>
            <p:cNvPr id="5" name="Freeform 4"/>
            <p:cNvSpPr/>
            <p:nvPr/>
          </p:nvSpPr>
          <p:spPr>
            <a:xfrm>
              <a:off x="7593020" y="1658063"/>
              <a:ext cx="5845290" cy="873191"/>
            </a:xfrm>
            <a:custGeom>
              <a:avLst/>
              <a:gdLst>
                <a:gd name="connsiteX0" fmla="*/ 0 w 5845290"/>
                <a:gd name="connsiteY0" fmla="*/ 87319 h 873191"/>
                <a:gd name="connsiteX1" fmla="*/ 87319 w 5845290"/>
                <a:gd name="connsiteY1" fmla="*/ 0 h 873191"/>
                <a:gd name="connsiteX2" fmla="*/ 5757971 w 5845290"/>
                <a:gd name="connsiteY2" fmla="*/ 0 h 873191"/>
                <a:gd name="connsiteX3" fmla="*/ 5845290 w 5845290"/>
                <a:gd name="connsiteY3" fmla="*/ 87319 h 873191"/>
                <a:gd name="connsiteX4" fmla="*/ 5845290 w 5845290"/>
                <a:gd name="connsiteY4" fmla="*/ 785872 h 873191"/>
                <a:gd name="connsiteX5" fmla="*/ 5757971 w 5845290"/>
                <a:gd name="connsiteY5" fmla="*/ 873191 h 873191"/>
                <a:gd name="connsiteX6" fmla="*/ 87319 w 5845290"/>
                <a:gd name="connsiteY6" fmla="*/ 873191 h 873191"/>
                <a:gd name="connsiteX7" fmla="*/ 0 w 5845290"/>
                <a:gd name="connsiteY7" fmla="*/ 785872 h 873191"/>
                <a:gd name="connsiteX8" fmla="*/ 0 w 5845290"/>
                <a:gd name="connsiteY8" fmla="*/ 87319 h 8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45290" h="873191">
                  <a:moveTo>
                    <a:pt x="0" y="87319"/>
                  </a:moveTo>
                  <a:cubicBezTo>
                    <a:pt x="0" y="39094"/>
                    <a:pt x="39094" y="0"/>
                    <a:pt x="87319" y="0"/>
                  </a:cubicBezTo>
                  <a:lnTo>
                    <a:pt x="5757971" y="0"/>
                  </a:lnTo>
                  <a:cubicBezTo>
                    <a:pt x="5806196" y="0"/>
                    <a:pt x="5845290" y="39094"/>
                    <a:pt x="5845290" y="87319"/>
                  </a:cubicBezTo>
                  <a:lnTo>
                    <a:pt x="5845290" y="785872"/>
                  </a:lnTo>
                  <a:cubicBezTo>
                    <a:pt x="5845290" y="834097"/>
                    <a:pt x="5806196" y="873191"/>
                    <a:pt x="5757971" y="873191"/>
                  </a:cubicBezTo>
                  <a:lnTo>
                    <a:pt x="87319" y="873191"/>
                  </a:lnTo>
                  <a:cubicBezTo>
                    <a:pt x="39094" y="873191"/>
                    <a:pt x="0" y="834097"/>
                    <a:pt x="0" y="785872"/>
                  </a:cubicBezTo>
                  <a:lnTo>
                    <a:pt x="0" y="87319"/>
                  </a:lnTo>
                  <a:close/>
                </a:path>
              </a:pathLst>
            </a:custGeom>
            <a:ln>
              <a:solidFill>
                <a:srgbClr val="00A0D6"/>
              </a:solidFill>
            </a:ln>
          </p:spPr>
          <p:style>
            <a:lnRef idx="3">
              <a:scrgbClr r="0" g="0" b="0"/>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391335" tIns="391335" rIns="1384590" bIns="391335" numCol="1" spcCol="1270" anchor="ctr" anchorCtr="0">
              <a:noAutofit/>
            </a:bodyPr>
            <a:lstStyle/>
            <a:p>
              <a:pPr lvl="0" algn="l" defTabSz="711200">
                <a:lnSpc>
                  <a:spcPct val="90000"/>
                </a:lnSpc>
                <a:spcBef>
                  <a:spcPct val="0"/>
                </a:spcBef>
                <a:spcAft>
                  <a:spcPct val="35000"/>
                </a:spcAft>
              </a:pPr>
              <a:r>
                <a:rPr lang="en-US" sz="1400" b="0" kern="1200">
                  <a:solidFill>
                    <a:srgbClr val="00A0D6"/>
                  </a:solidFill>
                  <a:latin typeface="Arial" pitchFamily="34" charset="0"/>
                  <a:ea typeface="+mn-ea"/>
                  <a:cs typeface="Arial" pitchFamily="34" charset="0"/>
                </a:rPr>
                <a:t>To view your </a:t>
              </a:r>
              <a:r>
                <a:rPr lang="en-US" sz="1400" b="1" kern="1200">
                  <a:solidFill>
                    <a:schemeClr val="tx1"/>
                  </a:solidFill>
                  <a:latin typeface="Arial" pitchFamily="34" charset="0"/>
                  <a:ea typeface="+mn-ea"/>
                  <a:cs typeface="Arial" pitchFamily="34" charset="0"/>
                </a:rPr>
                <a:t>Role, </a:t>
              </a:r>
              <a:r>
                <a:rPr lang="en-US" sz="1400" b="0" kern="1200">
                  <a:solidFill>
                    <a:srgbClr val="00A0D6"/>
                  </a:solidFill>
                  <a:latin typeface="Arial" pitchFamily="34" charset="0"/>
                  <a:ea typeface="+mn-ea"/>
                  <a:cs typeface="Arial" pitchFamily="34" charset="0"/>
                </a:rPr>
                <a:t>go to </a:t>
              </a:r>
              <a:r>
                <a:rPr lang="en-US" sz="1400" b="1" kern="1200">
                  <a:latin typeface="Arial" pitchFamily="34" charset="0"/>
                  <a:ea typeface="+mn-ea"/>
                  <a:cs typeface="Arial" pitchFamily="34" charset="0"/>
                </a:rPr>
                <a:t>iConnect </a:t>
              </a:r>
              <a:r>
                <a:rPr lang="en-US" sz="1400" b="1" kern="1200">
                  <a:latin typeface="Arial" pitchFamily="34" charset="0"/>
                  <a:ea typeface="+mn-ea"/>
                  <a:cs typeface="Arial" pitchFamily="34" charset="0"/>
                  <a:sym typeface="Wingdings" pitchFamily="2" charset="2"/>
                </a:rPr>
                <a:t></a:t>
              </a:r>
              <a:r>
                <a:rPr lang="en-US" sz="1400" b="1" kern="1200">
                  <a:latin typeface="Arial" pitchFamily="34" charset="0"/>
                  <a:ea typeface="+mn-ea"/>
                  <a:cs typeface="Arial" pitchFamily="34" charset="0"/>
                </a:rPr>
                <a:t> Employee Management </a:t>
              </a:r>
              <a:r>
                <a:rPr lang="en-US" sz="1400" b="1" kern="1200">
                  <a:latin typeface="Arial" pitchFamily="34" charset="0"/>
                  <a:ea typeface="+mn-ea"/>
                  <a:cs typeface="Arial" pitchFamily="34" charset="0"/>
                  <a:sym typeface="Wingdings" pitchFamily="2" charset="2"/>
                </a:rPr>
                <a:t></a:t>
              </a:r>
              <a:r>
                <a:rPr lang="en-US" sz="1400" b="1" kern="1200">
                  <a:latin typeface="Arial" pitchFamily="34" charset="0"/>
                  <a:ea typeface="+mn-ea"/>
                  <a:cs typeface="Arial" pitchFamily="34" charset="0"/>
                </a:rPr>
                <a:t> Career Framework.</a:t>
              </a:r>
            </a:p>
          </p:txBody>
        </p:sp>
        <p:sp>
          <p:nvSpPr>
            <p:cNvPr id="11" name="Freeform 10"/>
            <p:cNvSpPr/>
            <p:nvPr/>
          </p:nvSpPr>
          <p:spPr>
            <a:xfrm>
              <a:off x="12870736" y="2295978"/>
              <a:ext cx="567574" cy="567574"/>
            </a:xfrm>
            <a:custGeom>
              <a:avLst/>
              <a:gdLst>
                <a:gd name="connsiteX0" fmla="*/ 0 w 567574"/>
                <a:gd name="connsiteY0" fmla="*/ 312166 h 567574"/>
                <a:gd name="connsiteX1" fmla="*/ 127704 w 567574"/>
                <a:gd name="connsiteY1" fmla="*/ 312166 h 567574"/>
                <a:gd name="connsiteX2" fmla="*/ 127704 w 567574"/>
                <a:gd name="connsiteY2" fmla="*/ 0 h 567574"/>
                <a:gd name="connsiteX3" fmla="*/ 439870 w 567574"/>
                <a:gd name="connsiteY3" fmla="*/ 0 h 567574"/>
                <a:gd name="connsiteX4" fmla="*/ 439870 w 567574"/>
                <a:gd name="connsiteY4" fmla="*/ 312166 h 567574"/>
                <a:gd name="connsiteX5" fmla="*/ 567574 w 567574"/>
                <a:gd name="connsiteY5" fmla="*/ 312166 h 567574"/>
                <a:gd name="connsiteX6" fmla="*/ 283787 w 567574"/>
                <a:gd name="connsiteY6" fmla="*/ 567574 h 567574"/>
                <a:gd name="connsiteX7" fmla="*/ 0 w 567574"/>
                <a:gd name="connsiteY7" fmla="*/ 312166 h 56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574" h="567574">
                  <a:moveTo>
                    <a:pt x="0" y="312166"/>
                  </a:moveTo>
                  <a:lnTo>
                    <a:pt x="127704" y="312166"/>
                  </a:lnTo>
                  <a:lnTo>
                    <a:pt x="127704" y="0"/>
                  </a:lnTo>
                  <a:lnTo>
                    <a:pt x="439870" y="0"/>
                  </a:lnTo>
                  <a:lnTo>
                    <a:pt x="439870" y="312166"/>
                  </a:lnTo>
                  <a:lnTo>
                    <a:pt x="567574" y="312166"/>
                  </a:lnTo>
                  <a:lnTo>
                    <a:pt x="283787" y="567574"/>
                  </a:lnTo>
                  <a:lnTo>
                    <a:pt x="0" y="312166"/>
                  </a:lnTo>
                  <a:close/>
                </a:path>
              </a:pathLst>
            </a:custGeom>
            <a:solidFill>
              <a:srgbClr val="92D050">
                <a:alpha val="90000"/>
              </a:srgbClr>
            </a:solidFill>
            <a:ln>
              <a:solidFill>
                <a:srgbClr val="00A0D6"/>
              </a:solidFill>
            </a:ln>
          </p:spPr>
          <p:style>
            <a:lnRef idx="2">
              <a:scrgbClr r="0" g="0" b="0"/>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8024" tIns="20320" rIns="148024" bIns="160795" numCol="1" spcCol="1270" anchor="ctr" anchorCtr="0">
              <a:noAutofit/>
            </a:bodyPr>
            <a:lstStyle/>
            <a:p>
              <a:pPr marL="0" lvl="0" algn="ctr" defTabSz="914400" rtl="0" eaLnBrk="1" latinLnBrk="0" hangingPunct="1">
                <a:lnSpc>
                  <a:spcPct val="90000"/>
                </a:lnSpc>
                <a:spcBef>
                  <a:spcPct val="0"/>
                </a:spcBef>
                <a:spcAft>
                  <a:spcPct val="35000"/>
                </a:spcAft>
              </a:pPr>
              <a:endParaRPr lang="en-US" sz="1600" b="1" kern="1200">
                <a:solidFill>
                  <a:schemeClr val="lt1"/>
                </a:solidFill>
                <a:latin typeface="Arial" pitchFamily="34" charset="0"/>
                <a:ea typeface="+mn-ea"/>
                <a:cs typeface="Arial" pitchFamily="34" charset="0"/>
              </a:endParaRPr>
            </a:p>
          </p:txBody>
        </p:sp>
        <p:sp>
          <p:nvSpPr>
            <p:cNvPr id="48" name="Oval 47"/>
            <p:cNvSpPr/>
            <p:nvPr/>
          </p:nvSpPr>
          <p:spPr>
            <a:xfrm>
              <a:off x="7372021" y="1864997"/>
              <a:ext cx="432049" cy="432048"/>
            </a:xfrm>
            <a:prstGeom prst="ellipse">
              <a:avLst/>
            </a:prstGeom>
            <a:solidFill>
              <a:schemeClr val="accent3"/>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US" b="1">
                  <a:latin typeface="Arial" pitchFamily="34" charset="0"/>
                  <a:cs typeface="Arial" pitchFamily="34" charset="0"/>
                </a:rPr>
                <a:t>1</a:t>
              </a:r>
            </a:p>
          </p:txBody>
        </p:sp>
        <p:sp>
          <p:nvSpPr>
            <p:cNvPr id="53" name="Freeform 575"/>
            <p:cNvSpPr>
              <a:spLocks/>
            </p:cNvSpPr>
            <p:nvPr/>
          </p:nvSpPr>
          <p:spPr bwMode="auto">
            <a:xfrm>
              <a:off x="12714905" y="1822292"/>
              <a:ext cx="579183" cy="363556"/>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1900">
                <a:solidFill>
                  <a:srgbClr val="000000"/>
                </a:solidFill>
                <a:latin typeface="Arial"/>
                <a:cs typeface="+mn-cs"/>
              </a:endParaRPr>
            </a:p>
          </p:txBody>
        </p:sp>
      </p:grpSp>
    </p:spTree>
    <p:extLst>
      <p:ext uri="{BB962C8B-B14F-4D97-AF65-F5344CB8AC3E}">
        <p14:creationId xmlns:p14="http://schemas.microsoft.com/office/powerpoint/2010/main" val="154112956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anim calcmode="lin" valueType="num">
                                      <p:cBhvr>
                                        <p:cTn id="23" dur="1000" fill="hold"/>
                                        <p:tgtEl>
                                          <p:spTgt spid="15"/>
                                        </p:tgtEl>
                                        <p:attrNameLst>
                                          <p:attrName>ppt_x</p:attrName>
                                        </p:attrNameLst>
                                      </p:cBhvr>
                                      <p:tavLst>
                                        <p:tav tm="0">
                                          <p:val>
                                            <p:strVal val="#ppt_x"/>
                                          </p:val>
                                        </p:tav>
                                        <p:tav tm="100000">
                                          <p:val>
                                            <p:strVal val="#ppt_x"/>
                                          </p:val>
                                        </p:tav>
                                      </p:tavLst>
                                    </p:anim>
                                    <p:anim calcmode="lin" valueType="num">
                                      <p:cBhvr>
                                        <p:cTn id="24" dur="1000" fill="hold"/>
                                        <p:tgtEl>
                                          <p:spTgt spid="15"/>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1000"/>
                                        <p:tgtEl>
                                          <p:spTgt spid="21"/>
                                        </p:tgtEl>
                                      </p:cBhvr>
                                    </p:animEffect>
                                    <p:anim calcmode="lin" valueType="num">
                                      <p:cBhvr>
                                        <p:cTn id="28" dur="1000" fill="hold"/>
                                        <p:tgtEl>
                                          <p:spTgt spid="21"/>
                                        </p:tgtEl>
                                        <p:attrNameLst>
                                          <p:attrName>ppt_x</p:attrName>
                                        </p:attrNameLst>
                                      </p:cBhvr>
                                      <p:tavLst>
                                        <p:tav tm="0">
                                          <p:val>
                                            <p:strVal val="#ppt_x"/>
                                          </p:val>
                                        </p:tav>
                                        <p:tav tm="100000">
                                          <p:val>
                                            <p:strVal val="#ppt_x"/>
                                          </p:val>
                                        </p:tav>
                                      </p:tavLst>
                                    </p:anim>
                                    <p:anim calcmode="lin" valueType="num">
                                      <p:cBhvr>
                                        <p:cTn id="29" dur="1000" fill="hold"/>
                                        <p:tgtEl>
                                          <p:spTgt spid="21"/>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1000"/>
                                        <p:tgtEl>
                                          <p:spTgt spid="22"/>
                                        </p:tgtEl>
                                      </p:cBhvr>
                                    </p:animEffect>
                                    <p:anim calcmode="lin" valueType="num">
                                      <p:cBhvr>
                                        <p:cTn id="33" dur="1000" fill="hold"/>
                                        <p:tgtEl>
                                          <p:spTgt spid="22"/>
                                        </p:tgtEl>
                                        <p:attrNameLst>
                                          <p:attrName>ppt_x</p:attrName>
                                        </p:attrNameLst>
                                      </p:cBhvr>
                                      <p:tavLst>
                                        <p:tav tm="0">
                                          <p:val>
                                            <p:strVal val="#ppt_x"/>
                                          </p:val>
                                        </p:tav>
                                        <p:tav tm="100000">
                                          <p:val>
                                            <p:strVal val="#ppt_x"/>
                                          </p:val>
                                        </p:tav>
                                      </p:tavLst>
                                    </p:anim>
                                    <p:anim calcmode="lin" valueType="num">
                                      <p:cBhvr>
                                        <p:cTn id="34" dur="1000" fill="hold"/>
                                        <p:tgtEl>
                                          <p:spTgt spid="22"/>
                                        </p:tgtEl>
                                        <p:attrNameLst>
                                          <p:attrName>ppt_y</p:attrName>
                                        </p:attrNameLst>
                                      </p:cBhvr>
                                      <p:tavLst>
                                        <p:tav tm="0">
                                          <p:val>
                                            <p:strVal val="#ppt_y+.1"/>
                                          </p:val>
                                        </p:tav>
                                        <p:tav tm="100000">
                                          <p:val>
                                            <p:strVal val="#ppt_y"/>
                                          </p:val>
                                        </p:tav>
                                      </p:tavLst>
                                    </p:anim>
                                  </p:childTnLst>
                                </p:cTn>
                              </p:par>
                            </p:childTnLst>
                          </p:cTn>
                        </p:par>
                        <p:par>
                          <p:cTn id="35" fill="hold">
                            <p:stCondLst>
                              <p:cond delay="1500"/>
                            </p:stCondLst>
                            <p:childTnLst>
                              <p:par>
                                <p:cTn id="36" presetID="2" presetClass="entr" presetSubtype="4"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ppt_x"/>
                                          </p:val>
                                        </p:tav>
                                        <p:tav tm="100000">
                                          <p:val>
                                            <p:strVal val="#ppt_x"/>
                                          </p:val>
                                        </p:tav>
                                      </p:tavLst>
                                    </p:anim>
                                    <p:anim calcmode="lin" valueType="num">
                                      <p:cBhvr additive="base">
                                        <p:cTn id="39"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6C5C3-E6C2-4FD7-B2B6-8EA66EE4D98A}"/>
              </a:ext>
            </a:extLst>
          </p:cNvPr>
          <p:cNvSpPr>
            <a:spLocks noGrp="1"/>
          </p:cNvSpPr>
          <p:nvPr>
            <p:ph type="title"/>
          </p:nvPr>
        </p:nvSpPr>
        <p:spPr>
          <a:xfrm>
            <a:off x="763586" y="707444"/>
            <a:ext cx="3109263" cy="1830078"/>
          </a:xfrm>
        </p:spPr>
        <p:txBody>
          <a:bodyPr>
            <a:normAutofit fontScale="90000"/>
          </a:bodyPr>
          <a:lstStyle/>
          <a:p>
            <a:r>
              <a:rPr lang="en-US">
                <a:solidFill>
                  <a:schemeClr val="bg1"/>
                </a:solidFill>
              </a:rPr>
              <a:t>Performance Management</a:t>
            </a:r>
            <a:endParaRPr lang="en-US">
              <a:solidFill>
                <a:schemeClr val="bg1"/>
              </a:solidFill>
              <a:ea typeface="Verdana"/>
              <a:cs typeface="Verdana"/>
            </a:endParaRPr>
          </a:p>
        </p:txBody>
      </p:sp>
    </p:spTree>
    <p:extLst>
      <p:ext uri="{BB962C8B-B14F-4D97-AF65-F5344CB8AC3E}">
        <p14:creationId xmlns:p14="http://schemas.microsoft.com/office/powerpoint/2010/main" val="2566230174"/>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33">
            <a:extLst>
              <a:ext uri="{FF2B5EF4-FFF2-40B4-BE49-F238E27FC236}">
                <a16:creationId xmlns:a16="http://schemas.microsoft.com/office/drawing/2014/main" id="{230E1301-C970-4439-BACF-B45C2F37E304}"/>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19817" r="10481"/>
          <a:stretch/>
        </p:blipFill>
        <p:spPr>
          <a:xfrm>
            <a:off x="3328196" y="1533554"/>
            <a:ext cx="6577804" cy="5309439"/>
          </a:xfrm>
        </p:spPr>
      </p:pic>
      <p:pic>
        <p:nvPicPr>
          <p:cNvPr id="50"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1836" t="-4713" b="16530"/>
          <a:stretch/>
        </p:blipFill>
        <p:spPr>
          <a:xfrm>
            <a:off x="253458" y="235433"/>
            <a:ext cx="344789" cy="373445"/>
          </a:xfrm>
          <a:prstGeom prst="rect">
            <a:avLst/>
          </a:prstGeom>
        </p:spPr>
      </p:pic>
      <p:sp>
        <p:nvSpPr>
          <p:cNvPr id="37" name="Freeform 5">
            <a:extLst>
              <a:ext uri="{FF2B5EF4-FFF2-40B4-BE49-F238E27FC236}">
                <a16:creationId xmlns:a16="http://schemas.microsoft.com/office/drawing/2014/main" id="{AEBC8218-4B8C-4812-A52F-9B3BF373F64F}"/>
              </a:ext>
            </a:extLst>
          </p:cNvPr>
          <p:cNvSpPr>
            <a:spLocks/>
          </p:cNvSpPr>
          <p:nvPr/>
        </p:nvSpPr>
        <p:spPr bwMode="auto">
          <a:xfrm rot="18024904">
            <a:off x="646884" y="2864984"/>
            <a:ext cx="550684" cy="256391"/>
          </a:xfrm>
          <a:custGeom>
            <a:avLst/>
            <a:gdLst>
              <a:gd name="T0" fmla="*/ 92 w 155"/>
              <a:gd name="T1" fmla="*/ 77 h 99"/>
              <a:gd name="T2" fmla="*/ 143 w 155"/>
              <a:gd name="T3" fmla="*/ 0 h 99"/>
              <a:gd name="T4" fmla="*/ 128 w 155"/>
              <a:gd name="T5" fmla="*/ 8 h 99"/>
              <a:gd name="T6" fmla="*/ 84 w 155"/>
              <a:gd name="T7" fmla="*/ 62 h 99"/>
              <a:gd name="T8" fmla="*/ 15 w 155"/>
              <a:gd name="T9" fmla="*/ 69 h 99"/>
              <a:gd name="T10" fmla="*/ 0 w 155"/>
              <a:gd name="T11" fmla="*/ 77 h 99"/>
              <a:gd name="T12" fmla="*/ 92 w 155"/>
              <a:gd name="T13" fmla="*/ 77 h 99"/>
            </a:gdLst>
            <a:ahLst/>
            <a:cxnLst>
              <a:cxn ang="0">
                <a:pos x="T0" y="T1"/>
              </a:cxn>
              <a:cxn ang="0">
                <a:pos x="T2" y="T3"/>
              </a:cxn>
              <a:cxn ang="0">
                <a:pos x="T4" y="T5"/>
              </a:cxn>
              <a:cxn ang="0">
                <a:pos x="T6" y="T7"/>
              </a:cxn>
              <a:cxn ang="0">
                <a:pos x="T8" y="T9"/>
              </a:cxn>
              <a:cxn ang="0">
                <a:pos x="T10" y="T11"/>
              </a:cxn>
              <a:cxn ang="0">
                <a:pos x="T12" y="T13"/>
              </a:cxn>
            </a:cxnLst>
            <a:rect l="0" t="0" r="r" b="b"/>
            <a:pathLst>
              <a:path w="155" h="99">
                <a:moveTo>
                  <a:pt x="92" y="77"/>
                </a:moveTo>
                <a:cubicBezTo>
                  <a:pt x="133" y="55"/>
                  <a:pt x="155" y="22"/>
                  <a:pt x="143" y="0"/>
                </a:cubicBezTo>
                <a:cubicBezTo>
                  <a:pt x="128" y="8"/>
                  <a:pt x="128" y="8"/>
                  <a:pt x="128" y="8"/>
                </a:cubicBezTo>
                <a:cubicBezTo>
                  <a:pt x="134" y="19"/>
                  <a:pt x="116" y="44"/>
                  <a:pt x="84" y="62"/>
                </a:cubicBezTo>
                <a:cubicBezTo>
                  <a:pt x="52" y="79"/>
                  <a:pt x="21" y="80"/>
                  <a:pt x="15" y="69"/>
                </a:cubicBezTo>
                <a:cubicBezTo>
                  <a:pt x="0" y="77"/>
                  <a:pt x="0" y="77"/>
                  <a:pt x="0" y="77"/>
                </a:cubicBezTo>
                <a:cubicBezTo>
                  <a:pt x="12" y="99"/>
                  <a:pt x="51" y="99"/>
                  <a:pt x="92" y="77"/>
                </a:cubicBez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55" name="Freeform 5">
            <a:extLst>
              <a:ext uri="{FF2B5EF4-FFF2-40B4-BE49-F238E27FC236}">
                <a16:creationId xmlns:a16="http://schemas.microsoft.com/office/drawing/2014/main" id="{BDDA5A6E-6BD7-4924-AA42-3278026C7F9E}"/>
              </a:ext>
            </a:extLst>
          </p:cNvPr>
          <p:cNvSpPr>
            <a:spLocks/>
          </p:cNvSpPr>
          <p:nvPr/>
        </p:nvSpPr>
        <p:spPr bwMode="auto">
          <a:xfrm rot="18024904">
            <a:off x="634882" y="3731194"/>
            <a:ext cx="550684" cy="256391"/>
          </a:xfrm>
          <a:custGeom>
            <a:avLst/>
            <a:gdLst>
              <a:gd name="T0" fmla="*/ 92 w 155"/>
              <a:gd name="T1" fmla="*/ 77 h 99"/>
              <a:gd name="T2" fmla="*/ 143 w 155"/>
              <a:gd name="T3" fmla="*/ 0 h 99"/>
              <a:gd name="T4" fmla="*/ 128 w 155"/>
              <a:gd name="T5" fmla="*/ 8 h 99"/>
              <a:gd name="T6" fmla="*/ 84 w 155"/>
              <a:gd name="T7" fmla="*/ 62 h 99"/>
              <a:gd name="T8" fmla="*/ 15 w 155"/>
              <a:gd name="T9" fmla="*/ 69 h 99"/>
              <a:gd name="T10" fmla="*/ 0 w 155"/>
              <a:gd name="T11" fmla="*/ 77 h 99"/>
              <a:gd name="T12" fmla="*/ 92 w 155"/>
              <a:gd name="T13" fmla="*/ 77 h 99"/>
            </a:gdLst>
            <a:ahLst/>
            <a:cxnLst>
              <a:cxn ang="0">
                <a:pos x="T0" y="T1"/>
              </a:cxn>
              <a:cxn ang="0">
                <a:pos x="T2" y="T3"/>
              </a:cxn>
              <a:cxn ang="0">
                <a:pos x="T4" y="T5"/>
              </a:cxn>
              <a:cxn ang="0">
                <a:pos x="T6" y="T7"/>
              </a:cxn>
              <a:cxn ang="0">
                <a:pos x="T8" y="T9"/>
              </a:cxn>
              <a:cxn ang="0">
                <a:pos x="T10" y="T11"/>
              </a:cxn>
              <a:cxn ang="0">
                <a:pos x="T12" y="T13"/>
              </a:cxn>
            </a:cxnLst>
            <a:rect l="0" t="0" r="r" b="b"/>
            <a:pathLst>
              <a:path w="155" h="99">
                <a:moveTo>
                  <a:pt x="92" y="77"/>
                </a:moveTo>
                <a:cubicBezTo>
                  <a:pt x="133" y="55"/>
                  <a:pt x="155" y="22"/>
                  <a:pt x="143" y="0"/>
                </a:cubicBezTo>
                <a:cubicBezTo>
                  <a:pt x="128" y="8"/>
                  <a:pt x="128" y="8"/>
                  <a:pt x="128" y="8"/>
                </a:cubicBezTo>
                <a:cubicBezTo>
                  <a:pt x="134" y="19"/>
                  <a:pt x="116" y="44"/>
                  <a:pt x="84" y="62"/>
                </a:cubicBezTo>
                <a:cubicBezTo>
                  <a:pt x="52" y="79"/>
                  <a:pt x="21" y="80"/>
                  <a:pt x="15" y="69"/>
                </a:cubicBezTo>
                <a:cubicBezTo>
                  <a:pt x="0" y="77"/>
                  <a:pt x="0" y="77"/>
                  <a:pt x="0" y="77"/>
                </a:cubicBezTo>
                <a:cubicBezTo>
                  <a:pt x="12" y="99"/>
                  <a:pt x="51" y="99"/>
                  <a:pt x="92" y="77"/>
                </a:cubicBez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57" name="Freeform 5">
            <a:extLst>
              <a:ext uri="{FF2B5EF4-FFF2-40B4-BE49-F238E27FC236}">
                <a16:creationId xmlns:a16="http://schemas.microsoft.com/office/drawing/2014/main" id="{34D2F603-D02F-4A02-B5D5-625C2DACEF7B}"/>
              </a:ext>
            </a:extLst>
          </p:cNvPr>
          <p:cNvSpPr>
            <a:spLocks/>
          </p:cNvSpPr>
          <p:nvPr/>
        </p:nvSpPr>
        <p:spPr bwMode="auto">
          <a:xfrm rot="18024904">
            <a:off x="604509" y="4583238"/>
            <a:ext cx="550684" cy="256391"/>
          </a:xfrm>
          <a:custGeom>
            <a:avLst/>
            <a:gdLst>
              <a:gd name="T0" fmla="*/ 92 w 155"/>
              <a:gd name="T1" fmla="*/ 77 h 99"/>
              <a:gd name="T2" fmla="*/ 143 w 155"/>
              <a:gd name="T3" fmla="*/ 0 h 99"/>
              <a:gd name="T4" fmla="*/ 128 w 155"/>
              <a:gd name="T5" fmla="*/ 8 h 99"/>
              <a:gd name="T6" fmla="*/ 84 w 155"/>
              <a:gd name="T7" fmla="*/ 62 h 99"/>
              <a:gd name="T8" fmla="*/ 15 w 155"/>
              <a:gd name="T9" fmla="*/ 69 h 99"/>
              <a:gd name="T10" fmla="*/ 0 w 155"/>
              <a:gd name="T11" fmla="*/ 77 h 99"/>
              <a:gd name="T12" fmla="*/ 92 w 155"/>
              <a:gd name="T13" fmla="*/ 77 h 99"/>
            </a:gdLst>
            <a:ahLst/>
            <a:cxnLst>
              <a:cxn ang="0">
                <a:pos x="T0" y="T1"/>
              </a:cxn>
              <a:cxn ang="0">
                <a:pos x="T2" y="T3"/>
              </a:cxn>
              <a:cxn ang="0">
                <a:pos x="T4" y="T5"/>
              </a:cxn>
              <a:cxn ang="0">
                <a:pos x="T6" y="T7"/>
              </a:cxn>
              <a:cxn ang="0">
                <a:pos x="T8" y="T9"/>
              </a:cxn>
              <a:cxn ang="0">
                <a:pos x="T10" y="T11"/>
              </a:cxn>
              <a:cxn ang="0">
                <a:pos x="T12" y="T13"/>
              </a:cxn>
            </a:cxnLst>
            <a:rect l="0" t="0" r="r" b="b"/>
            <a:pathLst>
              <a:path w="155" h="99">
                <a:moveTo>
                  <a:pt x="92" y="77"/>
                </a:moveTo>
                <a:cubicBezTo>
                  <a:pt x="133" y="55"/>
                  <a:pt x="155" y="22"/>
                  <a:pt x="143" y="0"/>
                </a:cubicBezTo>
                <a:cubicBezTo>
                  <a:pt x="128" y="8"/>
                  <a:pt x="128" y="8"/>
                  <a:pt x="128" y="8"/>
                </a:cubicBezTo>
                <a:cubicBezTo>
                  <a:pt x="134" y="19"/>
                  <a:pt x="116" y="44"/>
                  <a:pt x="84" y="62"/>
                </a:cubicBezTo>
                <a:cubicBezTo>
                  <a:pt x="52" y="79"/>
                  <a:pt x="21" y="80"/>
                  <a:pt x="15" y="69"/>
                </a:cubicBezTo>
                <a:cubicBezTo>
                  <a:pt x="0" y="77"/>
                  <a:pt x="0" y="77"/>
                  <a:pt x="0" y="77"/>
                </a:cubicBezTo>
                <a:cubicBezTo>
                  <a:pt x="12" y="99"/>
                  <a:pt x="51" y="99"/>
                  <a:pt x="92" y="77"/>
                </a:cubicBez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59" name="Freeform 5">
            <a:extLst>
              <a:ext uri="{FF2B5EF4-FFF2-40B4-BE49-F238E27FC236}">
                <a16:creationId xmlns:a16="http://schemas.microsoft.com/office/drawing/2014/main" id="{8AF79AF0-755F-4E98-B14C-D6CFE00F6015}"/>
              </a:ext>
            </a:extLst>
          </p:cNvPr>
          <p:cNvSpPr>
            <a:spLocks/>
          </p:cNvSpPr>
          <p:nvPr/>
        </p:nvSpPr>
        <p:spPr bwMode="auto">
          <a:xfrm rot="18024904">
            <a:off x="549567" y="5555169"/>
            <a:ext cx="550684" cy="256391"/>
          </a:xfrm>
          <a:custGeom>
            <a:avLst/>
            <a:gdLst>
              <a:gd name="T0" fmla="*/ 92 w 155"/>
              <a:gd name="T1" fmla="*/ 77 h 99"/>
              <a:gd name="T2" fmla="*/ 143 w 155"/>
              <a:gd name="T3" fmla="*/ 0 h 99"/>
              <a:gd name="T4" fmla="*/ 128 w 155"/>
              <a:gd name="T5" fmla="*/ 8 h 99"/>
              <a:gd name="T6" fmla="*/ 84 w 155"/>
              <a:gd name="T7" fmla="*/ 62 h 99"/>
              <a:gd name="T8" fmla="*/ 15 w 155"/>
              <a:gd name="T9" fmla="*/ 69 h 99"/>
              <a:gd name="T10" fmla="*/ 0 w 155"/>
              <a:gd name="T11" fmla="*/ 77 h 99"/>
              <a:gd name="T12" fmla="*/ 92 w 155"/>
              <a:gd name="T13" fmla="*/ 77 h 99"/>
            </a:gdLst>
            <a:ahLst/>
            <a:cxnLst>
              <a:cxn ang="0">
                <a:pos x="T0" y="T1"/>
              </a:cxn>
              <a:cxn ang="0">
                <a:pos x="T2" y="T3"/>
              </a:cxn>
              <a:cxn ang="0">
                <a:pos x="T4" y="T5"/>
              </a:cxn>
              <a:cxn ang="0">
                <a:pos x="T6" y="T7"/>
              </a:cxn>
              <a:cxn ang="0">
                <a:pos x="T8" y="T9"/>
              </a:cxn>
              <a:cxn ang="0">
                <a:pos x="T10" y="T11"/>
              </a:cxn>
              <a:cxn ang="0">
                <a:pos x="T12" y="T13"/>
              </a:cxn>
            </a:cxnLst>
            <a:rect l="0" t="0" r="r" b="b"/>
            <a:pathLst>
              <a:path w="155" h="99">
                <a:moveTo>
                  <a:pt x="92" y="77"/>
                </a:moveTo>
                <a:cubicBezTo>
                  <a:pt x="133" y="55"/>
                  <a:pt x="155" y="22"/>
                  <a:pt x="143" y="0"/>
                </a:cubicBezTo>
                <a:cubicBezTo>
                  <a:pt x="128" y="8"/>
                  <a:pt x="128" y="8"/>
                  <a:pt x="128" y="8"/>
                </a:cubicBezTo>
                <a:cubicBezTo>
                  <a:pt x="134" y="19"/>
                  <a:pt x="116" y="44"/>
                  <a:pt x="84" y="62"/>
                </a:cubicBezTo>
                <a:cubicBezTo>
                  <a:pt x="52" y="79"/>
                  <a:pt x="21" y="80"/>
                  <a:pt x="15" y="69"/>
                </a:cubicBezTo>
                <a:cubicBezTo>
                  <a:pt x="0" y="77"/>
                  <a:pt x="0" y="77"/>
                  <a:pt x="0" y="77"/>
                </a:cubicBezTo>
                <a:cubicBezTo>
                  <a:pt x="12" y="99"/>
                  <a:pt x="51" y="99"/>
                  <a:pt x="92" y="77"/>
                </a:cubicBez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grpSp>
        <p:nvGrpSpPr>
          <p:cNvPr id="2" name="Group 1"/>
          <p:cNvGrpSpPr/>
          <p:nvPr/>
        </p:nvGrpSpPr>
        <p:grpSpPr>
          <a:xfrm>
            <a:off x="266291" y="1156603"/>
            <a:ext cx="1110361" cy="5349289"/>
            <a:chOff x="3734188" y="272959"/>
            <a:chExt cx="1327657" cy="6809782"/>
          </a:xfrm>
        </p:grpSpPr>
        <p:sp>
          <p:nvSpPr>
            <p:cNvPr id="6" name="Freeform 5"/>
            <p:cNvSpPr>
              <a:spLocks/>
            </p:cNvSpPr>
            <p:nvPr/>
          </p:nvSpPr>
          <p:spPr bwMode="auto">
            <a:xfrm rot="18024904">
              <a:off x="4079454" y="1331514"/>
              <a:ext cx="701035" cy="306566"/>
            </a:xfrm>
            <a:custGeom>
              <a:avLst/>
              <a:gdLst>
                <a:gd name="T0" fmla="*/ 92 w 155"/>
                <a:gd name="T1" fmla="*/ 77 h 99"/>
                <a:gd name="T2" fmla="*/ 143 w 155"/>
                <a:gd name="T3" fmla="*/ 0 h 99"/>
                <a:gd name="T4" fmla="*/ 128 w 155"/>
                <a:gd name="T5" fmla="*/ 8 h 99"/>
                <a:gd name="T6" fmla="*/ 84 w 155"/>
                <a:gd name="T7" fmla="*/ 62 h 99"/>
                <a:gd name="T8" fmla="*/ 15 w 155"/>
                <a:gd name="T9" fmla="*/ 69 h 99"/>
                <a:gd name="T10" fmla="*/ 0 w 155"/>
                <a:gd name="T11" fmla="*/ 77 h 99"/>
                <a:gd name="T12" fmla="*/ 92 w 155"/>
                <a:gd name="T13" fmla="*/ 77 h 99"/>
              </a:gdLst>
              <a:ahLst/>
              <a:cxnLst>
                <a:cxn ang="0">
                  <a:pos x="T0" y="T1"/>
                </a:cxn>
                <a:cxn ang="0">
                  <a:pos x="T2" y="T3"/>
                </a:cxn>
                <a:cxn ang="0">
                  <a:pos x="T4" y="T5"/>
                </a:cxn>
                <a:cxn ang="0">
                  <a:pos x="T6" y="T7"/>
                </a:cxn>
                <a:cxn ang="0">
                  <a:pos x="T8" y="T9"/>
                </a:cxn>
                <a:cxn ang="0">
                  <a:pos x="T10" y="T11"/>
                </a:cxn>
                <a:cxn ang="0">
                  <a:pos x="T12" y="T13"/>
                </a:cxn>
              </a:cxnLst>
              <a:rect l="0" t="0" r="r" b="b"/>
              <a:pathLst>
                <a:path w="155" h="99">
                  <a:moveTo>
                    <a:pt x="92" y="77"/>
                  </a:moveTo>
                  <a:cubicBezTo>
                    <a:pt x="133" y="55"/>
                    <a:pt x="155" y="22"/>
                    <a:pt x="143" y="0"/>
                  </a:cubicBezTo>
                  <a:cubicBezTo>
                    <a:pt x="128" y="8"/>
                    <a:pt x="128" y="8"/>
                    <a:pt x="128" y="8"/>
                  </a:cubicBezTo>
                  <a:cubicBezTo>
                    <a:pt x="134" y="19"/>
                    <a:pt x="116" y="44"/>
                    <a:pt x="84" y="62"/>
                  </a:cubicBezTo>
                  <a:cubicBezTo>
                    <a:pt x="52" y="79"/>
                    <a:pt x="21" y="80"/>
                    <a:pt x="15" y="69"/>
                  </a:cubicBezTo>
                  <a:cubicBezTo>
                    <a:pt x="0" y="77"/>
                    <a:pt x="0" y="77"/>
                    <a:pt x="0" y="77"/>
                  </a:cubicBezTo>
                  <a:cubicBezTo>
                    <a:pt x="12" y="99"/>
                    <a:pt x="51" y="99"/>
                    <a:pt x="92" y="77"/>
                  </a:cubicBez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47" name="Oval 20">
              <a:extLst>
                <a:ext uri="{FF2B5EF4-FFF2-40B4-BE49-F238E27FC236}">
                  <a16:creationId xmlns:a16="http://schemas.microsoft.com/office/drawing/2014/main" id="{704A5916-FAB5-47B8-ADED-506C29D2DF88}"/>
                </a:ext>
              </a:extLst>
            </p:cNvPr>
            <p:cNvSpPr/>
            <p:nvPr/>
          </p:nvSpPr>
          <p:spPr>
            <a:xfrm>
              <a:off x="3812157" y="3708262"/>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48" name="Oval 20">
              <a:extLst>
                <a:ext uri="{FF2B5EF4-FFF2-40B4-BE49-F238E27FC236}">
                  <a16:creationId xmlns:a16="http://schemas.microsoft.com/office/drawing/2014/main" id="{704A5916-FAB5-47B8-ADED-506C29D2DF88}"/>
                </a:ext>
              </a:extLst>
            </p:cNvPr>
            <p:cNvSpPr/>
            <p:nvPr/>
          </p:nvSpPr>
          <p:spPr>
            <a:xfrm>
              <a:off x="3767129" y="4846271"/>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49" name="Oval 20">
              <a:extLst>
                <a:ext uri="{FF2B5EF4-FFF2-40B4-BE49-F238E27FC236}">
                  <a16:creationId xmlns:a16="http://schemas.microsoft.com/office/drawing/2014/main" id="{704A5916-FAB5-47B8-ADED-506C29D2DF88}"/>
                </a:ext>
              </a:extLst>
            </p:cNvPr>
            <p:cNvSpPr/>
            <p:nvPr/>
          </p:nvSpPr>
          <p:spPr>
            <a:xfrm>
              <a:off x="3752337" y="5979915"/>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46" name="Oval 20">
              <a:extLst>
                <a:ext uri="{FF2B5EF4-FFF2-40B4-BE49-F238E27FC236}">
                  <a16:creationId xmlns:a16="http://schemas.microsoft.com/office/drawing/2014/main" id="{704A5916-FAB5-47B8-ADED-506C29D2DF88}"/>
                </a:ext>
              </a:extLst>
            </p:cNvPr>
            <p:cNvSpPr/>
            <p:nvPr/>
          </p:nvSpPr>
          <p:spPr>
            <a:xfrm>
              <a:off x="3854827" y="2544612"/>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45" name="Oval 20">
              <a:extLst>
                <a:ext uri="{FF2B5EF4-FFF2-40B4-BE49-F238E27FC236}">
                  <a16:creationId xmlns:a16="http://schemas.microsoft.com/office/drawing/2014/main" id="{704A5916-FAB5-47B8-ADED-506C29D2DF88}"/>
                </a:ext>
              </a:extLst>
            </p:cNvPr>
            <p:cNvSpPr/>
            <p:nvPr/>
          </p:nvSpPr>
          <p:spPr>
            <a:xfrm>
              <a:off x="3868600" y="1433520"/>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44" name="Oval 20">
              <a:extLst>
                <a:ext uri="{FF2B5EF4-FFF2-40B4-BE49-F238E27FC236}">
                  <a16:creationId xmlns:a16="http://schemas.microsoft.com/office/drawing/2014/main" id="{704A5916-FAB5-47B8-ADED-506C29D2DF88}"/>
                </a:ext>
              </a:extLst>
            </p:cNvPr>
            <p:cNvSpPr/>
            <p:nvPr/>
          </p:nvSpPr>
          <p:spPr>
            <a:xfrm>
              <a:off x="3854827" y="272959"/>
              <a:ext cx="1193245" cy="1102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625">
                <a:solidFill>
                  <a:prstClr val="white"/>
                </a:solidFill>
                <a:latin typeface="Verdana"/>
              </a:endParaRPr>
            </a:p>
          </p:txBody>
        </p:sp>
        <p:sp>
          <p:nvSpPr>
            <p:cNvPr id="21" name="Freeform 20"/>
            <p:cNvSpPr>
              <a:spLocks/>
            </p:cNvSpPr>
            <p:nvPr/>
          </p:nvSpPr>
          <p:spPr bwMode="auto">
            <a:xfrm rot="17727408">
              <a:off x="3970290" y="1315021"/>
              <a:ext cx="766159" cy="340776"/>
            </a:xfrm>
            <a:custGeom>
              <a:avLst/>
              <a:gdLst>
                <a:gd name="T0" fmla="*/ 11 w 169"/>
                <a:gd name="T1" fmla="*/ 76 h 110"/>
                <a:gd name="T2" fmla="*/ 18 w 169"/>
                <a:gd name="T3" fmla="*/ 74 h 110"/>
                <a:gd name="T4" fmla="*/ 69 w 169"/>
                <a:gd name="T5" fmla="*/ 26 h 110"/>
                <a:gd name="T6" fmla="*/ 137 w 169"/>
                <a:gd name="T7" fmla="*/ 10 h 110"/>
                <a:gd name="T8" fmla="*/ 143 w 169"/>
                <a:gd name="T9" fmla="*/ 4 h 110"/>
                <a:gd name="T10" fmla="*/ 165 w 169"/>
                <a:gd name="T11" fmla="*/ 12 h 110"/>
                <a:gd name="T12" fmla="*/ 159 w 169"/>
                <a:gd name="T13" fmla="*/ 34 h 110"/>
                <a:gd name="T14" fmla="*/ 137 w 169"/>
                <a:gd name="T15" fmla="*/ 27 h 110"/>
                <a:gd name="T16" fmla="*/ 77 w 169"/>
                <a:gd name="T17" fmla="*/ 40 h 110"/>
                <a:gd name="T18" fmla="*/ 33 w 169"/>
                <a:gd name="T19" fmla="*/ 84 h 110"/>
                <a:gd name="T20" fmla="*/ 27 w 169"/>
                <a:gd name="T21" fmla="*/ 106 h 110"/>
                <a:gd name="T22" fmla="*/ 5 w 169"/>
                <a:gd name="T23" fmla="*/ 98 h 110"/>
                <a:gd name="T24" fmla="*/ 11 w 169"/>
                <a:gd name="T25" fmla="*/ 7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0">
                  <a:moveTo>
                    <a:pt x="11" y="76"/>
                  </a:moveTo>
                  <a:cubicBezTo>
                    <a:pt x="13" y="75"/>
                    <a:pt x="16" y="74"/>
                    <a:pt x="18" y="74"/>
                  </a:cubicBezTo>
                  <a:cubicBezTo>
                    <a:pt x="25" y="57"/>
                    <a:pt x="43" y="39"/>
                    <a:pt x="69" y="26"/>
                  </a:cubicBezTo>
                  <a:cubicBezTo>
                    <a:pt x="94" y="12"/>
                    <a:pt x="119" y="6"/>
                    <a:pt x="137" y="10"/>
                  </a:cubicBezTo>
                  <a:cubicBezTo>
                    <a:pt x="139" y="7"/>
                    <a:pt x="141" y="6"/>
                    <a:pt x="143" y="4"/>
                  </a:cubicBezTo>
                  <a:cubicBezTo>
                    <a:pt x="151" y="0"/>
                    <a:pt x="160" y="3"/>
                    <a:pt x="165" y="12"/>
                  </a:cubicBezTo>
                  <a:cubicBezTo>
                    <a:pt x="169" y="20"/>
                    <a:pt x="167" y="30"/>
                    <a:pt x="159" y="34"/>
                  </a:cubicBezTo>
                  <a:cubicBezTo>
                    <a:pt x="151" y="38"/>
                    <a:pt x="142" y="35"/>
                    <a:pt x="137" y="27"/>
                  </a:cubicBezTo>
                  <a:cubicBezTo>
                    <a:pt x="125" y="23"/>
                    <a:pt x="101" y="27"/>
                    <a:pt x="77" y="40"/>
                  </a:cubicBezTo>
                  <a:cubicBezTo>
                    <a:pt x="53" y="54"/>
                    <a:pt x="37" y="71"/>
                    <a:pt x="33" y="84"/>
                  </a:cubicBezTo>
                  <a:cubicBezTo>
                    <a:pt x="37" y="92"/>
                    <a:pt x="34" y="102"/>
                    <a:pt x="27" y="106"/>
                  </a:cubicBezTo>
                  <a:cubicBezTo>
                    <a:pt x="19" y="110"/>
                    <a:pt x="9" y="107"/>
                    <a:pt x="5" y="98"/>
                  </a:cubicBezTo>
                  <a:cubicBezTo>
                    <a:pt x="0" y="90"/>
                    <a:pt x="3" y="80"/>
                    <a:pt x="11" y="76"/>
                  </a:cubicBezTo>
                  <a:close/>
                </a:path>
              </a:pathLst>
            </a:custGeom>
            <a:gradFill>
              <a:gsLst>
                <a:gs pos="0">
                  <a:srgbClr val="7F7F7F"/>
                </a:gs>
                <a:gs pos="100000">
                  <a:schemeClr val="bg1">
                    <a:lumMod val="54000"/>
                  </a:schemeClr>
                </a:gs>
              </a:gsLst>
              <a:lin ang="5400000" scaled="1"/>
            </a:gradFill>
            <a:ln w="9525" cap="flat" cmpd="sng" algn="ctr">
              <a:solidFill>
                <a:srgbClr val="606060"/>
              </a:solidFill>
              <a:prstDash val="solid"/>
              <a:round/>
              <a:headEnd type="none" w="med" len="med"/>
              <a:tailEnd type="none" w="med" len="med"/>
            </a:ln>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29" name="TextBox 29"/>
            <p:cNvSpPr txBox="1">
              <a:spLocks noChangeArrowheads="1"/>
            </p:cNvSpPr>
            <p:nvPr/>
          </p:nvSpPr>
          <p:spPr bwMode="auto">
            <a:xfrm>
              <a:off x="3976077" y="1883427"/>
              <a:ext cx="920938"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prstClr val="white"/>
                  </a:solidFill>
                  <a:latin typeface="Segoe Script" pitchFamily="34" charset="0"/>
                </a:rPr>
                <a:t>E</a:t>
              </a:r>
            </a:p>
          </p:txBody>
        </p:sp>
        <p:sp>
          <p:nvSpPr>
            <p:cNvPr id="31" name="TextBox 32"/>
            <p:cNvSpPr txBox="1">
              <a:spLocks noChangeArrowheads="1"/>
            </p:cNvSpPr>
            <p:nvPr/>
          </p:nvSpPr>
          <p:spPr bwMode="auto">
            <a:xfrm>
              <a:off x="4035814" y="4039653"/>
              <a:ext cx="730461"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srgbClr val="000000"/>
                  </a:solidFill>
                  <a:latin typeface="Segoe Script" pitchFamily="34" charset="0"/>
                </a:rPr>
                <a:t>C</a:t>
              </a:r>
            </a:p>
          </p:txBody>
        </p:sp>
        <p:sp>
          <p:nvSpPr>
            <p:cNvPr id="33" name="TextBox 44"/>
            <p:cNvSpPr txBox="1">
              <a:spLocks noChangeArrowheads="1"/>
            </p:cNvSpPr>
            <p:nvPr/>
          </p:nvSpPr>
          <p:spPr bwMode="auto">
            <a:xfrm>
              <a:off x="3734188" y="6383649"/>
              <a:ext cx="1186313"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prstClr val="white"/>
                  </a:solidFill>
                  <a:latin typeface="Segoe Script" pitchFamily="34" charset="0"/>
                </a:rPr>
                <a:t>A</a:t>
              </a:r>
            </a:p>
          </p:txBody>
        </p:sp>
        <p:sp>
          <p:nvSpPr>
            <p:cNvPr id="36" name="TextBox 47"/>
            <p:cNvSpPr txBox="1">
              <a:spLocks noChangeArrowheads="1"/>
            </p:cNvSpPr>
            <p:nvPr/>
          </p:nvSpPr>
          <p:spPr bwMode="auto">
            <a:xfrm>
              <a:off x="4012461" y="762814"/>
              <a:ext cx="835024"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prstClr val="white"/>
                  </a:solidFill>
                  <a:latin typeface="Segoe Script" pitchFamily="34" charset="0"/>
                </a:rPr>
                <a:t>F</a:t>
              </a:r>
            </a:p>
          </p:txBody>
        </p:sp>
        <p:sp>
          <p:nvSpPr>
            <p:cNvPr id="38" name="TextBox 50"/>
            <p:cNvSpPr txBox="1">
              <a:spLocks noChangeArrowheads="1"/>
            </p:cNvSpPr>
            <p:nvPr/>
          </p:nvSpPr>
          <p:spPr bwMode="auto">
            <a:xfrm>
              <a:off x="4083562" y="3062576"/>
              <a:ext cx="851009"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prstClr val="white"/>
                  </a:solidFill>
                  <a:latin typeface="Segoe Script" pitchFamily="34" charset="0"/>
                </a:rPr>
                <a:t>D</a:t>
              </a:r>
            </a:p>
          </p:txBody>
        </p:sp>
        <p:sp>
          <p:nvSpPr>
            <p:cNvPr id="40" name="TextBox 53"/>
            <p:cNvSpPr txBox="1">
              <a:spLocks noChangeArrowheads="1"/>
            </p:cNvSpPr>
            <p:nvPr/>
          </p:nvSpPr>
          <p:spPr bwMode="auto">
            <a:xfrm>
              <a:off x="3908567" y="5155752"/>
              <a:ext cx="881170" cy="37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b">
              <a:spAutoFit/>
            </a:bodyP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742950" eaLnBrk="1" hangingPunct="1"/>
              <a:r>
                <a:rPr lang="en-US" sz="1300" b="1">
                  <a:solidFill>
                    <a:prstClr val="white"/>
                  </a:solidFill>
                  <a:latin typeface="Segoe Script" pitchFamily="34" charset="0"/>
                </a:rPr>
                <a:t>B</a:t>
              </a:r>
            </a:p>
          </p:txBody>
        </p:sp>
      </p:grpSp>
      <p:sp>
        <p:nvSpPr>
          <p:cNvPr id="39" name="Freeform 20">
            <a:extLst>
              <a:ext uri="{FF2B5EF4-FFF2-40B4-BE49-F238E27FC236}">
                <a16:creationId xmlns:a16="http://schemas.microsoft.com/office/drawing/2014/main" id="{203C18D7-CB96-4A7A-AC19-09F2C16DE228}"/>
              </a:ext>
            </a:extLst>
          </p:cNvPr>
          <p:cNvSpPr>
            <a:spLocks/>
          </p:cNvSpPr>
          <p:nvPr/>
        </p:nvSpPr>
        <p:spPr bwMode="auto">
          <a:xfrm rot="17727408">
            <a:off x="557240" y="2851160"/>
            <a:ext cx="601841" cy="285001"/>
          </a:xfrm>
          <a:custGeom>
            <a:avLst/>
            <a:gdLst>
              <a:gd name="T0" fmla="*/ 11 w 169"/>
              <a:gd name="T1" fmla="*/ 76 h 110"/>
              <a:gd name="T2" fmla="*/ 18 w 169"/>
              <a:gd name="T3" fmla="*/ 74 h 110"/>
              <a:gd name="T4" fmla="*/ 69 w 169"/>
              <a:gd name="T5" fmla="*/ 26 h 110"/>
              <a:gd name="T6" fmla="*/ 137 w 169"/>
              <a:gd name="T7" fmla="*/ 10 h 110"/>
              <a:gd name="T8" fmla="*/ 143 w 169"/>
              <a:gd name="T9" fmla="*/ 4 h 110"/>
              <a:gd name="T10" fmla="*/ 165 w 169"/>
              <a:gd name="T11" fmla="*/ 12 h 110"/>
              <a:gd name="T12" fmla="*/ 159 w 169"/>
              <a:gd name="T13" fmla="*/ 34 h 110"/>
              <a:gd name="T14" fmla="*/ 137 w 169"/>
              <a:gd name="T15" fmla="*/ 27 h 110"/>
              <a:gd name="T16" fmla="*/ 77 w 169"/>
              <a:gd name="T17" fmla="*/ 40 h 110"/>
              <a:gd name="T18" fmla="*/ 33 w 169"/>
              <a:gd name="T19" fmla="*/ 84 h 110"/>
              <a:gd name="T20" fmla="*/ 27 w 169"/>
              <a:gd name="T21" fmla="*/ 106 h 110"/>
              <a:gd name="T22" fmla="*/ 5 w 169"/>
              <a:gd name="T23" fmla="*/ 98 h 110"/>
              <a:gd name="T24" fmla="*/ 11 w 169"/>
              <a:gd name="T25" fmla="*/ 7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0">
                <a:moveTo>
                  <a:pt x="11" y="76"/>
                </a:moveTo>
                <a:cubicBezTo>
                  <a:pt x="13" y="75"/>
                  <a:pt x="16" y="74"/>
                  <a:pt x="18" y="74"/>
                </a:cubicBezTo>
                <a:cubicBezTo>
                  <a:pt x="25" y="57"/>
                  <a:pt x="43" y="39"/>
                  <a:pt x="69" y="26"/>
                </a:cubicBezTo>
                <a:cubicBezTo>
                  <a:pt x="94" y="12"/>
                  <a:pt x="119" y="6"/>
                  <a:pt x="137" y="10"/>
                </a:cubicBezTo>
                <a:cubicBezTo>
                  <a:pt x="139" y="7"/>
                  <a:pt x="141" y="6"/>
                  <a:pt x="143" y="4"/>
                </a:cubicBezTo>
                <a:cubicBezTo>
                  <a:pt x="151" y="0"/>
                  <a:pt x="160" y="3"/>
                  <a:pt x="165" y="12"/>
                </a:cubicBezTo>
                <a:cubicBezTo>
                  <a:pt x="169" y="20"/>
                  <a:pt x="167" y="30"/>
                  <a:pt x="159" y="34"/>
                </a:cubicBezTo>
                <a:cubicBezTo>
                  <a:pt x="151" y="38"/>
                  <a:pt x="142" y="35"/>
                  <a:pt x="137" y="27"/>
                </a:cubicBezTo>
                <a:cubicBezTo>
                  <a:pt x="125" y="23"/>
                  <a:pt x="101" y="27"/>
                  <a:pt x="77" y="40"/>
                </a:cubicBezTo>
                <a:cubicBezTo>
                  <a:pt x="53" y="54"/>
                  <a:pt x="37" y="71"/>
                  <a:pt x="33" y="84"/>
                </a:cubicBezTo>
                <a:cubicBezTo>
                  <a:pt x="37" y="92"/>
                  <a:pt x="34" y="102"/>
                  <a:pt x="27" y="106"/>
                </a:cubicBezTo>
                <a:cubicBezTo>
                  <a:pt x="19" y="110"/>
                  <a:pt x="9" y="107"/>
                  <a:pt x="5" y="98"/>
                </a:cubicBezTo>
                <a:cubicBezTo>
                  <a:pt x="0" y="90"/>
                  <a:pt x="3" y="80"/>
                  <a:pt x="11" y="76"/>
                </a:cubicBezTo>
                <a:close/>
              </a:path>
            </a:pathLst>
          </a:custGeom>
          <a:gradFill>
            <a:gsLst>
              <a:gs pos="0">
                <a:srgbClr val="7F7F7F"/>
              </a:gs>
              <a:gs pos="100000">
                <a:schemeClr val="bg1">
                  <a:lumMod val="54000"/>
                </a:schemeClr>
              </a:gs>
            </a:gsLst>
            <a:lin ang="5400000" scaled="1"/>
          </a:gradFill>
          <a:ln w="9525" cap="flat" cmpd="sng" algn="ctr">
            <a:solidFill>
              <a:srgbClr val="606060"/>
            </a:solidFill>
            <a:prstDash val="solid"/>
            <a:round/>
            <a:headEnd type="none" w="med" len="med"/>
            <a:tailEnd type="none" w="med" len="med"/>
          </a:ln>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56" name="Freeform 20">
            <a:extLst>
              <a:ext uri="{FF2B5EF4-FFF2-40B4-BE49-F238E27FC236}">
                <a16:creationId xmlns:a16="http://schemas.microsoft.com/office/drawing/2014/main" id="{2F510764-6BE7-4E44-BB3E-9447FFFEBB88}"/>
              </a:ext>
            </a:extLst>
          </p:cNvPr>
          <p:cNvSpPr>
            <a:spLocks/>
          </p:cNvSpPr>
          <p:nvPr/>
        </p:nvSpPr>
        <p:spPr bwMode="auto">
          <a:xfrm rot="17727408">
            <a:off x="545239" y="3717370"/>
            <a:ext cx="601841" cy="285001"/>
          </a:xfrm>
          <a:custGeom>
            <a:avLst/>
            <a:gdLst>
              <a:gd name="T0" fmla="*/ 11 w 169"/>
              <a:gd name="T1" fmla="*/ 76 h 110"/>
              <a:gd name="T2" fmla="*/ 18 w 169"/>
              <a:gd name="T3" fmla="*/ 74 h 110"/>
              <a:gd name="T4" fmla="*/ 69 w 169"/>
              <a:gd name="T5" fmla="*/ 26 h 110"/>
              <a:gd name="T6" fmla="*/ 137 w 169"/>
              <a:gd name="T7" fmla="*/ 10 h 110"/>
              <a:gd name="T8" fmla="*/ 143 w 169"/>
              <a:gd name="T9" fmla="*/ 4 h 110"/>
              <a:gd name="T10" fmla="*/ 165 w 169"/>
              <a:gd name="T11" fmla="*/ 12 h 110"/>
              <a:gd name="T12" fmla="*/ 159 w 169"/>
              <a:gd name="T13" fmla="*/ 34 h 110"/>
              <a:gd name="T14" fmla="*/ 137 w 169"/>
              <a:gd name="T15" fmla="*/ 27 h 110"/>
              <a:gd name="T16" fmla="*/ 77 w 169"/>
              <a:gd name="T17" fmla="*/ 40 h 110"/>
              <a:gd name="T18" fmla="*/ 33 w 169"/>
              <a:gd name="T19" fmla="*/ 84 h 110"/>
              <a:gd name="T20" fmla="*/ 27 w 169"/>
              <a:gd name="T21" fmla="*/ 106 h 110"/>
              <a:gd name="T22" fmla="*/ 5 w 169"/>
              <a:gd name="T23" fmla="*/ 98 h 110"/>
              <a:gd name="T24" fmla="*/ 11 w 169"/>
              <a:gd name="T25" fmla="*/ 7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0">
                <a:moveTo>
                  <a:pt x="11" y="76"/>
                </a:moveTo>
                <a:cubicBezTo>
                  <a:pt x="13" y="75"/>
                  <a:pt x="16" y="74"/>
                  <a:pt x="18" y="74"/>
                </a:cubicBezTo>
                <a:cubicBezTo>
                  <a:pt x="25" y="57"/>
                  <a:pt x="43" y="39"/>
                  <a:pt x="69" y="26"/>
                </a:cubicBezTo>
                <a:cubicBezTo>
                  <a:pt x="94" y="12"/>
                  <a:pt x="119" y="6"/>
                  <a:pt x="137" y="10"/>
                </a:cubicBezTo>
                <a:cubicBezTo>
                  <a:pt x="139" y="7"/>
                  <a:pt x="141" y="6"/>
                  <a:pt x="143" y="4"/>
                </a:cubicBezTo>
                <a:cubicBezTo>
                  <a:pt x="151" y="0"/>
                  <a:pt x="160" y="3"/>
                  <a:pt x="165" y="12"/>
                </a:cubicBezTo>
                <a:cubicBezTo>
                  <a:pt x="169" y="20"/>
                  <a:pt x="167" y="30"/>
                  <a:pt x="159" y="34"/>
                </a:cubicBezTo>
                <a:cubicBezTo>
                  <a:pt x="151" y="38"/>
                  <a:pt x="142" y="35"/>
                  <a:pt x="137" y="27"/>
                </a:cubicBezTo>
                <a:cubicBezTo>
                  <a:pt x="125" y="23"/>
                  <a:pt x="101" y="27"/>
                  <a:pt x="77" y="40"/>
                </a:cubicBezTo>
                <a:cubicBezTo>
                  <a:pt x="53" y="54"/>
                  <a:pt x="37" y="71"/>
                  <a:pt x="33" y="84"/>
                </a:cubicBezTo>
                <a:cubicBezTo>
                  <a:pt x="37" y="92"/>
                  <a:pt x="34" y="102"/>
                  <a:pt x="27" y="106"/>
                </a:cubicBezTo>
                <a:cubicBezTo>
                  <a:pt x="19" y="110"/>
                  <a:pt x="9" y="107"/>
                  <a:pt x="5" y="98"/>
                </a:cubicBezTo>
                <a:cubicBezTo>
                  <a:pt x="0" y="90"/>
                  <a:pt x="3" y="80"/>
                  <a:pt x="11" y="76"/>
                </a:cubicBezTo>
                <a:close/>
              </a:path>
            </a:pathLst>
          </a:custGeom>
          <a:gradFill>
            <a:gsLst>
              <a:gs pos="0">
                <a:srgbClr val="7F7F7F"/>
              </a:gs>
              <a:gs pos="100000">
                <a:schemeClr val="bg1">
                  <a:lumMod val="54000"/>
                </a:schemeClr>
              </a:gs>
            </a:gsLst>
            <a:lin ang="5400000" scaled="1"/>
          </a:gradFill>
          <a:ln w="9525" cap="flat" cmpd="sng" algn="ctr">
            <a:solidFill>
              <a:srgbClr val="606060"/>
            </a:solidFill>
            <a:prstDash val="solid"/>
            <a:round/>
            <a:headEnd type="none" w="med" len="med"/>
            <a:tailEnd type="none" w="med" len="med"/>
          </a:ln>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58" name="Freeform 20">
            <a:extLst>
              <a:ext uri="{FF2B5EF4-FFF2-40B4-BE49-F238E27FC236}">
                <a16:creationId xmlns:a16="http://schemas.microsoft.com/office/drawing/2014/main" id="{B9974FEF-96BC-4A12-8BCE-DAEE7DA071E3}"/>
              </a:ext>
            </a:extLst>
          </p:cNvPr>
          <p:cNvSpPr>
            <a:spLocks/>
          </p:cNvSpPr>
          <p:nvPr/>
        </p:nvSpPr>
        <p:spPr bwMode="auto">
          <a:xfrm rot="17727408">
            <a:off x="514866" y="4569414"/>
            <a:ext cx="601841" cy="285001"/>
          </a:xfrm>
          <a:custGeom>
            <a:avLst/>
            <a:gdLst>
              <a:gd name="T0" fmla="*/ 11 w 169"/>
              <a:gd name="T1" fmla="*/ 76 h 110"/>
              <a:gd name="T2" fmla="*/ 18 w 169"/>
              <a:gd name="T3" fmla="*/ 74 h 110"/>
              <a:gd name="T4" fmla="*/ 69 w 169"/>
              <a:gd name="T5" fmla="*/ 26 h 110"/>
              <a:gd name="T6" fmla="*/ 137 w 169"/>
              <a:gd name="T7" fmla="*/ 10 h 110"/>
              <a:gd name="T8" fmla="*/ 143 w 169"/>
              <a:gd name="T9" fmla="*/ 4 h 110"/>
              <a:gd name="T10" fmla="*/ 165 w 169"/>
              <a:gd name="T11" fmla="*/ 12 h 110"/>
              <a:gd name="T12" fmla="*/ 159 w 169"/>
              <a:gd name="T13" fmla="*/ 34 h 110"/>
              <a:gd name="T14" fmla="*/ 137 w 169"/>
              <a:gd name="T15" fmla="*/ 27 h 110"/>
              <a:gd name="T16" fmla="*/ 77 w 169"/>
              <a:gd name="T17" fmla="*/ 40 h 110"/>
              <a:gd name="T18" fmla="*/ 33 w 169"/>
              <a:gd name="T19" fmla="*/ 84 h 110"/>
              <a:gd name="T20" fmla="*/ 27 w 169"/>
              <a:gd name="T21" fmla="*/ 106 h 110"/>
              <a:gd name="T22" fmla="*/ 5 w 169"/>
              <a:gd name="T23" fmla="*/ 98 h 110"/>
              <a:gd name="T24" fmla="*/ 11 w 169"/>
              <a:gd name="T25" fmla="*/ 7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0">
                <a:moveTo>
                  <a:pt x="11" y="76"/>
                </a:moveTo>
                <a:cubicBezTo>
                  <a:pt x="13" y="75"/>
                  <a:pt x="16" y="74"/>
                  <a:pt x="18" y="74"/>
                </a:cubicBezTo>
                <a:cubicBezTo>
                  <a:pt x="25" y="57"/>
                  <a:pt x="43" y="39"/>
                  <a:pt x="69" y="26"/>
                </a:cubicBezTo>
                <a:cubicBezTo>
                  <a:pt x="94" y="12"/>
                  <a:pt x="119" y="6"/>
                  <a:pt x="137" y="10"/>
                </a:cubicBezTo>
                <a:cubicBezTo>
                  <a:pt x="139" y="7"/>
                  <a:pt x="141" y="6"/>
                  <a:pt x="143" y="4"/>
                </a:cubicBezTo>
                <a:cubicBezTo>
                  <a:pt x="151" y="0"/>
                  <a:pt x="160" y="3"/>
                  <a:pt x="165" y="12"/>
                </a:cubicBezTo>
                <a:cubicBezTo>
                  <a:pt x="169" y="20"/>
                  <a:pt x="167" y="30"/>
                  <a:pt x="159" y="34"/>
                </a:cubicBezTo>
                <a:cubicBezTo>
                  <a:pt x="151" y="38"/>
                  <a:pt x="142" y="35"/>
                  <a:pt x="137" y="27"/>
                </a:cubicBezTo>
                <a:cubicBezTo>
                  <a:pt x="125" y="23"/>
                  <a:pt x="101" y="27"/>
                  <a:pt x="77" y="40"/>
                </a:cubicBezTo>
                <a:cubicBezTo>
                  <a:pt x="53" y="54"/>
                  <a:pt x="37" y="71"/>
                  <a:pt x="33" y="84"/>
                </a:cubicBezTo>
                <a:cubicBezTo>
                  <a:pt x="37" y="92"/>
                  <a:pt x="34" y="102"/>
                  <a:pt x="27" y="106"/>
                </a:cubicBezTo>
                <a:cubicBezTo>
                  <a:pt x="19" y="110"/>
                  <a:pt x="9" y="107"/>
                  <a:pt x="5" y="98"/>
                </a:cubicBezTo>
                <a:cubicBezTo>
                  <a:pt x="0" y="90"/>
                  <a:pt x="3" y="80"/>
                  <a:pt x="11" y="76"/>
                </a:cubicBezTo>
                <a:close/>
              </a:path>
            </a:pathLst>
          </a:custGeom>
          <a:gradFill>
            <a:gsLst>
              <a:gs pos="0">
                <a:srgbClr val="7F7F7F"/>
              </a:gs>
              <a:gs pos="100000">
                <a:schemeClr val="bg1">
                  <a:lumMod val="54000"/>
                </a:schemeClr>
              </a:gs>
            </a:gsLst>
            <a:lin ang="5400000" scaled="1"/>
          </a:gradFill>
          <a:ln w="9525" cap="flat" cmpd="sng" algn="ctr">
            <a:solidFill>
              <a:srgbClr val="606060"/>
            </a:solidFill>
            <a:prstDash val="solid"/>
            <a:round/>
            <a:headEnd type="none" w="med" len="med"/>
            <a:tailEnd type="none" w="med" len="med"/>
          </a:ln>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60" name="Freeform 20">
            <a:extLst>
              <a:ext uri="{FF2B5EF4-FFF2-40B4-BE49-F238E27FC236}">
                <a16:creationId xmlns:a16="http://schemas.microsoft.com/office/drawing/2014/main" id="{801FD3F6-F872-460E-AEA7-32CFCCE357D3}"/>
              </a:ext>
            </a:extLst>
          </p:cNvPr>
          <p:cNvSpPr>
            <a:spLocks/>
          </p:cNvSpPr>
          <p:nvPr/>
        </p:nvSpPr>
        <p:spPr bwMode="auto">
          <a:xfrm rot="17727408">
            <a:off x="459924" y="5541345"/>
            <a:ext cx="601841" cy="285001"/>
          </a:xfrm>
          <a:custGeom>
            <a:avLst/>
            <a:gdLst>
              <a:gd name="T0" fmla="*/ 11 w 169"/>
              <a:gd name="T1" fmla="*/ 76 h 110"/>
              <a:gd name="T2" fmla="*/ 18 w 169"/>
              <a:gd name="T3" fmla="*/ 74 h 110"/>
              <a:gd name="T4" fmla="*/ 69 w 169"/>
              <a:gd name="T5" fmla="*/ 26 h 110"/>
              <a:gd name="T6" fmla="*/ 137 w 169"/>
              <a:gd name="T7" fmla="*/ 10 h 110"/>
              <a:gd name="T8" fmla="*/ 143 w 169"/>
              <a:gd name="T9" fmla="*/ 4 h 110"/>
              <a:gd name="T10" fmla="*/ 165 w 169"/>
              <a:gd name="T11" fmla="*/ 12 h 110"/>
              <a:gd name="T12" fmla="*/ 159 w 169"/>
              <a:gd name="T13" fmla="*/ 34 h 110"/>
              <a:gd name="T14" fmla="*/ 137 w 169"/>
              <a:gd name="T15" fmla="*/ 27 h 110"/>
              <a:gd name="T16" fmla="*/ 77 w 169"/>
              <a:gd name="T17" fmla="*/ 40 h 110"/>
              <a:gd name="T18" fmla="*/ 33 w 169"/>
              <a:gd name="T19" fmla="*/ 84 h 110"/>
              <a:gd name="T20" fmla="*/ 27 w 169"/>
              <a:gd name="T21" fmla="*/ 106 h 110"/>
              <a:gd name="T22" fmla="*/ 5 w 169"/>
              <a:gd name="T23" fmla="*/ 98 h 110"/>
              <a:gd name="T24" fmla="*/ 11 w 169"/>
              <a:gd name="T25" fmla="*/ 7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0">
                <a:moveTo>
                  <a:pt x="11" y="76"/>
                </a:moveTo>
                <a:cubicBezTo>
                  <a:pt x="13" y="75"/>
                  <a:pt x="16" y="74"/>
                  <a:pt x="18" y="74"/>
                </a:cubicBezTo>
                <a:cubicBezTo>
                  <a:pt x="25" y="57"/>
                  <a:pt x="43" y="39"/>
                  <a:pt x="69" y="26"/>
                </a:cubicBezTo>
                <a:cubicBezTo>
                  <a:pt x="94" y="12"/>
                  <a:pt x="119" y="6"/>
                  <a:pt x="137" y="10"/>
                </a:cubicBezTo>
                <a:cubicBezTo>
                  <a:pt x="139" y="7"/>
                  <a:pt x="141" y="6"/>
                  <a:pt x="143" y="4"/>
                </a:cubicBezTo>
                <a:cubicBezTo>
                  <a:pt x="151" y="0"/>
                  <a:pt x="160" y="3"/>
                  <a:pt x="165" y="12"/>
                </a:cubicBezTo>
                <a:cubicBezTo>
                  <a:pt x="169" y="20"/>
                  <a:pt x="167" y="30"/>
                  <a:pt x="159" y="34"/>
                </a:cubicBezTo>
                <a:cubicBezTo>
                  <a:pt x="151" y="38"/>
                  <a:pt x="142" y="35"/>
                  <a:pt x="137" y="27"/>
                </a:cubicBezTo>
                <a:cubicBezTo>
                  <a:pt x="125" y="23"/>
                  <a:pt x="101" y="27"/>
                  <a:pt x="77" y="40"/>
                </a:cubicBezTo>
                <a:cubicBezTo>
                  <a:pt x="53" y="54"/>
                  <a:pt x="37" y="71"/>
                  <a:pt x="33" y="84"/>
                </a:cubicBezTo>
                <a:cubicBezTo>
                  <a:pt x="37" y="92"/>
                  <a:pt x="34" y="102"/>
                  <a:pt x="27" y="106"/>
                </a:cubicBezTo>
                <a:cubicBezTo>
                  <a:pt x="19" y="110"/>
                  <a:pt x="9" y="107"/>
                  <a:pt x="5" y="98"/>
                </a:cubicBezTo>
                <a:cubicBezTo>
                  <a:pt x="0" y="90"/>
                  <a:pt x="3" y="80"/>
                  <a:pt x="11" y="76"/>
                </a:cubicBezTo>
                <a:close/>
              </a:path>
            </a:pathLst>
          </a:custGeom>
          <a:gradFill>
            <a:gsLst>
              <a:gs pos="0">
                <a:srgbClr val="7F7F7F"/>
              </a:gs>
              <a:gs pos="100000">
                <a:schemeClr val="bg1">
                  <a:lumMod val="54000"/>
                </a:schemeClr>
              </a:gs>
            </a:gsLst>
            <a:lin ang="5400000" scaled="1"/>
          </a:gradFill>
          <a:ln w="9525" cap="flat" cmpd="sng" algn="ctr">
            <a:solidFill>
              <a:srgbClr val="606060"/>
            </a:solidFill>
            <a:prstDash val="solid"/>
            <a:round/>
            <a:headEnd type="none" w="med" len="med"/>
            <a:tailEnd type="none" w="med" len="med"/>
          </a:ln>
          <a:effectLst/>
        </p:spPr>
        <p:txBody>
          <a:bodyPr lIns="66726" tIns="33362" rIns="66726" bIns="33362" anchor="ctr"/>
          <a:lstStyle>
            <a:defPPr>
              <a:defRPr lang="en-US"/>
            </a:defPPr>
            <a:lvl1pPr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HelveticaNeueLT Std" pitchFamily="34" charset="0"/>
                <a:ea typeface="+mn-ea"/>
                <a:cs typeface="Arial" pitchFamily="34" charset="0"/>
              </a:defRPr>
            </a:lvl5pPr>
            <a:lvl6pPr marL="2286000" algn="l" defTabSz="914400" rtl="0" eaLnBrk="1" latinLnBrk="0" hangingPunct="1">
              <a:defRPr kern="1200">
                <a:solidFill>
                  <a:schemeClr val="tx1"/>
                </a:solidFill>
                <a:latin typeface="HelveticaNeueLT Std" pitchFamily="34" charset="0"/>
                <a:ea typeface="+mn-ea"/>
                <a:cs typeface="Arial" pitchFamily="34" charset="0"/>
              </a:defRPr>
            </a:lvl6pPr>
            <a:lvl7pPr marL="2743200" algn="l" defTabSz="914400" rtl="0" eaLnBrk="1" latinLnBrk="0" hangingPunct="1">
              <a:defRPr kern="1200">
                <a:solidFill>
                  <a:schemeClr val="tx1"/>
                </a:solidFill>
                <a:latin typeface="HelveticaNeueLT Std" pitchFamily="34" charset="0"/>
                <a:ea typeface="+mn-ea"/>
                <a:cs typeface="Arial" pitchFamily="34" charset="0"/>
              </a:defRPr>
            </a:lvl7pPr>
            <a:lvl8pPr marL="3200400" algn="l" defTabSz="914400" rtl="0" eaLnBrk="1" latinLnBrk="0" hangingPunct="1">
              <a:defRPr kern="1200">
                <a:solidFill>
                  <a:schemeClr val="tx1"/>
                </a:solidFill>
                <a:latin typeface="HelveticaNeueLT Std" pitchFamily="34" charset="0"/>
                <a:ea typeface="+mn-ea"/>
                <a:cs typeface="Arial" pitchFamily="34" charset="0"/>
              </a:defRPr>
            </a:lvl8pPr>
            <a:lvl9pPr marL="3657600" algn="l" defTabSz="914400" rtl="0" eaLnBrk="1" latinLnBrk="0" hangingPunct="1">
              <a:defRPr kern="1200">
                <a:solidFill>
                  <a:schemeClr val="tx1"/>
                </a:solidFill>
                <a:latin typeface="HelveticaNeueLT Std" pitchFamily="34" charset="0"/>
                <a:ea typeface="+mn-ea"/>
                <a:cs typeface="Arial" pitchFamily="34" charset="0"/>
              </a:defRPr>
            </a:lvl9pPr>
          </a:lstStyle>
          <a:p>
            <a:pPr algn="ctr" defTabSz="661690">
              <a:lnSpc>
                <a:spcPct val="90000"/>
              </a:lnSpc>
              <a:defRPr/>
            </a:pPr>
            <a:endParaRPr lang="en-US" sz="1138" b="1">
              <a:solidFill>
                <a:srgbClr val="000000"/>
              </a:solidFill>
              <a:latin typeface="Verdana"/>
            </a:endParaRPr>
          </a:p>
        </p:txBody>
      </p:sp>
      <p:sp>
        <p:nvSpPr>
          <p:cNvPr id="164" name="Freeform 153">
            <a:extLst>
              <a:ext uri="{FF2B5EF4-FFF2-40B4-BE49-F238E27FC236}">
                <a16:creationId xmlns:a16="http://schemas.microsoft.com/office/drawing/2014/main" id="{C3D0C9C4-172B-41C5-9D2C-2403620EE9DC}"/>
              </a:ext>
            </a:extLst>
          </p:cNvPr>
          <p:cNvSpPr/>
          <p:nvPr/>
        </p:nvSpPr>
        <p:spPr>
          <a:xfrm>
            <a:off x="1430871" y="1123484"/>
            <a:ext cx="1618696" cy="370509"/>
          </a:xfrm>
          <a:prstGeom prst="round2SameRect">
            <a:avLst/>
          </a:prstGeom>
          <a:solidFill>
            <a:schemeClr val="accent2"/>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Executive VP</a:t>
            </a:r>
          </a:p>
        </p:txBody>
      </p:sp>
      <p:sp>
        <p:nvSpPr>
          <p:cNvPr id="165" name="Freeform 154">
            <a:extLst>
              <a:ext uri="{FF2B5EF4-FFF2-40B4-BE49-F238E27FC236}">
                <a16:creationId xmlns:a16="http://schemas.microsoft.com/office/drawing/2014/main" id="{430FFF9B-200D-41F8-A7C6-B8F6ABF50A99}"/>
              </a:ext>
            </a:extLst>
          </p:cNvPr>
          <p:cNvSpPr/>
          <p:nvPr/>
        </p:nvSpPr>
        <p:spPr>
          <a:xfrm>
            <a:off x="1418356" y="1565494"/>
            <a:ext cx="1618696" cy="370509"/>
          </a:xfrm>
          <a:prstGeom prst="round2SameRect">
            <a:avLst/>
          </a:prstGeom>
          <a:solidFill>
            <a:schemeClr val="accent2"/>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Vice President</a:t>
            </a:r>
          </a:p>
        </p:txBody>
      </p:sp>
      <p:sp>
        <p:nvSpPr>
          <p:cNvPr id="166" name="Freeform 155">
            <a:extLst>
              <a:ext uri="{FF2B5EF4-FFF2-40B4-BE49-F238E27FC236}">
                <a16:creationId xmlns:a16="http://schemas.microsoft.com/office/drawing/2014/main" id="{7E3C5D64-82D3-40B3-A4E8-89C4A8A27270}"/>
              </a:ext>
            </a:extLst>
          </p:cNvPr>
          <p:cNvSpPr/>
          <p:nvPr/>
        </p:nvSpPr>
        <p:spPr>
          <a:xfrm>
            <a:off x="1450511" y="2087864"/>
            <a:ext cx="1618696" cy="370509"/>
          </a:xfrm>
          <a:prstGeom prst="round2SameRect">
            <a:avLst/>
          </a:prstGeom>
          <a:solidFill>
            <a:srgbClr val="CB2980"/>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Senior Director</a:t>
            </a:r>
          </a:p>
        </p:txBody>
      </p:sp>
      <p:sp>
        <p:nvSpPr>
          <p:cNvPr id="167" name="Freeform 156">
            <a:extLst>
              <a:ext uri="{FF2B5EF4-FFF2-40B4-BE49-F238E27FC236}">
                <a16:creationId xmlns:a16="http://schemas.microsoft.com/office/drawing/2014/main" id="{DE47431C-29A1-4C2B-B1F2-EB726B52A985}"/>
              </a:ext>
            </a:extLst>
          </p:cNvPr>
          <p:cNvSpPr/>
          <p:nvPr/>
        </p:nvSpPr>
        <p:spPr>
          <a:xfrm>
            <a:off x="1450511" y="2531854"/>
            <a:ext cx="1618696" cy="370509"/>
          </a:xfrm>
          <a:prstGeom prst="round2SameRect">
            <a:avLst/>
          </a:prstGeom>
          <a:solidFill>
            <a:srgbClr val="CB2980"/>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Director</a:t>
            </a:r>
          </a:p>
        </p:txBody>
      </p:sp>
      <p:sp>
        <p:nvSpPr>
          <p:cNvPr id="168" name="Freeform 157">
            <a:extLst>
              <a:ext uri="{FF2B5EF4-FFF2-40B4-BE49-F238E27FC236}">
                <a16:creationId xmlns:a16="http://schemas.microsoft.com/office/drawing/2014/main" id="{1CEE0FC8-7B85-4C1D-A7BE-648700A7D97C}"/>
              </a:ext>
            </a:extLst>
          </p:cNvPr>
          <p:cNvSpPr/>
          <p:nvPr/>
        </p:nvSpPr>
        <p:spPr>
          <a:xfrm>
            <a:off x="1439794" y="3042832"/>
            <a:ext cx="1647520" cy="307977"/>
          </a:xfrm>
          <a:prstGeom prst="round2SameRect">
            <a:avLst/>
          </a:prstGeom>
          <a:solidFill>
            <a:srgbClr val="FF6327"/>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Portfolio Manager</a:t>
            </a:r>
          </a:p>
        </p:txBody>
      </p:sp>
      <p:sp>
        <p:nvSpPr>
          <p:cNvPr id="169" name="Freeform 158">
            <a:extLst>
              <a:ext uri="{FF2B5EF4-FFF2-40B4-BE49-F238E27FC236}">
                <a16:creationId xmlns:a16="http://schemas.microsoft.com/office/drawing/2014/main" id="{240B68C3-4B01-40CD-8059-36A5EB6F73CD}"/>
              </a:ext>
            </a:extLst>
          </p:cNvPr>
          <p:cNvSpPr/>
          <p:nvPr/>
        </p:nvSpPr>
        <p:spPr>
          <a:xfrm>
            <a:off x="1418357" y="3458074"/>
            <a:ext cx="1647520" cy="303784"/>
          </a:xfrm>
          <a:prstGeom prst="round2SameRect">
            <a:avLst/>
          </a:prstGeom>
          <a:solidFill>
            <a:srgbClr val="FF6327"/>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Senior Manager</a:t>
            </a:r>
          </a:p>
        </p:txBody>
      </p:sp>
      <p:sp>
        <p:nvSpPr>
          <p:cNvPr id="170" name="Freeform 159">
            <a:extLst>
              <a:ext uri="{FF2B5EF4-FFF2-40B4-BE49-F238E27FC236}">
                <a16:creationId xmlns:a16="http://schemas.microsoft.com/office/drawing/2014/main" id="{07C20974-9CB8-42AC-90E7-B5A8DC1A533E}"/>
              </a:ext>
            </a:extLst>
          </p:cNvPr>
          <p:cNvSpPr/>
          <p:nvPr/>
        </p:nvSpPr>
        <p:spPr>
          <a:xfrm>
            <a:off x="1418357" y="3859249"/>
            <a:ext cx="1647521" cy="370509"/>
          </a:xfrm>
          <a:prstGeom prst="round2SameRect">
            <a:avLst/>
          </a:prstGeom>
          <a:solidFill>
            <a:schemeClr val="accent5"/>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srgbClr val="000000">
                    <a:hueOff val="0"/>
                    <a:satOff val="0"/>
                    <a:lumOff val="0"/>
                    <a:alphaOff val="0"/>
                  </a:srgbClr>
                </a:solidFill>
                <a:latin typeface="Arial" pitchFamily="34" charset="0"/>
                <a:cs typeface="Arial" pitchFamily="34" charset="0"/>
              </a:rPr>
              <a:t>Manager</a:t>
            </a:r>
          </a:p>
        </p:txBody>
      </p:sp>
      <p:sp>
        <p:nvSpPr>
          <p:cNvPr id="171" name="Freeform 160">
            <a:extLst>
              <a:ext uri="{FF2B5EF4-FFF2-40B4-BE49-F238E27FC236}">
                <a16:creationId xmlns:a16="http://schemas.microsoft.com/office/drawing/2014/main" id="{B4CE6108-4741-4A6B-8C07-C251E2C3B950}"/>
              </a:ext>
            </a:extLst>
          </p:cNvPr>
          <p:cNvSpPr/>
          <p:nvPr/>
        </p:nvSpPr>
        <p:spPr>
          <a:xfrm>
            <a:off x="1418356" y="4296449"/>
            <a:ext cx="1647522" cy="307977"/>
          </a:xfrm>
          <a:prstGeom prst="round2SameRect">
            <a:avLst/>
          </a:prstGeom>
          <a:solidFill>
            <a:schemeClr val="accent5"/>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srgbClr val="000000">
                    <a:hueOff val="0"/>
                    <a:satOff val="0"/>
                    <a:lumOff val="0"/>
                    <a:alphaOff val="0"/>
                  </a:srgbClr>
                </a:solidFill>
                <a:latin typeface="Arial" pitchFamily="34" charset="0"/>
                <a:cs typeface="Arial" pitchFamily="34" charset="0"/>
              </a:rPr>
              <a:t>Senior Consultant</a:t>
            </a:r>
          </a:p>
        </p:txBody>
      </p:sp>
      <p:sp>
        <p:nvSpPr>
          <p:cNvPr id="172" name="Freeform 161">
            <a:extLst>
              <a:ext uri="{FF2B5EF4-FFF2-40B4-BE49-F238E27FC236}">
                <a16:creationId xmlns:a16="http://schemas.microsoft.com/office/drawing/2014/main" id="{D9157F6A-A65A-4298-BA16-7DE9F3E19066}"/>
              </a:ext>
            </a:extLst>
          </p:cNvPr>
          <p:cNvSpPr/>
          <p:nvPr/>
        </p:nvSpPr>
        <p:spPr>
          <a:xfrm>
            <a:off x="1418357" y="4701828"/>
            <a:ext cx="1647523" cy="370509"/>
          </a:xfrm>
          <a:prstGeom prst="round2SameRect">
            <a:avLst/>
          </a:prstGeom>
          <a:solidFill>
            <a:schemeClr val="tx2"/>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Consultant</a:t>
            </a:r>
          </a:p>
        </p:txBody>
      </p:sp>
      <p:sp>
        <p:nvSpPr>
          <p:cNvPr id="173" name="Freeform 162">
            <a:extLst>
              <a:ext uri="{FF2B5EF4-FFF2-40B4-BE49-F238E27FC236}">
                <a16:creationId xmlns:a16="http://schemas.microsoft.com/office/drawing/2014/main" id="{F927097B-4BB0-4891-ADD9-5CFF43284C0C}"/>
              </a:ext>
            </a:extLst>
          </p:cNvPr>
          <p:cNvSpPr/>
          <p:nvPr/>
        </p:nvSpPr>
        <p:spPr>
          <a:xfrm>
            <a:off x="1439793" y="5127901"/>
            <a:ext cx="1618701" cy="370509"/>
          </a:xfrm>
          <a:prstGeom prst="round2SameRect">
            <a:avLst/>
          </a:prstGeom>
          <a:solidFill>
            <a:schemeClr val="tx2"/>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Associate Consultant</a:t>
            </a:r>
          </a:p>
        </p:txBody>
      </p:sp>
      <p:sp>
        <p:nvSpPr>
          <p:cNvPr id="174" name="Freeform 163">
            <a:extLst>
              <a:ext uri="{FF2B5EF4-FFF2-40B4-BE49-F238E27FC236}">
                <a16:creationId xmlns:a16="http://schemas.microsoft.com/office/drawing/2014/main" id="{CCC04746-B407-445E-B1FE-D81E2C0C0E2F}"/>
              </a:ext>
            </a:extLst>
          </p:cNvPr>
          <p:cNvSpPr/>
          <p:nvPr/>
        </p:nvSpPr>
        <p:spPr>
          <a:xfrm>
            <a:off x="1439792" y="5580776"/>
            <a:ext cx="1618704" cy="287280"/>
          </a:xfrm>
          <a:prstGeom prst="round2SameRect">
            <a:avLst/>
          </a:prstGeom>
          <a:solidFill>
            <a:schemeClr val="accent4"/>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Senior Software Engineer</a:t>
            </a:r>
          </a:p>
        </p:txBody>
      </p:sp>
      <p:sp>
        <p:nvSpPr>
          <p:cNvPr id="175" name="Freeform 164">
            <a:extLst>
              <a:ext uri="{FF2B5EF4-FFF2-40B4-BE49-F238E27FC236}">
                <a16:creationId xmlns:a16="http://schemas.microsoft.com/office/drawing/2014/main" id="{90E21256-071E-4469-9E98-66B7619DA27D}"/>
              </a:ext>
            </a:extLst>
          </p:cNvPr>
          <p:cNvSpPr/>
          <p:nvPr/>
        </p:nvSpPr>
        <p:spPr>
          <a:xfrm>
            <a:off x="1439792" y="5945519"/>
            <a:ext cx="1618702" cy="214736"/>
          </a:xfrm>
          <a:prstGeom prst="round2SameRect">
            <a:avLst/>
          </a:prstGeom>
          <a:solidFill>
            <a:schemeClr val="accent4"/>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Software Engineer </a:t>
            </a:r>
          </a:p>
        </p:txBody>
      </p:sp>
      <p:sp>
        <p:nvSpPr>
          <p:cNvPr id="176" name="Freeform 165">
            <a:extLst>
              <a:ext uri="{FF2B5EF4-FFF2-40B4-BE49-F238E27FC236}">
                <a16:creationId xmlns:a16="http://schemas.microsoft.com/office/drawing/2014/main" id="{0DFD6F52-3B90-4CDD-8CA6-8E30B57B2F7F}"/>
              </a:ext>
            </a:extLst>
          </p:cNvPr>
          <p:cNvSpPr/>
          <p:nvPr/>
        </p:nvSpPr>
        <p:spPr>
          <a:xfrm>
            <a:off x="1439793" y="6249682"/>
            <a:ext cx="1618702" cy="214736"/>
          </a:xfrm>
          <a:prstGeom prst="round2SameRect">
            <a:avLst/>
          </a:prstGeom>
          <a:solidFill>
            <a:schemeClr val="accent4"/>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1138" b="1">
                <a:solidFill>
                  <a:prstClr val="white"/>
                </a:solidFill>
                <a:latin typeface="Arial" pitchFamily="34" charset="0"/>
                <a:cs typeface="Arial" pitchFamily="34" charset="0"/>
              </a:rPr>
              <a:t>Software Associate</a:t>
            </a:r>
          </a:p>
        </p:txBody>
      </p:sp>
      <p:sp>
        <p:nvSpPr>
          <p:cNvPr id="177" name="Round Same Side Corner Rectangle 166">
            <a:extLst>
              <a:ext uri="{FF2B5EF4-FFF2-40B4-BE49-F238E27FC236}">
                <a16:creationId xmlns:a16="http://schemas.microsoft.com/office/drawing/2014/main" id="{87D7AFAB-40DD-467C-9DF2-41FC5E256044}"/>
              </a:ext>
            </a:extLst>
          </p:cNvPr>
          <p:cNvSpPr/>
          <p:nvPr/>
        </p:nvSpPr>
        <p:spPr>
          <a:xfrm>
            <a:off x="3175511" y="1125904"/>
            <a:ext cx="371475" cy="371475"/>
          </a:xfrm>
          <a:prstGeom prst="round2SameRect">
            <a:avLst/>
          </a:prstGeom>
          <a:solidFill>
            <a:schemeClr val="accent2"/>
          </a:solidFill>
          <a:ln>
            <a:solidFill>
              <a:schemeClr val="accent5">
                <a:lumMod val="20000"/>
                <a:lumOff val="8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F2</a:t>
            </a:r>
          </a:p>
        </p:txBody>
      </p:sp>
      <p:sp>
        <p:nvSpPr>
          <p:cNvPr id="178" name="Round Same Side Corner Rectangle 167">
            <a:extLst>
              <a:ext uri="{FF2B5EF4-FFF2-40B4-BE49-F238E27FC236}">
                <a16:creationId xmlns:a16="http://schemas.microsoft.com/office/drawing/2014/main" id="{4374A71A-DFE8-4D4F-BA07-F5ED35709745}"/>
              </a:ext>
            </a:extLst>
          </p:cNvPr>
          <p:cNvSpPr/>
          <p:nvPr/>
        </p:nvSpPr>
        <p:spPr>
          <a:xfrm>
            <a:off x="3183056" y="1612031"/>
            <a:ext cx="371475" cy="328553"/>
          </a:xfrm>
          <a:prstGeom prst="round2SameRect">
            <a:avLst/>
          </a:prstGeom>
          <a:solidFill>
            <a:schemeClr val="accent2"/>
          </a:solidFill>
          <a:ln>
            <a:solidFill>
              <a:schemeClr val="accent5">
                <a:lumMod val="20000"/>
                <a:lumOff val="8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F1</a:t>
            </a:r>
          </a:p>
        </p:txBody>
      </p:sp>
      <p:sp>
        <p:nvSpPr>
          <p:cNvPr id="179" name="Round Same Side Corner Rectangle 168">
            <a:extLst>
              <a:ext uri="{FF2B5EF4-FFF2-40B4-BE49-F238E27FC236}">
                <a16:creationId xmlns:a16="http://schemas.microsoft.com/office/drawing/2014/main" id="{D4BFF7B7-8D7E-49A2-8D93-69788A1FD937}"/>
              </a:ext>
            </a:extLst>
          </p:cNvPr>
          <p:cNvSpPr/>
          <p:nvPr/>
        </p:nvSpPr>
        <p:spPr>
          <a:xfrm rot="21581821">
            <a:off x="3184033" y="2090390"/>
            <a:ext cx="371475" cy="370597"/>
          </a:xfrm>
          <a:prstGeom prst="round2SameRect">
            <a:avLst/>
          </a:prstGeom>
          <a:solidFill>
            <a:srgbClr val="CB2980"/>
          </a:solidFill>
          <a:ln>
            <a:solidFill>
              <a:schemeClr val="accent5">
                <a:lumMod val="40000"/>
                <a:lumOff val="6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E2</a:t>
            </a:r>
          </a:p>
        </p:txBody>
      </p:sp>
      <p:sp>
        <p:nvSpPr>
          <p:cNvPr id="180" name="Round Same Side Corner Rectangle 169">
            <a:extLst>
              <a:ext uri="{FF2B5EF4-FFF2-40B4-BE49-F238E27FC236}">
                <a16:creationId xmlns:a16="http://schemas.microsoft.com/office/drawing/2014/main" id="{76A22A43-9C19-432F-A8C0-7331D87B71C1}"/>
              </a:ext>
            </a:extLst>
          </p:cNvPr>
          <p:cNvSpPr/>
          <p:nvPr/>
        </p:nvSpPr>
        <p:spPr>
          <a:xfrm>
            <a:off x="3184630" y="2522990"/>
            <a:ext cx="371475" cy="373435"/>
          </a:xfrm>
          <a:prstGeom prst="round2SameRect">
            <a:avLst/>
          </a:prstGeom>
          <a:solidFill>
            <a:srgbClr val="CB2980"/>
          </a:solidFill>
          <a:ln>
            <a:solidFill>
              <a:schemeClr val="accent5">
                <a:lumMod val="40000"/>
                <a:lumOff val="6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E1</a:t>
            </a:r>
          </a:p>
        </p:txBody>
      </p:sp>
      <p:sp>
        <p:nvSpPr>
          <p:cNvPr id="181" name="Round Same Side Corner Rectangle 170">
            <a:extLst>
              <a:ext uri="{FF2B5EF4-FFF2-40B4-BE49-F238E27FC236}">
                <a16:creationId xmlns:a16="http://schemas.microsoft.com/office/drawing/2014/main" id="{096F9979-CB4D-43A9-8417-9374E6DCD9C7}"/>
              </a:ext>
            </a:extLst>
          </p:cNvPr>
          <p:cNvSpPr/>
          <p:nvPr/>
        </p:nvSpPr>
        <p:spPr>
          <a:xfrm>
            <a:off x="3193133" y="3042831"/>
            <a:ext cx="371475" cy="316224"/>
          </a:xfrm>
          <a:prstGeom prst="round2SameRect">
            <a:avLst/>
          </a:prstGeom>
          <a:solidFill>
            <a:srgbClr val="FF6327"/>
          </a:solidFill>
          <a:ln>
            <a:solidFill>
              <a:schemeClr val="accent5">
                <a:lumMod val="60000"/>
                <a:lumOff val="4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D2</a:t>
            </a:r>
          </a:p>
        </p:txBody>
      </p:sp>
      <p:sp>
        <p:nvSpPr>
          <p:cNvPr id="182" name="Round Same Side Corner Rectangle 171">
            <a:extLst>
              <a:ext uri="{FF2B5EF4-FFF2-40B4-BE49-F238E27FC236}">
                <a16:creationId xmlns:a16="http://schemas.microsoft.com/office/drawing/2014/main" id="{45A61D40-643C-4EEB-A1EC-2388EA794D83}"/>
              </a:ext>
            </a:extLst>
          </p:cNvPr>
          <p:cNvSpPr/>
          <p:nvPr/>
        </p:nvSpPr>
        <p:spPr>
          <a:xfrm>
            <a:off x="3193133" y="3460493"/>
            <a:ext cx="371475" cy="290847"/>
          </a:xfrm>
          <a:prstGeom prst="round2SameRect">
            <a:avLst/>
          </a:prstGeom>
          <a:solidFill>
            <a:srgbClr val="FF6327"/>
          </a:solidFill>
          <a:ln>
            <a:solidFill>
              <a:schemeClr val="accent5">
                <a:lumMod val="60000"/>
                <a:lumOff val="4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D1</a:t>
            </a:r>
          </a:p>
        </p:txBody>
      </p:sp>
      <p:sp>
        <p:nvSpPr>
          <p:cNvPr id="183" name="Round Same Side Corner Rectangle 172">
            <a:extLst>
              <a:ext uri="{FF2B5EF4-FFF2-40B4-BE49-F238E27FC236}">
                <a16:creationId xmlns:a16="http://schemas.microsoft.com/office/drawing/2014/main" id="{DD8CB616-02CD-461E-A29E-A9E3C294484C}"/>
              </a:ext>
            </a:extLst>
          </p:cNvPr>
          <p:cNvSpPr/>
          <p:nvPr/>
        </p:nvSpPr>
        <p:spPr>
          <a:xfrm>
            <a:off x="3193133" y="3845596"/>
            <a:ext cx="371475" cy="348793"/>
          </a:xfrm>
          <a:prstGeom prst="round2SameRect">
            <a:avLst/>
          </a:prstGeom>
          <a:solidFill>
            <a:schemeClr val="accent5"/>
          </a:solidFill>
          <a:ln>
            <a:solidFill>
              <a:schemeClr val="accent5"/>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srgbClr val="000000"/>
                </a:solidFill>
                <a:latin typeface="Arial" pitchFamily="34" charset="0"/>
                <a:cs typeface="Arial" pitchFamily="34" charset="0"/>
              </a:rPr>
              <a:t>C2</a:t>
            </a:r>
          </a:p>
        </p:txBody>
      </p:sp>
      <p:sp>
        <p:nvSpPr>
          <p:cNvPr id="184" name="Round Same Side Corner Rectangle 173">
            <a:extLst>
              <a:ext uri="{FF2B5EF4-FFF2-40B4-BE49-F238E27FC236}">
                <a16:creationId xmlns:a16="http://schemas.microsoft.com/office/drawing/2014/main" id="{B6484911-2082-4056-957E-CAC9B23E0036}"/>
              </a:ext>
            </a:extLst>
          </p:cNvPr>
          <p:cNvSpPr/>
          <p:nvPr/>
        </p:nvSpPr>
        <p:spPr>
          <a:xfrm rot="38214">
            <a:off x="3191440" y="4288480"/>
            <a:ext cx="371475" cy="306677"/>
          </a:xfrm>
          <a:prstGeom prst="round2SameRect">
            <a:avLst/>
          </a:prstGeom>
          <a:solidFill>
            <a:schemeClr val="accent5"/>
          </a:solidFill>
          <a:ln>
            <a:solidFill>
              <a:schemeClr val="accent5"/>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srgbClr val="000000"/>
                </a:solidFill>
                <a:latin typeface="Arial" pitchFamily="34" charset="0"/>
                <a:cs typeface="Arial" pitchFamily="34" charset="0"/>
              </a:rPr>
              <a:t>C1</a:t>
            </a:r>
          </a:p>
        </p:txBody>
      </p:sp>
      <p:sp>
        <p:nvSpPr>
          <p:cNvPr id="185" name="Round Same Side Corner Rectangle 174">
            <a:extLst>
              <a:ext uri="{FF2B5EF4-FFF2-40B4-BE49-F238E27FC236}">
                <a16:creationId xmlns:a16="http://schemas.microsoft.com/office/drawing/2014/main" id="{7C27E87E-46FE-43C1-B6FE-CAA6F04B1A77}"/>
              </a:ext>
            </a:extLst>
          </p:cNvPr>
          <p:cNvSpPr/>
          <p:nvPr/>
        </p:nvSpPr>
        <p:spPr>
          <a:xfrm rot="34693">
            <a:off x="3201993" y="4695755"/>
            <a:ext cx="371475" cy="371475"/>
          </a:xfrm>
          <a:prstGeom prst="round2SameRect">
            <a:avLst/>
          </a:prstGeom>
          <a:solidFill>
            <a:schemeClr val="accent1"/>
          </a:solidFill>
          <a:ln>
            <a:solidFill>
              <a:schemeClr val="accent5">
                <a:lumMod val="75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B2</a:t>
            </a:r>
          </a:p>
        </p:txBody>
      </p:sp>
      <p:sp>
        <p:nvSpPr>
          <p:cNvPr id="186" name="Round Same Side Corner Rectangle 175">
            <a:extLst>
              <a:ext uri="{FF2B5EF4-FFF2-40B4-BE49-F238E27FC236}">
                <a16:creationId xmlns:a16="http://schemas.microsoft.com/office/drawing/2014/main" id="{FD57D5A6-53A7-48F4-B0BF-6DDCD1A41814}"/>
              </a:ext>
            </a:extLst>
          </p:cNvPr>
          <p:cNvSpPr/>
          <p:nvPr/>
        </p:nvSpPr>
        <p:spPr>
          <a:xfrm>
            <a:off x="3203858" y="5126238"/>
            <a:ext cx="371475" cy="371475"/>
          </a:xfrm>
          <a:prstGeom prst="round2SameRect">
            <a:avLst/>
          </a:prstGeom>
          <a:solidFill>
            <a:schemeClr val="accent1"/>
          </a:solidFill>
          <a:ln>
            <a:solidFill>
              <a:schemeClr val="accent5">
                <a:lumMod val="75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B1</a:t>
            </a:r>
          </a:p>
        </p:txBody>
      </p:sp>
      <p:sp>
        <p:nvSpPr>
          <p:cNvPr id="187" name="Round Same Side Corner Rectangle 176">
            <a:extLst>
              <a:ext uri="{FF2B5EF4-FFF2-40B4-BE49-F238E27FC236}">
                <a16:creationId xmlns:a16="http://schemas.microsoft.com/office/drawing/2014/main" id="{5DE9311B-C516-4F4C-80EE-1C6B64207C67}"/>
              </a:ext>
            </a:extLst>
          </p:cNvPr>
          <p:cNvSpPr/>
          <p:nvPr/>
        </p:nvSpPr>
        <p:spPr>
          <a:xfrm>
            <a:off x="3193253" y="5580776"/>
            <a:ext cx="371475" cy="288325"/>
          </a:xfrm>
          <a:prstGeom prst="round2SameRect">
            <a:avLst/>
          </a:prstGeom>
          <a:solidFill>
            <a:schemeClr val="accent4"/>
          </a:solidFill>
          <a:ln>
            <a:solidFill>
              <a:schemeClr val="accent5">
                <a:lumMod val="50000"/>
              </a:schemeClr>
            </a:solidFill>
          </a:ln>
          <a:scene3d>
            <a:camera prst="orthographicFront">
              <a:rot lat="0" lon="0" rev="0"/>
            </a:camera>
            <a:lightRig rig="threePt" dir="t"/>
          </a:scene3d>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A5</a:t>
            </a:r>
          </a:p>
        </p:txBody>
      </p:sp>
      <p:sp>
        <p:nvSpPr>
          <p:cNvPr id="188" name="Round Same Side Corner Rectangle 177">
            <a:extLst>
              <a:ext uri="{FF2B5EF4-FFF2-40B4-BE49-F238E27FC236}">
                <a16:creationId xmlns:a16="http://schemas.microsoft.com/office/drawing/2014/main" id="{844ABD6D-4D2E-463F-AD97-ECCEE8536B83}"/>
              </a:ext>
            </a:extLst>
          </p:cNvPr>
          <p:cNvSpPr/>
          <p:nvPr/>
        </p:nvSpPr>
        <p:spPr>
          <a:xfrm>
            <a:off x="3193253" y="5945518"/>
            <a:ext cx="371475" cy="216824"/>
          </a:xfrm>
          <a:prstGeom prst="round2SameRect">
            <a:avLst/>
          </a:prstGeom>
          <a:solidFill>
            <a:schemeClr val="accent4"/>
          </a:solidFill>
          <a:ln>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A4</a:t>
            </a:r>
          </a:p>
        </p:txBody>
      </p:sp>
      <p:sp>
        <p:nvSpPr>
          <p:cNvPr id="189" name="Round Same Side Corner Rectangle 178">
            <a:extLst>
              <a:ext uri="{FF2B5EF4-FFF2-40B4-BE49-F238E27FC236}">
                <a16:creationId xmlns:a16="http://schemas.microsoft.com/office/drawing/2014/main" id="{0C26C3FB-F991-4834-BC9F-6ADE1E456F95}"/>
              </a:ext>
            </a:extLst>
          </p:cNvPr>
          <p:cNvSpPr/>
          <p:nvPr/>
        </p:nvSpPr>
        <p:spPr>
          <a:xfrm>
            <a:off x="3193253" y="6249122"/>
            <a:ext cx="371475" cy="215296"/>
          </a:xfrm>
          <a:prstGeom prst="round2SameRect">
            <a:avLst/>
          </a:prstGeom>
          <a:solidFill>
            <a:schemeClr val="accent4"/>
          </a:solidFill>
          <a:ln>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US" sz="1138" b="1">
                <a:solidFill>
                  <a:prstClr val="white"/>
                </a:solidFill>
                <a:latin typeface="Arial" pitchFamily="34" charset="0"/>
                <a:cs typeface="Arial" pitchFamily="34" charset="0"/>
              </a:rPr>
              <a:t>A3</a:t>
            </a:r>
          </a:p>
        </p:txBody>
      </p:sp>
      <p:grpSp>
        <p:nvGrpSpPr>
          <p:cNvPr id="190" name="Group 189">
            <a:extLst>
              <a:ext uri="{FF2B5EF4-FFF2-40B4-BE49-F238E27FC236}">
                <a16:creationId xmlns:a16="http://schemas.microsoft.com/office/drawing/2014/main" id="{0FC663BF-82EF-4244-B276-134EE3761FF4}"/>
              </a:ext>
            </a:extLst>
          </p:cNvPr>
          <p:cNvGrpSpPr/>
          <p:nvPr/>
        </p:nvGrpSpPr>
        <p:grpSpPr>
          <a:xfrm>
            <a:off x="3672930" y="1206681"/>
            <a:ext cx="1886138" cy="5261717"/>
            <a:chOff x="6951839" y="-190732"/>
            <a:chExt cx="2321401" cy="6475959"/>
          </a:xfrm>
          <a:solidFill>
            <a:schemeClr val="accent1"/>
          </a:solidFill>
        </p:grpSpPr>
        <p:sp>
          <p:nvSpPr>
            <p:cNvPr id="191" name="Freeform 15">
              <a:extLst>
                <a:ext uri="{FF2B5EF4-FFF2-40B4-BE49-F238E27FC236}">
                  <a16:creationId xmlns:a16="http://schemas.microsoft.com/office/drawing/2014/main" id="{18699D45-C312-4DA0-B1B6-8A3BEE51887E}"/>
                </a:ext>
              </a:extLst>
            </p:cNvPr>
            <p:cNvSpPr/>
            <p:nvPr/>
          </p:nvSpPr>
          <p:spPr>
            <a:xfrm>
              <a:off x="6951839" y="-190732"/>
              <a:ext cx="2257017" cy="763879"/>
            </a:xfrm>
            <a:prstGeom prst="roundRect">
              <a:avLst/>
            </a:prstGeom>
            <a:grpFill/>
          </p:spPr>
          <p:style>
            <a:lnRef idx="0">
              <a:schemeClr val="lt1">
                <a:hueOff val="0"/>
                <a:satOff val="0"/>
                <a:lumOff val="0"/>
                <a:alphaOff val="0"/>
              </a:schemeClr>
            </a:lnRef>
            <a:fillRef idx="1">
              <a:schemeClr val="accent5">
                <a:alpha val="90000"/>
                <a:hueOff val="0"/>
                <a:satOff val="0"/>
                <a:lumOff val="0"/>
                <a:alphaOff val="0"/>
              </a:schemeClr>
            </a:fillRef>
            <a:effectRef idx="0">
              <a:schemeClr val="accent5">
                <a:alpha val="90000"/>
                <a:hueOff val="0"/>
                <a:satOff val="0"/>
                <a:lumOff val="0"/>
                <a:alphaOff val="0"/>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Business Unit/Practice Leader/Function Leader</a:t>
              </a:r>
              <a:endParaRPr lang="en-US" sz="1138">
                <a:solidFill>
                  <a:prstClr val="white"/>
                </a:solidFill>
                <a:latin typeface="Verdana"/>
              </a:endParaRPr>
            </a:p>
          </p:txBody>
        </p:sp>
        <p:sp>
          <p:nvSpPr>
            <p:cNvPr id="192" name="Freeform 16">
              <a:extLst>
                <a:ext uri="{FF2B5EF4-FFF2-40B4-BE49-F238E27FC236}">
                  <a16:creationId xmlns:a16="http://schemas.microsoft.com/office/drawing/2014/main" id="{9F7D012F-DA3D-48A1-A6AF-EBE7D14AA0D0}"/>
                </a:ext>
              </a:extLst>
            </p:cNvPr>
            <p:cNvSpPr/>
            <p:nvPr/>
          </p:nvSpPr>
          <p:spPr>
            <a:xfrm>
              <a:off x="7002995" y="869673"/>
              <a:ext cx="2257017" cy="629470"/>
            </a:xfrm>
            <a:prstGeom prst="roundRect">
              <a:avLst/>
            </a:prstGeom>
            <a:grpFill/>
          </p:spPr>
          <p:style>
            <a:lnRef idx="0">
              <a:schemeClr val="lt1">
                <a:hueOff val="0"/>
                <a:satOff val="0"/>
                <a:lumOff val="0"/>
                <a:alphaOff val="0"/>
              </a:schemeClr>
            </a:lnRef>
            <a:fillRef idx="1">
              <a:schemeClr val="accent5">
                <a:alpha val="90000"/>
                <a:hueOff val="0"/>
                <a:satOff val="0"/>
                <a:lumOff val="0"/>
                <a:alphaOff val="-6667"/>
              </a:schemeClr>
            </a:fillRef>
            <a:effectRef idx="0">
              <a:schemeClr val="accent5">
                <a:alpha val="90000"/>
                <a:hueOff val="0"/>
                <a:satOff val="0"/>
                <a:lumOff val="0"/>
                <a:alphaOff val="-6667"/>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Client Partner/Account Exec</a:t>
              </a:r>
              <a:endParaRPr lang="en-US" sz="1138">
                <a:solidFill>
                  <a:prstClr val="white"/>
                </a:solidFill>
                <a:latin typeface="Verdana"/>
              </a:endParaRPr>
            </a:p>
          </p:txBody>
        </p:sp>
        <p:sp>
          <p:nvSpPr>
            <p:cNvPr id="193" name="Freeform 17">
              <a:extLst>
                <a:ext uri="{FF2B5EF4-FFF2-40B4-BE49-F238E27FC236}">
                  <a16:creationId xmlns:a16="http://schemas.microsoft.com/office/drawing/2014/main" id="{3DE37D1C-1206-4DE5-AD18-0AD9BFE5539D}"/>
                </a:ext>
              </a:extLst>
            </p:cNvPr>
            <p:cNvSpPr/>
            <p:nvPr/>
          </p:nvSpPr>
          <p:spPr>
            <a:xfrm>
              <a:off x="6997975" y="1758279"/>
              <a:ext cx="2257017" cy="499514"/>
            </a:xfrm>
            <a:prstGeom prst="roundRect">
              <a:avLst/>
            </a:prstGeom>
            <a:grpFill/>
          </p:spPr>
          <p:style>
            <a:lnRef idx="0">
              <a:schemeClr val="lt1">
                <a:hueOff val="0"/>
                <a:satOff val="0"/>
                <a:lumOff val="0"/>
                <a:alphaOff val="0"/>
              </a:schemeClr>
            </a:lnRef>
            <a:fillRef idx="1">
              <a:schemeClr val="accent5">
                <a:alpha val="90000"/>
                <a:hueOff val="0"/>
                <a:satOff val="0"/>
                <a:lumOff val="0"/>
                <a:alphaOff val="-13333"/>
              </a:schemeClr>
            </a:fillRef>
            <a:effectRef idx="0">
              <a:schemeClr val="accent5">
                <a:alpha val="90000"/>
                <a:hueOff val="0"/>
                <a:satOff val="0"/>
                <a:lumOff val="0"/>
                <a:alphaOff val="-13333"/>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Account Manager</a:t>
              </a:r>
              <a:endParaRPr lang="en-US" sz="1138">
                <a:solidFill>
                  <a:prstClr val="white"/>
                </a:solidFill>
                <a:latin typeface="Verdana"/>
              </a:endParaRPr>
            </a:p>
          </p:txBody>
        </p:sp>
        <p:sp>
          <p:nvSpPr>
            <p:cNvPr id="194" name="Freeform 18">
              <a:extLst>
                <a:ext uri="{FF2B5EF4-FFF2-40B4-BE49-F238E27FC236}">
                  <a16:creationId xmlns:a16="http://schemas.microsoft.com/office/drawing/2014/main" id="{43B07213-ECCE-4BB5-B1AD-90006069C2E3}"/>
                </a:ext>
              </a:extLst>
            </p:cNvPr>
            <p:cNvSpPr/>
            <p:nvPr/>
          </p:nvSpPr>
          <p:spPr>
            <a:xfrm>
              <a:off x="6997975" y="2525270"/>
              <a:ext cx="2257017" cy="548697"/>
            </a:xfrm>
            <a:prstGeom prst="roundRect">
              <a:avLst/>
            </a:prstGeom>
            <a:grpFill/>
          </p:spPr>
          <p:style>
            <a:lnRef idx="0">
              <a:schemeClr val="lt1">
                <a:hueOff val="0"/>
                <a:satOff val="0"/>
                <a:lumOff val="0"/>
                <a:alphaOff val="0"/>
              </a:schemeClr>
            </a:lnRef>
            <a:fillRef idx="1">
              <a:schemeClr val="accent5">
                <a:alpha val="90000"/>
                <a:hueOff val="0"/>
                <a:satOff val="0"/>
                <a:lumOff val="0"/>
                <a:alphaOff val="-20000"/>
              </a:schemeClr>
            </a:fillRef>
            <a:effectRef idx="0">
              <a:schemeClr val="accent5">
                <a:alpha val="90000"/>
                <a:hueOff val="0"/>
                <a:satOff val="0"/>
                <a:lumOff val="0"/>
                <a:alphaOff val="-20000"/>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Engagement Manager</a:t>
              </a:r>
              <a:endParaRPr lang="en-US" sz="1138">
                <a:solidFill>
                  <a:prstClr val="white"/>
                </a:solidFill>
                <a:latin typeface="Verdana"/>
              </a:endParaRPr>
            </a:p>
          </p:txBody>
        </p:sp>
        <p:sp>
          <p:nvSpPr>
            <p:cNvPr id="195" name="Freeform 19">
              <a:extLst>
                <a:ext uri="{FF2B5EF4-FFF2-40B4-BE49-F238E27FC236}">
                  <a16:creationId xmlns:a16="http://schemas.microsoft.com/office/drawing/2014/main" id="{D3880FA9-DEDC-43E9-A2D1-6B076A1BDEAE}"/>
                </a:ext>
              </a:extLst>
            </p:cNvPr>
            <p:cNvSpPr/>
            <p:nvPr/>
          </p:nvSpPr>
          <p:spPr>
            <a:xfrm>
              <a:off x="6991002" y="3137438"/>
              <a:ext cx="2257017" cy="461280"/>
            </a:xfrm>
            <a:prstGeom prst="roundRect">
              <a:avLst/>
            </a:prstGeom>
            <a:grpFill/>
          </p:spPr>
          <p:style>
            <a:lnRef idx="0">
              <a:schemeClr val="lt1">
                <a:hueOff val="0"/>
                <a:satOff val="0"/>
                <a:lumOff val="0"/>
                <a:alphaOff val="0"/>
              </a:schemeClr>
            </a:lnRef>
            <a:fillRef idx="1">
              <a:schemeClr val="accent5">
                <a:alpha val="90000"/>
                <a:hueOff val="0"/>
                <a:satOff val="0"/>
                <a:lumOff val="0"/>
                <a:alphaOff val="-26667"/>
              </a:schemeClr>
            </a:fillRef>
            <a:effectRef idx="0">
              <a:schemeClr val="accent5">
                <a:alpha val="90000"/>
                <a:hueOff val="0"/>
                <a:satOff val="0"/>
                <a:lumOff val="0"/>
                <a:alphaOff val="-26667"/>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Project Manager</a:t>
              </a:r>
              <a:endParaRPr lang="en-US" sz="1138">
                <a:solidFill>
                  <a:prstClr val="white"/>
                </a:solidFill>
                <a:latin typeface="Verdana"/>
              </a:endParaRPr>
            </a:p>
          </p:txBody>
        </p:sp>
        <p:sp>
          <p:nvSpPr>
            <p:cNvPr id="196" name="Freeform 20">
              <a:extLst>
                <a:ext uri="{FF2B5EF4-FFF2-40B4-BE49-F238E27FC236}">
                  <a16:creationId xmlns:a16="http://schemas.microsoft.com/office/drawing/2014/main" id="{1E0A3C84-FE9B-45F9-BE8B-94BC6B930161}"/>
                </a:ext>
              </a:extLst>
            </p:cNvPr>
            <p:cNvSpPr/>
            <p:nvPr/>
          </p:nvSpPr>
          <p:spPr>
            <a:xfrm>
              <a:off x="6979301" y="3648263"/>
              <a:ext cx="2257017" cy="427303"/>
            </a:xfrm>
            <a:prstGeom prst="roundRect">
              <a:avLst/>
            </a:prstGeom>
            <a:grpFill/>
          </p:spPr>
          <p:style>
            <a:lnRef idx="0">
              <a:schemeClr val="lt1">
                <a:hueOff val="0"/>
                <a:satOff val="0"/>
                <a:lumOff val="0"/>
                <a:alphaOff val="0"/>
              </a:schemeClr>
            </a:lnRef>
            <a:fillRef idx="1">
              <a:schemeClr val="accent5">
                <a:alpha val="90000"/>
                <a:hueOff val="0"/>
                <a:satOff val="0"/>
                <a:lumOff val="0"/>
                <a:alphaOff val="-33333"/>
              </a:schemeClr>
            </a:fillRef>
            <a:effectRef idx="0">
              <a:schemeClr val="accent5">
                <a:alpha val="90000"/>
                <a:hueOff val="0"/>
                <a:satOff val="0"/>
                <a:lumOff val="0"/>
                <a:alphaOff val="-33333"/>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Team Leader</a:t>
              </a:r>
              <a:endParaRPr lang="en-US" sz="1138">
                <a:solidFill>
                  <a:prstClr val="white"/>
                </a:solidFill>
                <a:latin typeface="Verdana"/>
              </a:endParaRPr>
            </a:p>
          </p:txBody>
        </p:sp>
        <p:sp>
          <p:nvSpPr>
            <p:cNvPr id="197" name="Freeform 21">
              <a:extLst>
                <a:ext uri="{FF2B5EF4-FFF2-40B4-BE49-F238E27FC236}">
                  <a16:creationId xmlns:a16="http://schemas.microsoft.com/office/drawing/2014/main" id="{4B870E57-3DC3-418D-B7AE-FE0501EA4D4B}"/>
                </a:ext>
              </a:extLst>
            </p:cNvPr>
            <p:cNvSpPr/>
            <p:nvPr/>
          </p:nvSpPr>
          <p:spPr>
            <a:xfrm>
              <a:off x="7016223" y="4169141"/>
              <a:ext cx="2257017" cy="2116086"/>
            </a:xfrm>
            <a:prstGeom prst="roundRect">
              <a:avLst/>
            </a:prstGeom>
            <a:grpFill/>
          </p:spPr>
          <p:style>
            <a:lnRef idx="0">
              <a:schemeClr val="lt1">
                <a:hueOff val="0"/>
                <a:satOff val="0"/>
                <a:lumOff val="0"/>
                <a:alphaOff val="0"/>
              </a:schemeClr>
            </a:lnRef>
            <a:fillRef idx="1">
              <a:schemeClr val="accent5">
                <a:alpha val="90000"/>
                <a:hueOff val="0"/>
                <a:satOff val="0"/>
                <a:lumOff val="0"/>
                <a:alphaOff val="-40000"/>
              </a:schemeClr>
            </a:fillRef>
            <a:effectRef idx="0">
              <a:schemeClr val="accent5">
                <a:alpha val="90000"/>
                <a:hueOff val="0"/>
                <a:satOff val="0"/>
                <a:lumOff val="0"/>
                <a:alphaOff val="-40000"/>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1138" b="1">
                  <a:solidFill>
                    <a:prstClr val="white"/>
                  </a:solidFill>
                  <a:latin typeface="Verdana"/>
                </a:rPr>
                <a:t>Team Member</a:t>
              </a:r>
              <a:endParaRPr lang="en-US" sz="1138">
                <a:solidFill>
                  <a:prstClr val="white"/>
                </a:solidFill>
                <a:latin typeface="Verdana"/>
              </a:endParaRPr>
            </a:p>
          </p:txBody>
        </p:sp>
      </p:grpSp>
      <p:sp>
        <p:nvSpPr>
          <p:cNvPr id="198" name="Freeform 205">
            <a:extLst>
              <a:ext uri="{FF2B5EF4-FFF2-40B4-BE49-F238E27FC236}">
                <a16:creationId xmlns:a16="http://schemas.microsoft.com/office/drawing/2014/main" id="{BCA24130-F5D7-4DF0-96B0-A872D2912B17}"/>
              </a:ext>
            </a:extLst>
          </p:cNvPr>
          <p:cNvSpPr/>
          <p:nvPr/>
        </p:nvSpPr>
        <p:spPr>
          <a:xfrm>
            <a:off x="8558259" y="6160254"/>
            <a:ext cx="806564" cy="408342"/>
          </a:xfrm>
          <a:prstGeom prst="roundRect">
            <a:avLst/>
          </a:prstGeom>
          <a:solidFill>
            <a:schemeClr val="accent1">
              <a:alpha val="90000"/>
            </a:schemeClr>
          </a:solidFill>
        </p:spPr>
        <p:style>
          <a:lnRef idx="0">
            <a:schemeClr val="lt1">
              <a:hueOff val="0"/>
              <a:satOff val="0"/>
              <a:lumOff val="0"/>
              <a:alphaOff val="0"/>
            </a:schemeClr>
          </a:lnRef>
          <a:fillRef idx="1">
            <a:schemeClr val="accent5">
              <a:alpha val="90000"/>
              <a:hueOff val="0"/>
              <a:satOff val="0"/>
              <a:lumOff val="0"/>
              <a:alphaOff val="0"/>
            </a:schemeClr>
          </a:fillRef>
          <a:effectRef idx="0">
            <a:schemeClr val="accent5">
              <a:alpha val="90000"/>
              <a:hueOff val="0"/>
              <a:satOff val="0"/>
              <a:lumOff val="0"/>
              <a:alphaOff val="0"/>
            </a:schemeClr>
          </a:effectRef>
          <a:fontRef idx="minor">
            <a:schemeClr val="lt1"/>
          </a:fontRef>
        </p:style>
        <p:txBody>
          <a:bodyPr spcFirstLastPara="0" vert="horz" wrap="square" lIns="43339" tIns="43339" rIns="43339" bIns="43339" numCol="1" spcCol="1270" anchor="ctr" anchorCtr="0">
            <a:noAutofit/>
          </a:bodyPr>
          <a:lstStyle/>
          <a:p>
            <a:pPr algn="ctr" defTabSz="505619">
              <a:lnSpc>
                <a:spcPct val="90000"/>
              </a:lnSpc>
              <a:spcBef>
                <a:spcPct val="0"/>
              </a:spcBef>
              <a:spcAft>
                <a:spcPct val="35000"/>
              </a:spcAft>
            </a:pPr>
            <a:r>
              <a:rPr lang="en-US" sz="975" b="1">
                <a:solidFill>
                  <a:prstClr val="white"/>
                </a:solidFill>
                <a:latin typeface="Arial" pitchFamily="34" charset="0"/>
                <a:cs typeface="Arial" pitchFamily="34" charset="0"/>
              </a:rPr>
              <a:t>Indicative</a:t>
            </a:r>
          </a:p>
          <a:p>
            <a:pPr algn="ctr" defTabSz="505619">
              <a:lnSpc>
                <a:spcPct val="90000"/>
              </a:lnSpc>
              <a:spcBef>
                <a:spcPct val="0"/>
              </a:spcBef>
              <a:spcAft>
                <a:spcPct val="35000"/>
              </a:spcAft>
            </a:pPr>
            <a:r>
              <a:rPr lang="en-US" sz="975" b="1">
                <a:solidFill>
                  <a:prstClr val="white"/>
                </a:solidFill>
                <a:latin typeface="Arial" pitchFamily="34" charset="0"/>
                <a:cs typeface="Arial" pitchFamily="34" charset="0"/>
              </a:rPr>
              <a:t>Roles</a:t>
            </a:r>
            <a:endParaRPr lang="en-US" sz="975">
              <a:solidFill>
                <a:prstClr val="white"/>
              </a:solidFill>
              <a:latin typeface="Arial" pitchFamily="34" charset="0"/>
              <a:cs typeface="Arial" pitchFamily="34" charset="0"/>
            </a:endParaRPr>
          </a:p>
        </p:txBody>
      </p:sp>
      <p:sp>
        <p:nvSpPr>
          <p:cNvPr id="199" name="Oval 20">
            <a:extLst>
              <a:ext uri="{FF2B5EF4-FFF2-40B4-BE49-F238E27FC236}">
                <a16:creationId xmlns:a16="http://schemas.microsoft.com/office/drawing/2014/main" id="{C82E9DBF-D58C-41D6-8998-2358631CDD91}"/>
              </a:ext>
            </a:extLst>
          </p:cNvPr>
          <p:cNvSpPr/>
          <p:nvPr/>
        </p:nvSpPr>
        <p:spPr>
          <a:xfrm>
            <a:off x="6975359" y="6160254"/>
            <a:ext cx="588261" cy="4049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lang="pt-PT" sz="894" b="1">
                <a:solidFill>
                  <a:srgbClr val="000000"/>
                </a:solidFill>
                <a:latin typeface="Verdana"/>
              </a:rPr>
              <a:t>Global Grade</a:t>
            </a:r>
          </a:p>
        </p:txBody>
      </p:sp>
      <p:sp>
        <p:nvSpPr>
          <p:cNvPr id="202" name="Freeform 165">
            <a:extLst>
              <a:ext uri="{FF2B5EF4-FFF2-40B4-BE49-F238E27FC236}">
                <a16:creationId xmlns:a16="http://schemas.microsoft.com/office/drawing/2014/main" id="{AEBF5B8E-F830-4E55-A46C-7AC36BAC7663}"/>
              </a:ext>
            </a:extLst>
          </p:cNvPr>
          <p:cNvSpPr/>
          <p:nvPr/>
        </p:nvSpPr>
        <p:spPr>
          <a:xfrm>
            <a:off x="7669706" y="6218089"/>
            <a:ext cx="806564" cy="277362"/>
          </a:xfrm>
          <a:prstGeom prst="round2SameRect">
            <a:avLst/>
          </a:prstGeom>
          <a:solidFill>
            <a:schemeClr val="accent4"/>
          </a:solidFill>
          <a:ln>
            <a:solidFill>
              <a:schemeClr val="tx1"/>
            </a:solidFill>
            <a:prstDash val="sysDot"/>
          </a:ln>
          <a:scene3d>
            <a:camera prst="orthographicFront">
              <a:rot lat="0" lon="0" rev="0"/>
            </a:camera>
            <a:lightRig rig="threePt" dir="t"/>
          </a:scene3d>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6" tIns="30956" rIns="30956" bIns="30956" numCol="1" spcCol="1270" anchor="ctr" anchorCtr="0">
            <a:noAutofit/>
          </a:bodyPr>
          <a:lstStyle/>
          <a:p>
            <a:pPr algn="ctr" defTabSz="361156">
              <a:lnSpc>
                <a:spcPct val="90000"/>
              </a:lnSpc>
              <a:spcBef>
                <a:spcPct val="0"/>
              </a:spcBef>
              <a:spcAft>
                <a:spcPct val="35000"/>
              </a:spcAft>
            </a:pPr>
            <a:r>
              <a:rPr lang="en-US" sz="975" b="1">
                <a:solidFill>
                  <a:prstClr val="white"/>
                </a:solidFill>
                <a:latin typeface="Arial" pitchFamily="34" charset="0"/>
                <a:cs typeface="Arial" pitchFamily="34" charset="0"/>
              </a:rPr>
              <a:t>Designation</a:t>
            </a:r>
          </a:p>
        </p:txBody>
      </p:sp>
      <p:sp>
        <p:nvSpPr>
          <p:cNvPr id="3" name="Rectangle 2">
            <a:extLst>
              <a:ext uri="{FF2B5EF4-FFF2-40B4-BE49-F238E27FC236}">
                <a16:creationId xmlns:a16="http://schemas.microsoft.com/office/drawing/2014/main" id="{D3146F95-84BB-41A2-B823-C54D70209F16}"/>
              </a:ext>
            </a:extLst>
          </p:cNvPr>
          <p:cNvSpPr/>
          <p:nvPr/>
        </p:nvSpPr>
        <p:spPr>
          <a:xfrm>
            <a:off x="6273561" y="69762"/>
            <a:ext cx="3790447" cy="3262432"/>
          </a:xfrm>
          <a:prstGeom prst="rect">
            <a:avLst/>
          </a:prstGeom>
        </p:spPr>
        <p:txBody>
          <a:bodyPr wrap="square">
            <a:spAutoFit/>
          </a:bodyPr>
          <a:lstStyle/>
          <a:p>
            <a:r>
              <a:rPr lang="en-US" b="1"/>
              <a:t>Challenge yourself. </a:t>
            </a:r>
          </a:p>
          <a:p>
            <a:r>
              <a:rPr lang="en-US" sz="2400" b="1">
                <a:solidFill>
                  <a:schemeClr val="bg1"/>
                </a:solidFill>
                <a:latin typeface="Arial" pitchFamily="34" charset="0"/>
                <a:cs typeface="Arial" pitchFamily="34" charset="0"/>
              </a:rPr>
              <a:t>Grow at Capgemini.</a:t>
            </a:r>
          </a:p>
          <a:p>
            <a:r>
              <a:rPr lang="en-US" sz="2400" b="1">
                <a:latin typeface="Arial" pitchFamily="34" charset="0"/>
                <a:cs typeface="Arial" pitchFamily="34" charset="0"/>
              </a:rPr>
              <a:t>Build a career </a:t>
            </a:r>
            <a:endParaRPr lang="en-US" sz="2400">
              <a:latin typeface="Arial" pitchFamily="34" charset="0"/>
              <a:cs typeface="Arial" pitchFamily="34" charset="0"/>
            </a:endParaRPr>
          </a:p>
          <a:p>
            <a:r>
              <a:rPr lang="en-US" sz="2000">
                <a:latin typeface="Arial" pitchFamily="34" charset="0"/>
                <a:cs typeface="Arial" pitchFamily="34" charset="0"/>
              </a:rPr>
              <a:t>As we adapt to take the opportunities disruption offers us, you have a big opportunity too – to embrace a career, not just a job. </a:t>
            </a:r>
          </a:p>
          <a:p>
            <a:endParaRPr lang="en-US" sz="2000">
              <a:solidFill>
                <a:schemeClr val="bg1"/>
              </a:solidFill>
              <a:latin typeface="Arial" pitchFamily="34" charset="0"/>
              <a:cs typeface="Arial" pitchFamily="34" charset="0"/>
            </a:endParaRPr>
          </a:p>
          <a:p>
            <a:endParaRPr lang="en-US"/>
          </a:p>
        </p:txBody>
      </p:sp>
    </p:spTree>
    <p:extLst>
      <p:ext uri="{BB962C8B-B14F-4D97-AF65-F5344CB8AC3E}">
        <p14:creationId xmlns:p14="http://schemas.microsoft.com/office/powerpoint/2010/main" val="115953816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wipe(down)">
                                      <p:cBhvr>
                                        <p:cTn id="7" dur="500"/>
                                        <p:tgtEl>
                                          <p:spTgt spid="190"/>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98"/>
                                        </p:tgtEl>
                                        <p:attrNameLst>
                                          <p:attrName>style.visibility</p:attrName>
                                        </p:attrNameLst>
                                      </p:cBhvr>
                                      <p:to>
                                        <p:strVal val="visible"/>
                                      </p:to>
                                    </p:set>
                                    <p:animEffect transition="in" filter="wipe(down)">
                                      <p:cBhvr>
                                        <p:cTn id="11" dur="500"/>
                                        <p:tgtEl>
                                          <p:spTgt spid="1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ECS-Saleforce_Template-VI.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17415" y="932316"/>
            <a:ext cx="6111219" cy="5407059"/>
          </a:xfrm>
          <a:prstGeom prst="rect">
            <a:avLst/>
          </a:prstGeom>
          <a:effectLst>
            <a:softEdge rad="635000"/>
          </a:effectLst>
        </p:spPr>
      </p:pic>
      <p:sp>
        <p:nvSpPr>
          <p:cNvPr id="65" name="TextBox 26"/>
          <p:cNvSpPr>
            <a:spLocks noChangeArrowheads="1"/>
          </p:cNvSpPr>
          <p:nvPr/>
        </p:nvSpPr>
        <p:spPr bwMode="auto">
          <a:xfrm>
            <a:off x="992450" y="1026028"/>
            <a:ext cx="6928466" cy="338554"/>
          </a:xfrm>
          <a:prstGeom prst="rect">
            <a:avLst/>
          </a:prstGeom>
          <a:noFill/>
          <a:ln w="9525">
            <a:noFill/>
            <a:miter lim="800000"/>
            <a:headEnd/>
            <a:tailEnd/>
          </a:ln>
        </p:spPr>
        <p:txBody>
          <a:bodyPr wrap="square">
            <a:spAutoFit/>
          </a:bodyPr>
          <a:lstStyle/>
          <a:p>
            <a:pPr eaLnBrk="1" hangingPunct="1"/>
            <a:r>
              <a:rPr lang="en-US" sz="1600" b="1">
                <a:sym typeface="Arial" pitchFamily="34" charset="0"/>
              </a:rPr>
              <a:t>There are </a:t>
            </a:r>
            <a:r>
              <a:rPr lang="en-US" sz="1600" b="1">
                <a:solidFill>
                  <a:srgbClr val="BA0065"/>
                </a:solidFill>
                <a:sym typeface="Arial" pitchFamily="34" charset="0"/>
              </a:rPr>
              <a:t>some basic roles that a People Manager plays:</a:t>
            </a:r>
          </a:p>
        </p:txBody>
      </p:sp>
      <p:sp>
        <p:nvSpPr>
          <p:cNvPr id="3" name="TextBox 10"/>
          <p:cNvSpPr txBox="1"/>
          <p:nvPr/>
        </p:nvSpPr>
        <p:spPr>
          <a:xfrm>
            <a:off x="407382" y="2665123"/>
            <a:ext cx="1706046" cy="2813495"/>
          </a:xfrm>
          <a:prstGeom prst="roundRect">
            <a:avLst/>
          </a:prstGeom>
          <a:solidFill>
            <a:schemeClr val="bg1">
              <a:lumMod val="95000"/>
              <a:alpha val="68000"/>
            </a:schemeClr>
          </a:solidFill>
          <a:ln>
            <a:solidFill>
              <a:schemeClr val="accent1"/>
            </a:solidFill>
            <a:prstDash val="sysDash"/>
          </a:ln>
          <a:effectLst/>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0325" algn="ctr"/>
            <a:endParaRPr lang="en-US" sz="1200" b="1">
              <a:solidFill>
                <a:schemeClr val="accent1"/>
              </a:solidFill>
              <a:sym typeface="Calibri" pitchFamily="34" charset="0"/>
            </a:endParaRPr>
          </a:p>
          <a:p>
            <a:pPr marL="60325" algn="ctr"/>
            <a:r>
              <a:rPr lang="en-US" sz="1200" b="1">
                <a:solidFill>
                  <a:schemeClr val="accent1"/>
                </a:solidFill>
                <a:sym typeface="Calibri" pitchFamily="34" charset="0"/>
              </a:rPr>
              <a:t>Performance &amp; Development Strategist </a:t>
            </a:r>
          </a:p>
          <a:p>
            <a:pPr lvl="0" defTabSz="957756">
              <a:lnSpc>
                <a:spcPct val="80000"/>
              </a:lnSpc>
            </a:pPr>
            <a:endParaRPr lang="en-US" sz="1200" b="1">
              <a:solidFill>
                <a:srgbClr val="333333"/>
              </a:solidFill>
              <a:sym typeface="Arial" pitchFamily="34" charset="0"/>
            </a:endParaRPr>
          </a:p>
          <a:p>
            <a:pPr marL="55563" lvl="0" defTabSz="957756">
              <a:lnSpc>
                <a:spcPct val="80000"/>
              </a:lnSpc>
            </a:pPr>
            <a:r>
              <a:rPr lang="en-US" sz="1200" b="1">
                <a:solidFill>
                  <a:srgbClr val="333333"/>
                </a:solidFill>
                <a:sym typeface="Arial" pitchFamily="34" charset="0"/>
              </a:rPr>
              <a:t>Ensures the Employee:</a:t>
            </a:r>
          </a:p>
          <a:p>
            <a:pPr marL="285750" lvl="0" indent="-230188" defTabSz="957756">
              <a:lnSpc>
                <a:spcPct val="80000"/>
              </a:lnSpc>
            </a:pPr>
            <a:endParaRPr lang="en-US" sz="1200" b="1">
              <a:solidFill>
                <a:srgbClr val="333333"/>
              </a:solidFill>
              <a:sym typeface="Arial" pitchFamily="34" charset="0"/>
            </a:endParaRPr>
          </a:p>
          <a:p>
            <a:pPr marL="285750" lvl="0" indent="-230188" defTabSz="957756">
              <a:lnSpc>
                <a:spcPct val="80000"/>
              </a:lnSpc>
              <a:buFont typeface="Arial" pitchFamily="34" charset="0"/>
              <a:buChar char="•"/>
            </a:pPr>
            <a:r>
              <a:rPr lang="en-US" sz="1200">
                <a:solidFill>
                  <a:srgbClr val="333333"/>
                </a:solidFill>
                <a:sym typeface="Arial" pitchFamily="34" charset="0"/>
              </a:rPr>
              <a:t>Knows performance evaluation criteria</a:t>
            </a:r>
          </a:p>
          <a:p>
            <a:pPr marL="285750" lvl="0" indent="-230188" defTabSz="957756">
              <a:lnSpc>
                <a:spcPct val="80000"/>
              </a:lnSpc>
              <a:buFont typeface="Arial" pitchFamily="34" charset="0"/>
              <a:buChar char="•"/>
            </a:pPr>
            <a:r>
              <a:rPr lang="en-US" sz="1200">
                <a:solidFill>
                  <a:srgbClr val="333333"/>
                </a:solidFill>
                <a:sym typeface="Arial" pitchFamily="34" charset="0"/>
              </a:rPr>
              <a:t>Has development plans</a:t>
            </a:r>
          </a:p>
          <a:p>
            <a:pPr marL="285750" lvl="0" indent="-230188" defTabSz="957756">
              <a:lnSpc>
                <a:spcPct val="80000"/>
              </a:lnSpc>
              <a:buFont typeface="Arial" pitchFamily="34" charset="0"/>
              <a:buChar char="•"/>
            </a:pPr>
            <a:r>
              <a:rPr lang="en-US" sz="1200">
                <a:solidFill>
                  <a:srgbClr val="333333"/>
                </a:solidFill>
                <a:sym typeface="Arial" pitchFamily="34" charset="0"/>
              </a:rPr>
              <a:t>Acquires needed knowledge and skills</a:t>
            </a:r>
          </a:p>
          <a:p>
            <a:pPr marL="285750" lvl="0" indent="-230188" defTabSz="957756">
              <a:lnSpc>
                <a:spcPct val="80000"/>
              </a:lnSpc>
              <a:buFont typeface="Arial" pitchFamily="34" charset="0"/>
              <a:buChar char="•"/>
            </a:pPr>
            <a:endParaRPr lang="en-US" sz="1200">
              <a:solidFill>
                <a:srgbClr val="263147"/>
              </a:solidFill>
            </a:endParaRPr>
          </a:p>
        </p:txBody>
      </p:sp>
      <p:grpSp>
        <p:nvGrpSpPr>
          <p:cNvPr id="15" name="Group 14"/>
          <p:cNvGrpSpPr/>
          <p:nvPr/>
        </p:nvGrpSpPr>
        <p:grpSpPr>
          <a:xfrm>
            <a:off x="231879" y="1459097"/>
            <a:ext cx="932674" cy="1144265"/>
            <a:chOff x="350955" y="1419840"/>
            <a:chExt cx="932674" cy="1144265"/>
          </a:xfrm>
        </p:grpSpPr>
        <p:sp>
          <p:nvSpPr>
            <p:cNvPr id="69" name="Isosceles Triangle 68"/>
            <p:cNvSpPr/>
            <p:nvPr/>
          </p:nvSpPr>
          <p:spPr bwMode="auto">
            <a:xfrm rot="10800000">
              <a:off x="642444" y="2311016"/>
              <a:ext cx="319766" cy="253089"/>
            </a:xfrm>
            <a:prstGeom prst="triangle">
              <a:avLst/>
            </a:prstGeom>
            <a:solidFill>
              <a:schemeClr val="accent1"/>
            </a:solidFill>
            <a:ln w="25400" cap="flat" cmpd="sng" algn="ctr">
              <a:noFill/>
              <a:prstDash val="solid"/>
            </a:ln>
            <a:effectLst>
              <a:outerShdw blurRad="50800" dist="38100" dir="5400000" algn="t"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b="1" kern="0">
                <a:solidFill>
                  <a:srgbClr val="009BCC">
                    <a:lumMod val="50000"/>
                  </a:srgbClr>
                </a:solidFill>
                <a:latin typeface="Arial"/>
              </a:endParaRPr>
            </a:p>
          </p:txBody>
        </p:sp>
        <p:sp>
          <p:nvSpPr>
            <p:cNvPr id="70" name="Oval 69"/>
            <p:cNvSpPr/>
            <p:nvPr/>
          </p:nvSpPr>
          <p:spPr bwMode="auto">
            <a:xfrm>
              <a:off x="362120" y="1419840"/>
              <a:ext cx="888948" cy="879483"/>
            </a:xfrm>
            <a:prstGeom prst="ellipse">
              <a:avLst/>
            </a:prstGeom>
            <a:solidFill>
              <a:srgbClr val="FFFFFF"/>
            </a:solidFill>
            <a:ln w="127000" cap="flat" cmpd="sng" algn="ctr">
              <a:solidFill>
                <a:schemeClr val="accent1"/>
              </a:solidFill>
              <a:prstDash val="solid"/>
            </a:ln>
            <a:effectLst>
              <a:outerShdw blurRad="50800" dist="38100" dir="2700000" algn="tl"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kern="0">
                <a:solidFill>
                  <a:srgbClr val="009BCC">
                    <a:lumMod val="50000"/>
                  </a:srgbClr>
                </a:solidFill>
                <a:latin typeface="Arial"/>
              </a:endParaRPr>
            </a:p>
          </p:txBody>
        </p:sp>
        <p:pic>
          <p:nvPicPr>
            <p:cNvPr id="67" name="Picture 12" descr="3"/>
            <p:cNvPicPr>
              <a:picLocks noChangeAspect="1" noChangeArrowheads="1"/>
            </p:cNvPicPr>
            <p:nvPr/>
          </p:nvPicPr>
          <p:blipFill>
            <a:blip r:embed="rId4" cstate="email"/>
            <a:srcRect/>
            <a:stretch>
              <a:fillRect/>
            </a:stretch>
          </p:blipFill>
          <p:spPr bwMode="auto">
            <a:xfrm>
              <a:off x="350955" y="1419840"/>
              <a:ext cx="932674" cy="889596"/>
            </a:xfrm>
            <a:prstGeom prst="rect">
              <a:avLst/>
            </a:prstGeom>
            <a:noFill/>
            <a:ln w="9525">
              <a:noFill/>
              <a:miter lim="800000"/>
              <a:headEnd/>
              <a:tailEnd/>
            </a:ln>
          </p:spPr>
        </p:pic>
      </p:grpSp>
      <p:grpSp>
        <p:nvGrpSpPr>
          <p:cNvPr id="26" name="Group 25"/>
          <p:cNvGrpSpPr/>
          <p:nvPr/>
        </p:nvGrpSpPr>
        <p:grpSpPr>
          <a:xfrm>
            <a:off x="2321119" y="1494884"/>
            <a:ext cx="2199821" cy="2768595"/>
            <a:chOff x="2321119" y="1494884"/>
            <a:chExt cx="2199821" cy="2768595"/>
          </a:xfrm>
        </p:grpSpPr>
        <p:sp>
          <p:nvSpPr>
            <p:cNvPr id="92" name="TextBox 10"/>
            <p:cNvSpPr txBox="1"/>
            <p:nvPr/>
          </p:nvSpPr>
          <p:spPr>
            <a:xfrm>
              <a:off x="2500806" y="2506402"/>
              <a:ext cx="2020134" cy="1757077"/>
            </a:xfrm>
            <a:prstGeom prst="roundRect">
              <a:avLst/>
            </a:prstGeom>
            <a:solidFill>
              <a:schemeClr val="bg1">
                <a:lumMod val="95000"/>
                <a:alpha val="68000"/>
              </a:schemeClr>
            </a:solidFill>
            <a:ln>
              <a:solidFill>
                <a:schemeClr val="accent2"/>
              </a:solidFill>
              <a:prstDash val="sys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1200" b="1">
                  <a:solidFill>
                    <a:schemeClr val="accent2"/>
                  </a:solidFill>
                  <a:sym typeface="Calibri" pitchFamily="34" charset="0"/>
                </a:rPr>
                <a:t>Solutions </a:t>
              </a:r>
            </a:p>
            <a:p>
              <a:pPr lvl="0" algn="ctr"/>
              <a:r>
                <a:rPr lang="en-US" sz="1200" b="1">
                  <a:solidFill>
                    <a:schemeClr val="accent2"/>
                  </a:solidFill>
                  <a:sym typeface="Calibri" pitchFamily="34" charset="0"/>
                </a:rPr>
                <a:t>Enabler </a:t>
              </a:r>
            </a:p>
            <a:p>
              <a:pPr lvl="0" algn="ctr"/>
              <a:endParaRPr lang="en-US" sz="1200" b="1">
                <a:solidFill>
                  <a:srgbClr val="FFC000"/>
                </a:solidFill>
                <a:sym typeface="Calibri" pitchFamily="34" charset="0"/>
              </a:endParaRPr>
            </a:p>
            <a:p>
              <a:pPr marL="55563" lvl="0" defTabSz="957756">
                <a:lnSpc>
                  <a:spcPct val="80000"/>
                </a:lnSpc>
              </a:pPr>
              <a:r>
                <a:rPr lang="en-US" sz="1200" b="1">
                  <a:solidFill>
                    <a:srgbClr val="333333"/>
                  </a:solidFill>
                  <a:sym typeface="Arial" pitchFamily="34" charset="0"/>
                </a:rPr>
                <a:t>Helps the Employee:</a:t>
              </a:r>
            </a:p>
            <a:p>
              <a:pPr lvl="0" defTabSz="957756">
                <a:lnSpc>
                  <a:spcPct val="80000"/>
                </a:lnSpc>
              </a:pPr>
              <a:endParaRPr lang="en-US" sz="1200" b="1">
                <a:solidFill>
                  <a:srgbClr val="333333"/>
                </a:solidFill>
                <a:sym typeface="Arial" pitchFamily="34" charset="0"/>
              </a:endParaRPr>
            </a:p>
            <a:p>
              <a:pPr marL="285750" lvl="0" indent="-285750" defTabSz="957756">
                <a:lnSpc>
                  <a:spcPct val="80000"/>
                </a:lnSpc>
                <a:buFont typeface="Arial" pitchFamily="34" charset="0"/>
                <a:buChar char="•"/>
              </a:pPr>
              <a:r>
                <a:rPr lang="en-US" sz="1200">
                  <a:solidFill>
                    <a:srgbClr val="333333"/>
                  </a:solidFill>
                  <a:sym typeface="Arial" pitchFamily="34" charset="0"/>
                </a:rPr>
                <a:t>Apply new skills and knowledge</a:t>
              </a:r>
            </a:p>
            <a:p>
              <a:pPr marL="285750" lvl="0" indent="-285750" defTabSz="957756">
                <a:lnSpc>
                  <a:spcPct val="80000"/>
                </a:lnSpc>
                <a:buFont typeface="Arial" pitchFamily="34" charset="0"/>
                <a:buChar char="•"/>
              </a:pPr>
              <a:r>
                <a:rPr lang="en-US" sz="1200">
                  <a:solidFill>
                    <a:srgbClr val="333333"/>
                  </a:solidFill>
                  <a:sym typeface="Arial" pitchFamily="34" charset="0"/>
                </a:rPr>
                <a:t>Learn from their experiences</a:t>
              </a:r>
            </a:p>
            <a:p>
              <a:pPr marL="285750" lvl="0" indent="-285750" defTabSz="957756">
                <a:lnSpc>
                  <a:spcPct val="80000"/>
                </a:lnSpc>
                <a:buFont typeface="Arial" pitchFamily="34" charset="0"/>
                <a:buChar char="•"/>
              </a:pPr>
              <a:endParaRPr lang="en-US" sz="1200">
                <a:solidFill>
                  <a:srgbClr val="333333"/>
                </a:solidFill>
                <a:sym typeface="Arial" pitchFamily="34" charset="0"/>
              </a:endParaRPr>
            </a:p>
          </p:txBody>
        </p:sp>
        <p:grpSp>
          <p:nvGrpSpPr>
            <p:cNvPr id="17" name="Group 16"/>
            <p:cNvGrpSpPr/>
            <p:nvPr/>
          </p:nvGrpSpPr>
          <p:grpSpPr>
            <a:xfrm rot="9100597">
              <a:off x="2321119" y="1494884"/>
              <a:ext cx="941293" cy="1053797"/>
              <a:chOff x="2564401" y="5025806"/>
              <a:chExt cx="941293" cy="1053797"/>
            </a:xfrm>
          </p:grpSpPr>
          <p:sp>
            <p:nvSpPr>
              <p:cNvPr id="78" name="Isosceles Triangle 77"/>
              <p:cNvSpPr/>
              <p:nvPr/>
            </p:nvSpPr>
            <p:spPr bwMode="auto">
              <a:xfrm rot="12567470" flipV="1">
                <a:off x="3070397" y="5025806"/>
                <a:ext cx="435297" cy="321095"/>
              </a:xfrm>
              <a:prstGeom prst="triangle">
                <a:avLst/>
              </a:prstGeom>
              <a:solidFill>
                <a:schemeClr val="accent2"/>
              </a:solidFill>
              <a:ln w="25400" cap="flat" cmpd="sng" algn="ctr">
                <a:noFill/>
                <a:prstDash val="solid"/>
              </a:ln>
              <a:effectLst>
                <a:outerShdw blurRad="50800" dist="38100" dir="5400000" algn="t"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b="1" kern="0">
                  <a:solidFill>
                    <a:srgbClr val="009BCC">
                      <a:lumMod val="50000"/>
                    </a:srgbClr>
                  </a:solidFill>
                  <a:latin typeface="Arial"/>
                </a:endParaRPr>
              </a:p>
            </p:txBody>
          </p:sp>
          <p:sp>
            <p:nvSpPr>
              <p:cNvPr id="79" name="Oval 78"/>
              <p:cNvSpPr/>
              <p:nvPr/>
            </p:nvSpPr>
            <p:spPr bwMode="auto">
              <a:xfrm rot="1405912" flipV="1">
                <a:off x="2610286" y="5230651"/>
                <a:ext cx="848486" cy="848952"/>
              </a:xfrm>
              <a:prstGeom prst="ellipse">
                <a:avLst/>
              </a:prstGeom>
              <a:solidFill>
                <a:srgbClr val="FFFFFF"/>
              </a:solidFill>
              <a:ln w="1270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kern="0">
                  <a:solidFill>
                    <a:srgbClr val="009BCC">
                      <a:lumMod val="50000"/>
                    </a:srgbClr>
                  </a:solidFill>
                  <a:latin typeface="Arial"/>
                </a:endParaRPr>
              </a:p>
            </p:txBody>
          </p:sp>
          <p:pic>
            <p:nvPicPr>
              <p:cNvPr id="68" name="Picture 16" descr="2"/>
              <p:cNvPicPr>
                <a:picLocks noChangeAspect="1" noChangeArrowheads="1"/>
              </p:cNvPicPr>
              <p:nvPr/>
            </p:nvPicPr>
            <p:blipFill>
              <a:blip r:embed="rId5" cstate="email"/>
              <a:srcRect/>
              <a:stretch>
                <a:fillRect/>
              </a:stretch>
            </p:blipFill>
            <p:spPr bwMode="auto">
              <a:xfrm rot="1405912">
                <a:off x="2564401" y="5217112"/>
                <a:ext cx="914214" cy="823904"/>
              </a:xfrm>
              <a:prstGeom prst="rect">
                <a:avLst/>
              </a:prstGeom>
              <a:noFill/>
              <a:ln w="9525">
                <a:noFill/>
                <a:miter lim="800000"/>
                <a:headEnd/>
                <a:tailEnd/>
              </a:ln>
            </p:spPr>
          </p:pic>
        </p:grpSp>
      </p:grpSp>
      <p:grpSp>
        <p:nvGrpSpPr>
          <p:cNvPr id="27" name="Group 26"/>
          <p:cNvGrpSpPr/>
          <p:nvPr/>
        </p:nvGrpSpPr>
        <p:grpSpPr>
          <a:xfrm>
            <a:off x="2522083" y="4164187"/>
            <a:ext cx="2256307" cy="2262469"/>
            <a:chOff x="2522083" y="4164187"/>
            <a:chExt cx="2256307" cy="2262469"/>
          </a:xfrm>
        </p:grpSpPr>
        <p:sp>
          <p:nvSpPr>
            <p:cNvPr id="110" name="TextBox 10"/>
            <p:cNvSpPr txBox="1"/>
            <p:nvPr/>
          </p:nvSpPr>
          <p:spPr>
            <a:xfrm>
              <a:off x="2522085" y="5241651"/>
              <a:ext cx="2256305" cy="1185005"/>
            </a:xfrm>
            <a:prstGeom prst="roundRect">
              <a:avLst/>
            </a:prstGeom>
            <a:solidFill>
              <a:schemeClr val="bg1">
                <a:lumMod val="95000"/>
                <a:alpha val="68000"/>
              </a:schemeClr>
            </a:solidFill>
            <a:ln>
              <a:solidFill>
                <a:schemeClr val="accent4"/>
              </a:solidFill>
              <a:prstDash val="sys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chemeClr val="accent4"/>
                  </a:solidFill>
                  <a:cs typeface="Avenir Book"/>
                </a:rPr>
                <a:t>Opportunity Broker</a:t>
              </a:r>
            </a:p>
            <a:p>
              <a:pPr algn="ctr"/>
              <a:endParaRPr lang="en-US" sz="1200" b="1">
                <a:solidFill>
                  <a:schemeClr val="accent4"/>
                </a:solidFill>
                <a:cs typeface="Avenir Book"/>
              </a:endParaRPr>
            </a:p>
            <a:p>
              <a:pPr marL="111125" lvl="0" defTabSz="957756">
                <a:lnSpc>
                  <a:spcPct val="80000"/>
                </a:lnSpc>
              </a:pPr>
              <a:r>
                <a:rPr lang="en-US" sz="1200" b="1">
                  <a:solidFill>
                    <a:srgbClr val="333333"/>
                  </a:solidFill>
                  <a:sym typeface="Arial" pitchFamily="34" charset="0"/>
                </a:rPr>
                <a:t>Helps the Employee:</a:t>
              </a:r>
            </a:p>
            <a:p>
              <a:pPr marL="111125" lvl="0" defTabSz="957756"/>
              <a:r>
                <a:rPr lang="en-US" sz="1200">
                  <a:solidFill>
                    <a:srgbClr val="333333"/>
                  </a:solidFill>
                  <a:sym typeface="Arial" pitchFamily="34" charset="0"/>
                </a:rPr>
                <a:t>Identify development opportunities in their current role and beyond.</a:t>
              </a:r>
            </a:p>
          </p:txBody>
        </p:sp>
        <p:grpSp>
          <p:nvGrpSpPr>
            <p:cNvPr id="21" name="Group 20"/>
            <p:cNvGrpSpPr/>
            <p:nvPr/>
          </p:nvGrpSpPr>
          <p:grpSpPr>
            <a:xfrm rot="10490448">
              <a:off x="2522083" y="4164187"/>
              <a:ext cx="960768" cy="1151375"/>
              <a:chOff x="4715643" y="4988982"/>
              <a:chExt cx="1332994" cy="1755875"/>
            </a:xfrm>
          </p:grpSpPr>
          <p:sp>
            <p:nvSpPr>
              <p:cNvPr id="102" name="Isosceles Triangle 101"/>
              <p:cNvSpPr/>
              <p:nvPr/>
            </p:nvSpPr>
            <p:spPr bwMode="auto">
              <a:xfrm rot="10800000" flipV="1">
                <a:off x="5242408" y="4988982"/>
                <a:ext cx="426847" cy="431901"/>
              </a:xfrm>
              <a:prstGeom prst="triangle">
                <a:avLst/>
              </a:prstGeom>
              <a:solidFill>
                <a:schemeClr val="accent4"/>
              </a:solidFill>
              <a:ln w="25400" cap="flat" cmpd="sng" algn="ctr">
                <a:noFill/>
                <a:prstDash val="solid"/>
              </a:ln>
              <a:effectLst>
                <a:outerShdw blurRad="50800" dist="38100" dir="5400000" algn="t"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b="1" kern="0">
                  <a:solidFill>
                    <a:srgbClr val="009BCC">
                      <a:lumMod val="50000"/>
                    </a:srgbClr>
                  </a:solidFill>
                  <a:latin typeface="Arial"/>
                </a:endParaRPr>
              </a:p>
            </p:txBody>
          </p:sp>
          <p:sp>
            <p:nvSpPr>
              <p:cNvPr id="103" name="Oval 102"/>
              <p:cNvSpPr/>
              <p:nvPr/>
            </p:nvSpPr>
            <p:spPr bwMode="auto">
              <a:xfrm flipV="1">
                <a:off x="4724662" y="5420882"/>
                <a:ext cx="1323975" cy="1323975"/>
              </a:xfrm>
              <a:prstGeom prst="ellipse">
                <a:avLst/>
              </a:prstGeom>
              <a:solidFill>
                <a:srgbClr val="FFFFFF"/>
              </a:solidFill>
              <a:ln w="127000" cap="flat" cmpd="sng" algn="ctr">
                <a:solidFill>
                  <a:schemeClr val="accent4"/>
                </a:solidFill>
                <a:prstDash val="solid"/>
              </a:ln>
              <a:effectLst>
                <a:outerShdw blurRad="50800" dist="38100" dir="2700000" algn="tl"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kern="0">
                  <a:solidFill>
                    <a:srgbClr val="009BCC">
                      <a:lumMod val="50000"/>
                    </a:srgbClr>
                  </a:solidFill>
                  <a:latin typeface="Arial"/>
                </a:endParaRPr>
              </a:p>
            </p:txBody>
          </p:sp>
          <p:pic>
            <p:nvPicPr>
              <p:cNvPr id="77" name="Picture 18" descr="1"/>
              <p:cNvPicPr>
                <a:picLocks noChangeAspect="1" noChangeArrowheads="1"/>
              </p:cNvPicPr>
              <p:nvPr/>
            </p:nvPicPr>
            <p:blipFill>
              <a:blip r:embed="rId6" cstate="email"/>
              <a:srcRect/>
              <a:stretch>
                <a:fillRect/>
              </a:stretch>
            </p:blipFill>
            <p:spPr bwMode="auto">
              <a:xfrm rot="524430" flipV="1">
                <a:off x="4715643" y="5419917"/>
                <a:ext cx="1332994" cy="1324940"/>
              </a:xfrm>
              <a:prstGeom prst="rect">
                <a:avLst/>
              </a:prstGeom>
              <a:noFill/>
              <a:ln w="9525">
                <a:noFill/>
                <a:miter lim="800000"/>
                <a:headEnd/>
                <a:tailEnd/>
              </a:ln>
            </p:spPr>
          </p:pic>
        </p:grpSp>
      </p:grpSp>
      <p:grpSp>
        <p:nvGrpSpPr>
          <p:cNvPr id="28" name="Group 27"/>
          <p:cNvGrpSpPr/>
          <p:nvPr/>
        </p:nvGrpSpPr>
        <p:grpSpPr>
          <a:xfrm>
            <a:off x="5645889" y="4263479"/>
            <a:ext cx="2597056" cy="2431222"/>
            <a:chOff x="5631252" y="3947214"/>
            <a:chExt cx="2597056" cy="2431222"/>
          </a:xfrm>
        </p:grpSpPr>
        <p:sp>
          <p:nvSpPr>
            <p:cNvPr id="111" name="TextBox 10"/>
            <p:cNvSpPr txBox="1"/>
            <p:nvPr/>
          </p:nvSpPr>
          <p:spPr>
            <a:xfrm>
              <a:off x="5631252" y="5016361"/>
              <a:ext cx="2357965" cy="1362075"/>
            </a:xfrm>
            <a:prstGeom prst="roundRect">
              <a:avLst/>
            </a:prstGeom>
            <a:solidFill>
              <a:schemeClr val="bg1">
                <a:lumMod val="95000"/>
                <a:alpha val="68000"/>
              </a:schemeClr>
            </a:solidFill>
            <a:ln>
              <a:solidFill>
                <a:schemeClr val="accent5"/>
              </a:solidFill>
              <a:prstDash val="sysDash"/>
            </a:ln>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chemeClr val="accent5"/>
                  </a:solidFill>
                  <a:sym typeface="Calibri" pitchFamily="34" charset="0"/>
                </a:rPr>
                <a:t>Honest </a:t>
              </a:r>
            </a:p>
            <a:p>
              <a:pPr algn="ctr"/>
              <a:r>
                <a:rPr lang="en-US" sz="1200" b="1">
                  <a:solidFill>
                    <a:schemeClr val="accent5"/>
                  </a:solidFill>
                  <a:sym typeface="Calibri" pitchFamily="34" charset="0"/>
                </a:rPr>
                <a:t>Appraiser</a:t>
              </a:r>
            </a:p>
            <a:p>
              <a:pPr algn="ctr"/>
              <a:endParaRPr lang="en-US" sz="800">
                <a:solidFill>
                  <a:schemeClr val="bg1"/>
                </a:solidFill>
                <a:sym typeface="Calibri" pitchFamily="34" charset="0"/>
              </a:endParaRPr>
            </a:p>
            <a:p>
              <a:pPr marL="111125" lvl="0" defTabSz="957756"/>
              <a:r>
                <a:rPr lang="en-US" sz="1200" b="1">
                  <a:solidFill>
                    <a:srgbClr val="333333"/>
                  </a:solidFill>
                  <a:sym typeface="Arial" pitchFamily="34" charset="0"/>
                </a:rPr>
                <a:t>Appraises  Employees:</a:t>
              </a:r>
            </a:p>
            <a:p>
              <a:pPr marL="285750" lvl="0" indent="-174625" defTabSz="957756">
                <a:buFont typeface="Arial" pitchFamily="34" charset="0"/>
                <a:buChar char="•"/>
              </a:pPr>
              <a:r>
                <a:rPr lang="en-US" sz="1200">
                  <a:solidFill>
                    <a:srgbClr val="333333"/>
                  </a:solidFill>
                  <a:sym typeface="Arial" pitchFamily="34" charset="0"/>
                </a:rPr>
                <a:t>On the job performance</a:t>
              </a:r>
            </a:p>
            <a:p>
              <a:pPr marL="285750" lvl="0" indent="-174625" defTabSz="957756">
                <a:buFont typeface="Arial" pitchFamily="34" charset="0"/>
                <a:buChar char="•"/>
              </a:pPr>
              <a:r>
                <a:rPr lang="en-US" sz="1200">
                  <a:solidFill>
                    <a:srgbClr val="333333"/>
                  </a:solidFill>
                  <a:sym typeface="Arial" pitchFamily="34" charset="0"/>
                </a:rPr>
                <a:t>Progress against their Development Plan.</a:t>
              </a:r>
            </a:p>
          </p:txBody>
        </p:sp>
        <p:grpSp>
          <p:nvGrpSpPr>
            <p:cNvPr id="5" name="Group 4"/>
            <p:cNvGrpSpPr/>
            <p:nvPr/>
          </p:nvGrpSpPr>
          <p:grpSpPr>
            <a:xfrm>
              <a:off x="7261957" y="3947214"/>
              <a:ext cx="966351" cy="1192848"/>
              <a:chOff x="7741163" y="2741269"/>
              <a:chExt cx="1332028" cy="1644234"/>
            </a:xfrm>
          </p:grpSpPr>
          <p:sp>
            <p:nvSpPr>
              <p:cNvPr id="113" name="Isosceles Triangle 112"/>
              <p:cNvSpPr/>
              <p:nvPr/>
            </p:nvSpPr>
            <p:spPr bwMode="auto">
              <a:xfrm rot="10800000">
                <a:off x="8173229" y="4004503"/>
                <a:ext cx="476250" cy="381000"/>
              </a:xfrm>
              <a:prstGeom prst="triangle">
                <a:avLst/>
              </a:prstGeom>
              <a:solidFill>
                <a:schemeClr val="accent5"/>
              </a:solidFill>
              <a:ln w="25400" cap="flat" cmpd="sng" algn="ctr">
                <a:noFill/>
                <a:prstDash val="solid"/>
              </a:ln>
              <a:effectLst>
                <a:outerShdw blurRad="50800" dist="38100" dir="5400000" algn="t"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b="1" kern="0">
                  <a:solidFill>
                    <a:srgbClr val="009BCC">
                      <a:lumMod val="50000"/>
                    </a:srgbClr>
                  </a:solidFill>
                  <a:latin typeface="Arial"/>
                </a:endParaRPr>
              </a:p>
            </p:txBody>
          </p:sp>
          <p:sp>
            <p:nvSpPr>
              <p:cNvPr id="114" name="Oval 113"/>
              <p:cNvSpPr/>
              <p:nvPr/>
            </p:nvSpPr>
            <p:spPr bwMode="auto">
              <a:xfrm>
                <a:off x="7749216" y="2741269"/>
                <a:ext cx="1323975" cy="1323975"/>
              </a:xfrm>
              <a:prstGeom prst="ellipse">
                <a:avLst/>
              </a:prstGeom>
              <a:solidFill>
                <a:srgbClr val="FFFFFF"/>
              </a:solidFill>
              <a:ln w="127000" cap="flat" cmpd="sng" algn="ctr">
                <a:solidFill>
                  <a:schemeClr val="accent5"/>
                </a:solidFill>
                <a:prstDash val="solid"/>
              </a:ln>
              <a:effectLst>
                <a:outerShdw blurRad="50800" dist="38100" dir="2700000" algn="tl" rotWithShape="0">
                  <a:prstClr val="black">
                    <a:alpha val="40000"/>
                  </a:prstClr>
                </a:outerShdw>
              </a:effectLst>
            </p:spPr>
            <p:txBody>
              <a:bodyPr anchor="ctr"/>
              <a:lstStyle/>
              <a:p>
                <a:pPr marR="0" indent="0" algn="ctr" fontAlgn="base">
                  <a:lnSpc>
                    <a:spcPct val="85000"/>
                  </a:lnSpc>
                  <a:spcBef>
                    <a:spcPct val="0"/>
                  </a:spcBef>
                  <a:spcAft>
                    <a:spcPct val="0"/>
                  </a:spcAft>
                  <a:buClrTx/>
                  <a:buSzTx/>
                  <a:buFontTx/>
                  <a:buNone/>
                  <a:tabLst/>
                  <a:defRPr/>
                </a:pPr>
                <a:endParaRPr lang="en-US" sz="2000" kern="0">
                  <a:solidFill>
                    <a:srgbClr val="009BCC">
                      <a:lumMod val="50000"/>
                    </a:srgbClr>
                  </a:solidFill>
                  <a:latin typeface="Arial"/>
                </a:endParaRPr>
              </a:p>
            </p:txBody>
          </p:sp>
          <p:pic>
            <p:nvPicPr>
              <p:cNvPr id="80" name="Picture 15" descr="\\z_020\ZPitch277_Capgemini_DevelopmentConversations\Production\Logo\HonestAppraiser.pngHonestAppraiser"/>
              <p:cNvPicPr>
                <a:picLocks noChangeAspect="1" noChangeArrowheads="1"/>
              </p:cNvPicPr>
              <p:nvPr/>
            </p:nvPicPr>
            <p:blipFill>
              <a:blip r:embed="rId7" cstate="email"/>
              <a:srcRect/>
              <a:stretch>
                <a:fillRect/>
              </a:stretch>
            </p:blipFill>
            <p:spPr bwMode="auto">
              <a:xfrm>
                <a:off x="7741163" y="2742234"/>
                <a:ext cx="1332028" cy="1323975"/>
              </a:xfrm>
              <a:prstGeom prst="rect">
                <a:avLst/>
              </a:prstGeom>
              <a:noFill/>
              <a:ln w="9525">
                <a:noFill/>
                <a:miter lim="800000"/>
                <a:headEnd/>
                <a:tailEnd/>
              </a:ln>
            </p:spPr>
          </p:pic>
        </p:grpSp>
      </p:grpSp>
      <p:cxnSp>
        <p:nvCxnSpPr>
          <p:cNvPr id="7" name="Straight Connector 6"/>
          <p:cNvCxnSpPr/>
          <p:nvPr/>
        </p:nvCxnSpPr>
        <p:spPr>
          <a:xfrm>
            <a:off x="2288630" y="2287182"/>
            <a:ext cx="0" cy="271486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520940" y="2279186"/>
            <a:ext cx="0" cy="1815343"/>
          </a:xfrm>
          <a:prstGeom prst="line">
            <a:avLst/>
          </a:prstGeom>
          <a:ln>
            <a:prstDash val="sysDash"/>
          </a:ln>
        </p:spPr>
        <p:style>
          <a:lnRef idx="1">
            <a:schemeClr val="accent2"/>
          </a:lnRef>
          <a:fillRef idx="0">
            <a:schemeClr val="accent2"/>
          </a:fillRef>
          <a:effectRef idx="0">
            <a:schemeClr val="accent2"/>
          </a:effectRef>
          <a:fontRef idx="minor">
            <a:schemeClr val="tx1"/>
          </a:fontRef>
        </p:style>
      </p:cxnSp>
      <p:cxnSp>
        <p:nvCxnSpPr>
          <p:cNvPr id="82" name="Straight Connector 81"/>
          <p:cNvCxnSpPr/>
          <p:nvPr/>
        </p:nvCxnSpPr>
        <p:spPr>
          <a:xfrm>
            <a:off x="4880990" y="4772505"/>
            <a:ext cx="0" cy="1566870"/>
          </a:xfrm>
          <a:prstGeom prst="line">
            <a:avLst/>
          </a:prstGeom>
          <a:ln>
            <a:prstDash val="sysDash"/>
          </a:ln>
        </p:spPr>
        <p:style>
          <a:lnRef idx="1">
            <a:schemeClr val="accent4"/>
          </a:lnRef>
          <a:fillRef idx="0">
            <a:schemeClr val="accent4"/>
          </a:fillRef>
          <a:effectRef idx="0">
            <a:schemeClr val="accent4"/>
          </a:effectRef>
          <a:fontRef idx="minor">
            <a:schemeClr val="tx1"/>
          </a:fontRef>
        </p:style>
      </p:cxnSp>
      <p:sp>
        <p:nvSpPr>
          <p:cNvPr id="10" name="Freeform 9"/>
          <p:cNvSpPr/>
          <p:nvPr/>
        </p:nvSpPr>
        <p:spPr>
          <a:xfrm>
            <a:off x="8494083" y="1940662"/>
            <a:ext cx="1151035" cy="922599"/>
          </a:xfrm>
          <a:custGeom>
            <a:avLst/>
            <a:gdLst>
              <a:gd name="connsiteX0" fmla="*/ 191843 w 1151035"/>
              <a:gd name="connsiteY0" fmla="*/ 0 h 1497481"/>
              <a:gd name="connsiteX1" fmla="*/ 1151035 w 1151035"/>
              <a:gd name="connsiteY1" fmla="*/ 0 h 1497481"/>
              <a:gd name="connsiteX2" fmla="*/ 1151035 w 1151035"/>
              <a:gd name="connsiteY2" fmla="*/ 0 h 1497481"/>
              <a:gd name="connsiteX3" fmla="*/ 1151035 w 1151035"/>
              <a:gd name="connsiteY3" fmla="*/ 1305638 h 1497481"/>
              <a:gd name="connsiteX4" fmla="*/ 959192 w 1151035"/>
              <a:gd name="connsiteY4" fmla="*/ 1497481 h 1497481"/>
              <a:gd name="connsiteX5" fmla="*/ 0 w 1151035"/>
              <a:gd name="connsiteY5" fmla="*/ 1497481 h 1497481"/>
              <a:gd name="connsiteX6" fmla="*/ 0 w 1151035"/>
              <a:gd name="connsiteY6" fmla="*/ 1497481 h 1497481"/>
              <a:gd name="connsiteX7" fmla="*/ 0 w 1151035"/>
              <a:gd name="connsiteY7" fmla="*/ 191843 h 1497481"/>
              <a:gd name="connsiteX8" fmla="*/ 191843 w 1151035"/>
              <a:gd name="connsiteY8" fmla="*/ 0 h 149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035" h="1497481">
                <a:moveTo>
                  <a:pt x="191843" y="0"/>
                </a:moveTo>
                <a:lnTo>
                  <a:pt x="1151035" y="0"/>
                </a:lnTo>
                <a:lnTo>
                  <a:pt x="1151035" y="0"/>
                </a:lnTo>
                <a:lnTo>
                  <a:pt x="1151035" y="1305638"/>
                </a:lnTo>
                <a:cubicBezTo>
                  <a:pt x="1151035" y="1411590"/>
                  <a:pt x="1065144" y="1497481"/>
                  <a:pt x="959192" y="1497481"/>
                </a:cubicBezTo>
                <a:lnTo>
                  <a:pt x="0" y="1497481"/>
                </a:lnTo>
                <a:lnTo>
                  <a:pt x="0" y="1497481"/>
                </a:lnTo>
                <a:lnTo>
                  <a:pt x="0" y="191843"/>
                </a:lnTo>
                <a:cubicBezTo>
                  <a:pt x="0" y="85891"/>
                  <a:pt x="85891" y="0"/>
                  <a:pt x="191843" y="0"/>
                </a:cubicBezTo>
                <a:close/>
              </a:path>
            </a:pathLst>
          </a:custGeom>
        </p:spPr>
        <p:style>
          <a:lnRef idx="2">
            <a:schemeClr val="accent1"/>
          </a:lnRef>
          <a:fillRef idx="1">
            <a:schemeClr val="lt1"/>
          </a:fillRef>
          <a:effectRef idx="0">
            <a:schemeClr val="accent1"/>
          </a:effectRef>
          <a:fontRef idx="minor">
            <a:schemeClr val="dk1"/>
          </a:fontRef>
        </p:style>
        <p:txBody>
          <a:bodyPr spcFirstLastPara="0" vert="horz" wrap="square" lIns="98099" tIns="98099" rIns="98099" bIns="98099" numCol="1" spcCol="1270" anchor="ctr" anchorCtr="0">
            <a:noAutofit/>
          </a:bodyPr>
          <a:lstStyle/>
          <a:p>
            <a:pPr lvl="0" algn="ctr" defTabSz="466725">
              <a:lnSpc>
                <a:spcPct val="90000"/>
              </a:lnSpc>
              <a:spcBef>
                <a:spcPct val="0"/>
              </a:spcBef>
              <a:spcAft>
                <a:spcPct val="35000"/>
              </a:spcAft>
            </a:pPr>
            <a:r>
              <a:rPr lang="en-US" sz="1050" b="0" kern="1200">
                <a:ea typeface="PMingLiU"/>
                <a:cs typeface="Times New Roman" pitchFamily="18" charset="0"/>
              </a:rPr>
              <a:t>Set-up a meeting with your PM</a:t>
            </a:r>
            <a:endParaRPr lang="en-US" sz="1050" kern="1200"/>
          </a:p>
        </p:txBody>
      </p:sp>
      <p:sp>
        <p:nvSpPr>
          <p:cNvPr id="11" name="Freeform 10"/>
          <p:cNvSpPr/>
          <p:nvPr/>
        </p:nvSpPr>
        <p:spPr>
          <a:xfrm rot="887">
            <a:off x="8953865" y="2961972"/>
            <a:ext cx="285138" cy="322971"/>
          </a:xfrm>
          <a:custGeom>
            <a:avLst/>
            <a:gdLst>
              <a:gd name="connsiteX0" fmla="*/ 0 w 364740"/>
              <a:gd name="connsiteY0" fmla="*/ 57091 h 285456"/>
              <a:gd name="connsiteX1" fmla="*/ 222012 w 364740"/>
              <a:gd name="connsiteY1" fmla="*/ 57091 h 285456"/>
              <a:gd name="connsiteX2" fmla="*/ 222012 w 364740"/>
              <a:gd name="connsiteY2" fmla="*/ 0 h 285456"/>
              <a:gd name="connsiteX3" fmla="*/ 364740 w 364740"/>
              <a:gd name="connsiteY3" fmla="*/ 142728 h 285456"/>
              <a:gd name="connsiteX4" fmla="*/ 222012 w 364740"/>
              <a:gd name="connsiteY4" fmla="*/ 285456 h 285456"/>
              <a:gd name="connsiteX5" fmla="*/ 222012 w 364740"/>
              <a:gd name="connsiteY5" fmla="*/ 228365 h 285456"/>
              <a:gd name="connsiteX6" fmla="*/ 0 w 364740"/>
              <a:gd name="connsiteY6" fmla="*/ 228365 h 285456"/>
              <a:gd name="connsiteX7" fmla="*/ 0 w 364740"/>
              <a:gd name="connsiteY7" fmla="*/ 57091 h 28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40" h="285456">
                <a:moveTo>
                  <a:pt x="291792" y="0"/>
                </a:moveTo>
                <a:lnTo>
                  <a:pt x="291792" y="173753"/>
                </a:lnTo>
                <a:lnTo>
                  <a:pt x="364740" y="173753"/>
                </a:lnTo>
                <a:lnTo>
                  <a:pt x="182370" y="285456"/>
                </a:lnTo>
                <a:lnTo>
                  <a:pt x="0" y="173753"/>
                </a:lnTo>
                <a:lnTo>
                  <a:pt x="72948" y="173753"/>
                </a:lnTo>
                <a:lnTo>
                  <a:pt x="72948" y="0"/>
                </a:lnTo>
                <a:lnTo>
                  <a:pt x="291792" y="0"/>
                </a:lnTo>
                <a:close/>
              </a:path>
            </a:pathLst>
          </a:custGeom>
          <a:solidFill>
            <a:schemeClr val="accent1"/>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57090" tIns="0" rIns="57091" bIns="85636" numCol="1" spcCol="1270" anchor="ctr" anchorCtr="0">
            <a:noAutofit/>
          </a:bodyPr>
          <a:lstStyle/>
          <a:p>
            <a:pPr lvl="0" algn="ctr" defTabSz="933450">
              <a:lnSpc>
                <a:spcPct val="90000"/>
              </a:lnSpc>
              <a:spcBef>
                <a:spcPct val="0"/>
              </a:spcBef>
              <a:spcAft>
                <a:spcPct val="35000"/>
              </a:spcAft>
            </a:pPr>
            <a:endParaRPr lang="en-US" sz="2100" kern="1200"/>
          </a:p>
        </p:txBody>
      </p:sp>
      <p:sp>
        <p:nvSpPr>
          <p:cNvPr id="12" name="Freeform 11"/>
          <p:cNvSpPr/>
          <p:nvPr/>
        </p:nvSpPr>
        <p:spPr>
          <a:xfrm>
            <a:off x="8494084" y="3403198"/>
            <a:ext cx="1151035" cy="961932"/>
          </a:xfrm>
          <a:custGeom>
            <a:avLst/>
            <a:gdLst>
              <a:gd name="connsiteX0" fmla="*/ 191843 w 1151035"/>
              <a:gd name="connsiteY0" fmla="*/ 0 h 1487584"/>
              <a:gd name="connsiteX1" fmla="*/ 1151035 w 1151035"/>
              <a:gd name="connsiteY1" fmla="*/ 0 h 1487584"/>
              <a:gd name="connsiteX2" fmla="*/ 1151035 w 1151035"/>
              <a:gd name="connsiteY2" fmla="*/ 0 h 1487584"/>
              <a:gd name="connsiteX3" fmla="*/ 1151035 w 1151035"/>
              <a:gd name="connsiteY3" fmla="*/ 1295741 h 1487584"/>
              <a:gd name="connsiteX4" fmla="*/ 959192 w 1151035"/>
              <a:gd name="connsiteY4" fmla="*/ 1487584 h 1487584"/>
              <a:gd name="connsiteX5" fmla="*/ 0 w 1151035"/>
              <a:gd name="connsiteY5" fmla="*/ 1487584 h 1487584"/>
              <a:gd name="connsiteX6" fmla="*/ 0 w 1151035"/>
              <a:gd name="connsiteY6" fmla="*/ 1487584 h 1487584"/>
              <a:gd name="connsiteX7" fmla="*/ 0 w 1151035"/>
              <a:gd name="connsiteY7" fmla="*/ 191843 h 1487584"/>
              <a:gd name="connsiteX8" fmla="*/ 191843 w 1151035"/>
              <a:gd name="connsiteY8" fmla="*/ 0 h 148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035" h="1487584">
                <a:moveTo>
                  <a:pt x="191843" y="0"/>
                </a:moveTo>
                <a:lnTo>
                  <a:pt x="1151035" y="0"/>
                </a:lnTo>
                <a:lnTo>
                  <a:pt x="1151035" y="0"/>
                </a:lnTo>
                <a:lnTo>
                  <a:pt x="1151035" y="1295741"/>
                </a:lnTo>
                <a:cubicBezTo>
                  <a:pt x="1151035" y="1401693"/>
                  <a:pt x="1065144" y="1487584"/>
                  <a:pt x="959192" y="1487584"/>
                </a:cubicBezTo>
                <a:lnTo>
                  <a:pt x="0" y="1487584"/>
                </a:lnTo>
                <a:lnTo>
                  <a:pt x="0" y="1487584"/>
                </a:lnTo>
                <a:lnTo>
                  <a:pt x="0" y="191843"/>
                </a:lnTo>
                <a:cubicBezTo>
                  <a:pt x="0" y="85891"/>
                  <a:pt x="85891" y="0"/>
                  <a:pt x="191843" y="0"/>
                </a:cubicBezTo>
                <a:close/>
              </a:path>
            </a:pathLst>
          </a:custGeom>
          <a:ln>
            <a:solidFill>
              <a:srgbClr val="92D050"/>
            </a:solidFill>
          </a:ln>
        </p:spPr>
        <p:style>
          <a:lnRef idx="2">
            <a:schemeClr val="accent5"/>
          </a:lnRef>
          <a:fillRef idx="1">
            <a:schemeClr val="lt1"/>
          </a:fillRef>
          <a:effectRef idx="0">
            <a:schemeClr val="accent5"/>
          </a:effectRef>
          <a:fontRef idx="minor">
            <a:schemeClr val="dk1"/>
          </a:fontRef>
        </p:style>
        <p:txBody>
          <a:bodyPr spcFirstLastPara="0" vert="horz" wrap="square" lIns="94289" tIns="94289" rIns="94289" bIns="94289" numCol="1" spcCol="1270" anchor="ctr" anchorCtr="0">
            <a:noAutofit/>
          </a:bodyPr>
          <a:lstStyle/>
          <a:p>
            <a:pPr lvl="0" algn="ctr" defTabSz="444500">
              <a:lnSpc>
                <a:spcPct val="90000"/>
              </a:lnSpc>
              <a:spcBef>
                <a:spcPct val="0"/>
              </a:spcBef>
              <a:spcAft>
                <a:spcPct val="35000"/>
              </a:spcAft>
            </a:pPr>
            <a:r>
              <a:rPr lang="en-US" sz="1050" b="1" kern="1200">
                <a:ea typeface="PMingLiU"/>
                <a:cs typeface="Times New Roman" pitchFamily="18" charset="0"/>
              </a:rPr>
              <a:t>Prep well </a:t>
            </a:r>
            <a:r>
              <a:rPr lang="en-US" sz="1050" b="0" kern="1200">
                <a:ea typeface="PMingLiU"/>
                <a:cs typeface="Times New Roman" pitchFamily="18" charset="0"/>
              </a:rPr>
              <a:t>when having formal meetings with your PM</a:t>
            </a:r>
          </a:p>
        </p:txBody>
      </p:sp>
      <p:sp>
        <p:nvSpPr>
          <p:cNvPr id="13" name="Freeform 12"/>
          <p:cNvSpPr/>
          <p:nvPr/>
        </p:nvSpPr>
        <p:spPr>
          <a:xfrm>
            <a:off x="8953588" y="4495855"/>
            <a:ext cx="285457" cy="244020"/>
          </a:xfrm>
          <a:custGeom>
            <a:avLst/>
            <a:gdLst>
              <a:gd name="connsiteX0" fmla="*/ 0 w 244019"/>
              <a:gd name="connsiteY0" fmla="*/ 57091 h 285456"/>
              <a:gd name="connsiteX1" fmla="*/ 122010 w 244019"/>
              <a:gd name="connsiteY1" fmla="*/ 57091 h 285456"/>
              <a:gd name="connsiteX2" fmla="*/ 122010 w 244019"/>
              <a:gd name="connsiteY2" fmla="*/ 0 h 285456"/>
              <a:gd name="connsiteX3" fmla="*/ 244019 w 244019"/>
              <a:gd name="connsiteY3" fmla="*/ 142728 h 285456"/>
              <a:gd name="connsiteX4" fmla="*/ 122010 w 244019"/>
              <a:gd name="connsiteY4" fmla="*/ 285456 h 285456"/>
              <a:gd name="connsiteX5" fmla="*/ 122010 w 244019"/>
              <a:gd name="connsiteY5" fmla="*/ 228365 h 285456"/>
              <a:gd name="connsiteX6" fmla="*/ 0 w 244019"/>
              <a:gd name="connsiteY6" fmla="*/ 228365 h 285456"/>
              <a:gd name="connsiteX7" fmla="*/ 0 w 244019"/>
              <a:gd name="connsiteY7" fmla="*/ 57091 h 28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019" h="285456">
                <a:moveTo>
                  <a:pt x="195215" y="1"/>
                </a:moveTo>
                <a:lnTo>
                  <a:pt x="195215" y="142729"/>
                </a:lnTo>
                <a:lnTo>
                  <a:pt x="244019" y="142729"/>
                </a:lnTo>
                <a:lnTo>
                  <a:pt x="122010" y="285455"/>
                </a:lnTo>
                <a:lnTo>
                  <a:pt x="0" y="142729"/>
                </a:lnTo>
                <a:lnTo>
                  <a:pt x="48804" y="142729"/>
                </a:lnTo>
                <a:lnTo>
                  <a:pt x="48804" y="1"/>
                </a:lnTo>
                <a:lnTo>
                  <a:pt x="195215" y="1"/>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57092" tIns="0" rIns="57091" bIns="73207" numCol="1" spcCol="1270" anchor="ctr" anchorCtr="0">
            <a:noAutofit/>
          </a:bodyPr>
          <a:lstStyle/>
          <a:p>
            <a:pPr lvl="0" algn="ctr" defTabSz="533400">
              <a:lnSpc>
                <a:spcPct val="90000"/>
              </a:lnSpc>
              <a:spcBef>
                <a:spcPct val="0"/>
              </a:spcBef>
              <a:spcAft>
                <a:spcPct val="35000"/>
              </a:spcAft>
            </a:pPr>
            <a:endParaRPr lang="en-US" sz="1200" kern="1200"/>
          </a:p>
        </p:txBody>
      </p:sp>
      <p:sp>
        <p:nvSpPr>
          <p:cNvPr id="14" name="Freeform 13"/>
          <p:cNvSpPr/>
          <p:nvPr/>
        </p:nvSpPr>
        <p:spPr>
          <a:xfrm>
            <a:off x="8494085" y="4824543"/>
            <a:ext cx="1151035" cy="1423032"/>
          </a:xfrm>
          <a:custGeom>
            <a:avLst/>
            <a:gdLst>
              <a:gd name="connsiteX0" fmla="*/ 191843 w 1151035"/>
              <a:gd name="connsiteY0" fmla="*/ 0 h 1423032"/>
              <a:gd name="connsiteX1" fmla="*/ 1151035 w 1151035"/>
              <a:gd name="connsiteY1" fmla="*/ 0 h 1423032"/>
              <a:gd name="connsiteX2" fmla="*/ 1151035 w 1151035"/>
              <a:gd name="connsiteY2" fmla="*/ 0 h 1423032"/>
              <a:gd name="connsiteX3" fmla="*/ 1151035 w 1151035"/>
              <a:gd name="connsiteY3" fmla="*/ 1231189 h 1423032"/>
              <a:gd name="connsiteX4" fmla="*/ 959192 w 1151035"/>
              <a:gd name="connsiteY4" fmla="*/ 1423032 h 1423032"/>
              <a:gd name="connsiteX5" fmla="*/ 0 w 1151035"/>
              <a:gd name="connsiteY5" fmla="*/ 1423032 h 1423032"/>
              <a:gd name="connsiteX6" fmla="*/ 0 w 1151035"/>
              <a:gd name="connsiteY6" fmla="*/ 1423032 h 1423032"/>
              <a:gd name="connsiteX7" fmla="*/ 0 w 1151035"/>
              <a:gd name="connsiteY7" fmla="*/ 191843 h 1423032"/>
              <a:gd name="connsiteX8" fmla="*/ 191843 w 1151035"/>
              <a:gd name="connsiteY8" fmla="*/ 0 h 142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035" h="1423032">
                <a:moveTo>
                  <a:pt x="191843" y="0"/>
                </a:moveTo>
                <a:lnTo>
                  <a:pt x="1151035" y="0"/>
                </a:lnTo>
                <a:lnTo>
                  <a:pt x="1151035" y="0"/>
                </a:lnTo>
                <a:lnTo>
                  <a:pt x="1151035" y="1231189"/>
                </a:lnTo>
                <a:cubicBezTo>
                  <a:pt x="1151035" y="1337141"/>
                  <a:pt x="1065144" y="1423032"/>
                  <a:pt x="959192" y="1423032"/>
                </a:cubicBezTo>
                <a:lnTo>
                  <a:pt x="0" y="1423032"/>
                </a:lnTo>
                <a:lnTo>
                  <a:pt x="0" y="1423032"/>
                </a:lnTo>
                <a:lnTo>
                  <a:pt x="0" y="191843"/>
                </a:lnTo>
                <a:cubicBezTo>
                  <a:pt x="0" y="85891"/>
                  <a:pt x="85891" y="0"/>
                  <a:pt x="191843" y="0"/>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94289" tIns="94289" rIns="94289" bIns="94289" numCol="1" spcCol="1270" anchor="ctr" anchorCtr="0">
            <a:noAutofit/>
          </a:bodyPr>
          <a:lstStyle/>
          <a:p>
            <a:pPr lvl="0" algn="ctr" defTabSz="444500">
              <a:lnSpc>
                <a:spcPct val="90000"/>
              </a:lnSpc>
              <a:spcBef>
                <a:spcPct val="0"/>
              </a:spcBef>
              <a:spcAft>
                <a:spcPct val="35000"/>
              </a:spcAft>
            </a:pPr>
            <a:r>
              <a:rPr lang="en-US" sz="1050" b="1" kern="1200">
                <a:ea typeface="PMingLiU"/>
                <a:cs typeface="Times New Roman" pitchFamily="18" charset="0"/>
              </a:rPr>
              <a:t>When not staffed </a:t>
            </a:r>
            <a:r>
              <a:rPr lang="en-US" sz="1050" b="0" kern="1200">
                <a:ea typeface="PMingLiU"/>
                <a:cs typeface="Times New Roman" pitchFamily="18" charset="0"/>
              </a:rPr>
              <a:t>ask your PM for contacts, to help with work that may lead to a project</a:t>
            </a:r>
          </a:p>
        </p:txBody>
      </p:sp>
      <p:sp>
        <p:nvSpPr>
          <p:cNvPr id="6" name="Title 5"/>
          <p:cNvSpPr>
            <a:spLocks noGrp="1"/>
          </p:cNvSpPr>
          <p:nvPr>
            <p:ph type="title"/>
          </p:nvPr>
        </p:nvSpPr>
        <p:spPr/>
        <p:txBody>
          <a:bodyPr/>
          <a:lstStyle/>
          <a:p>
            <a:r>
              <a:rPr lang="en-US" sz="2800"/>
              <a:t>Get to know your People Manager/Appraiser</a:t>
            </a:r>
          </a:p>
        </p:txBody>
      </p:sp>
      <p:cxnSp>
        <p:nvCxnSpPr>
          <p:cNvPr id="45" name="Straight Connector 44"/>
          <p:cNvCxnSpPr/>
          <p:nvPr/>
        </p:nvCxnSpPr>
        <p:spPr>
          <a:xfrm>
            <a:off x="8265460" y="1154430"/>
            <a:ext cx="0" cy="5093037"/>
          </a:xfrm>
          <a:prstGeom prst="line">
            <a:avLst/>
          </a:prstGeom>
          <a:ln>
            <a:prstDash val="sysDash"/>
          </a:ln>
        </p:spPr>
        <p:style>
          <a:lnRef idx="1">
            <a:schemeClr val="accent5"/>
          </a:lnRef>
          <a:fillRef idx="0">
            <a:schemeClr val="accent5"/>
          </a:fillRef>
          <a:effectRef idx="0">
            <a:schemeClr val="accent5"/>
          </a:effectRef>
          <a:fontRef idx="minor">
            <a:schemeClr val="tx1"/>
          </a:fontRef>
        </p:style>
      </p:cxnSp>
      <p:sp>
        <p:nvSpPr>
          <p:cNvPr id="2" name="Oval Callout 1"/>
          <p:cNvSpPr/>
          <p:nvPr/>
        </p:nvSpPr>
        <p:spPr>
          <a:xfrm>
            <a:off x="8520915" y="692620"/>
            <a:ext cx="1293644" cy="977268"/>
          </a:xfrm>
          <a:prstGeom prst="wedgeEllipseCallout">
            <a:avLst>
              <a:gd name="adj1" fmla="val -10241"/>
              <a:gd name="adj2" fmla="val 78624"/>
            </a:avLst>
          </a:prstGeom>
          <a:solidFill>
            <a:schemeClr val="accent5"/>
          </a:solidFill>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800" b="1">
                <a:solidFill>
                  <a:schemeClr val="bg1"/>
                </a:solidFill>
              </a:rPr>
              <a:t>You must</a:t>
            </a:r>
          </a:p>
        </p:txBody>
      </p:sp>
    </p:spTree>
    <p:extLst>
      <p:ext uri="{BB962C8B-B14F-4D97-AF65-F5344CB8AC3E}">
        <p14:creationId xmlns:p14="http://schemas.microsoft.com/office/powerpoint/2010/main" val="4096653639"/>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Blank">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7.xml><?xml version="1.0" encoding="utf-8"?>
<a:theme xmlns:a="http://schemas.openxmlformats.org/drawingml/2006/main" name="1_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New Template.potx" id="{1866E81F-7534-42BB-A752-A1C23E2D12E4}" vid="{65A55EE4-04B9-450D-8C0B-24DD5CC2919C}"/>
    </a:ext>
  </a:extLst>
</a:theme>
</file>

<file path=ppt/theme/theme8.xml><?xml version="1.0" encoding="utf-8"?>
<a:theme xmlns:a="http://schemas.openxmlformats.org/drawingml/2006/main" name="1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9.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30420D413AF8F46BB687A4FB738CC2E" ma:contentTypeVersion="8" ma:contentTypeDescription="Create a new document." ma:contentTypeScope="" ma:versionID="bb5aeede59a763e60024350430301034">
  <xsd:schema xmlns:xsd="http://www.w3.org/2001/XMLSchema" xmlns:xs="http://www.w3.org/2001/XMLSchema" xmlns:p="http://schemas.microsoft.com/office/2006/metadata/properties" xmlns:ns3="9f152baa-ba04-4d0e-b829-68dfc7ed2b60" targetNamespace="http://schemas.microsoft.com/office/2006/metadata/properties" ma:root="true" ma:fieldsID="478cb1e118a9c0e70f26ab550e1a34c5" ns3:_="">
    <xsd:import namespace="9f152baa-ba04-4d0e-b829-68dfc7ed2b6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152baa-ba04-4d0e-b829-68dfc7ed2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2E91BE-8F6B-4939-BB31-C3511ABC4958}">
  <ds:schemaRefs>
    <ds:schemaRef ds:uri="9f152baa-ba04-4d0e-b829-68dfc7ed2b60"/>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DCD6E42D-51EB-4BF8-AD78-AE72B738DAC4}">
  <ds:schemaRefs>
    <ds:schemaRef ds:uri="http://schemas.microsoft.com/sharepoint/v3/contenttype/forms"/>
  </ds:schemaRefs>
</ds:datastoreItem>
</file>

<file path=customXml/itemProps3.xml><?xml version="1.0" encoding="utf-8"?>
<ds:datastoreItem xmlns:ds="http://schemas.openxmlformats.org/officeDocument/2006/customXml" ds:itemID="{1B0BD886-B151-4CDD-BC12-4D3AAD1E5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152baa-ba04-4d0e-b829-68dfc7ed2b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39</TotalTime>
  <Words>3239</Words>
  <Application>Microsoft Office PowerPoint</Application>
  <PresentationFormat>A4 Paper (210x297 mm)</PresentationFormat>
  <Paragraphs>603</Paragraphs>
  <Slides>32</Slides>
  <Notes>16</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32</vt:i4>
      </vt:variant>
    </vt:vector>
  </HeadingPairs>
  <TitlesOfParts>
    <vt:vector size="51" baseType="lpstr">
      <vt:lpstr>Arial</vt:lpstr>
      <vt:lpstr>Calibri</vt:lpstr>
      <vt:lpstr>Courier New</vt:lpstr>
      <vt:lpstr>Gill Sans MT</vt:lpstr>
      <vt:lpstr>Segoe Script</vt:lpstr>
      <vt:lpstr>Symbol</vt:lpstr>
      <vt:lpstr>Times New Roman</vt:lpstr>
      <vt:lpstr>Verdana</vt:lpstr>
      <vt:lpstr>Wingdings</vt:lpstr>
      <vt:lpstr>Capgemini_Template</vt:lpstr>
      <vt:lpstr>Section slides</vt:lpstr>
      <vt:lpstr>Content Layouts</vt:lpstr>
      <vt:lpstr>Content and Image Layouts</vt:lpstr>
      <vt:lpstr>1_Section slides</vt:lpstr>
      <vt:lpstr>Blank</vt:lpstr>
      <vt:lpstr>1_Section break</vt:lpstr>
      <vt:lpstr>1_Capgemini Master</vt:lpstr>
      <vt:lpstr>4_Content Layouts</vt:lpstr>
      <vt:lpstr>think-cell Slide</vt:lpstr>
      <vt:lpstr>Your Career Story in Capgemini </vt:lpstr>
      <vt:lpstr>Take Control of Your Career</vt:lpstr>
      <vt:lpstr>Your Career Story in Capgemini</vt:lpstr>
      <vt:lpstr>Your Journey with us</vt:lpstr>
      <vt:lpstr>PowerPoint Presentation</vt:lpstr>
      <vt:lpstr>Career Framework: Roles&gt;Competencies&gt;Proficiencies&gt;Learning Maps Direct Link: https://careerframework.fs.capgemini.com/  </vt:lpstr>
      <vt:lpstr>Performance Management</vt:lpstr>
      <vt:lpstr>PowerPoint Presentation</vt:lpstr>
      <vt:lpstr>Get to know your People Manager/Appraiser</vt:lpstr>
      <vt:lpstr>Set-up time to meet your People Manager.</vt:lpstr>
      <vt:lpstr>PowerPoint Presentation</vt:lpstr>
      <vt:lpstr>Talent Management  Our approach to talent management starts from performance management to developing talent further based on needs…</vt:lpstr>
      <vt:lpstr>Performance Management Cycle</vt:lpstr>
      <vt:lpstr>Finding MyPath</vt:lpstr>
      <vt:lpstr>Demo:</vt:lpstr>
      <vt:lpstr>Objective Setting: Steps</vt:lpstr>
      <vt:lpstr>Mid Year Assessment</vt:lpstr>
      <vt:lpstr>PowerPoint Presentation</vt:lpstr>
      <vt:lpstr>Assignment Appraisals</vt:lpstr>
      <vt:lpstr>Requesting and Giving Feedback</vt:lpstr>
      <vt:lpstr>Six Dimensions:  A Leadership model to drive your actions </vt:lpstr>
      <vt:lpstr>The FS World is divided into what we call Practices</vt:lpstr>
      <vt:lpstr>The FS World is divided into what we call Practices (continued)</vt:lpstr>
      <vt:lpstr>Meet your Partners </vt:lpstr>
      <vt:lpstr>PowerPoint Presentation</vt:lpstr>
      <vt:lpstr>Your Staffing Partners </vt:lpstr>
      <vt:lpstr>PowerPoint Presentation</vt:lpstr>
      <vt:lpstr>Your Learning Team</vt:lpstr>
      <vt:lpstr>Learning Highlights: Quick Reckoner  (The L&amp;D team drives business-to-learning for FS SBU)</vt:lpstr>
      <vt:lpstr>Important Iconnect Fields</vt:lpstr>
      <vt:lpstr>For you to use</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Hire On-boarding: Day 1 Your Career Story in Capgemini Capgemini America Inc., Financial Services Strategic Business Unit</dc:title>
  <dc:creator>sbandyop</dc:creator>
  <cp:lastModifiedBy>Grish, Bill</cp:lastModifiedBy>
  <cp:revision>15</cp:revision>
  <cp:lastPrinted>2018-08-08T19:45:02Z</cp:lastPrinted>
  <dcterms:created xsi:type="dcterms:W3CDTF">2017-07-09T05:34:10Z</dcterms:created>
  <dcterms:modified xsi:type="dcterms:W3CDTF">2019-08-08T18: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0420D413AF8F46BB687A4FB738CC2E</vt:lpwstr>
  </property>
</Properties>
</file>